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Override1.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2.xml" ContentType="application/vnd.openxmlformats-officedocument.themeOverride+xml"/>
  <Override PartName="/ppt/tags/tag9.xml" ContentType="application/vnd.openxmlformats-officedocument.presentationml.tags+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Override4.xml" ContentType="application/vnd.openxmlformats-officedocument.themeOverride+xml"/>
  <Override PartName="/ppt/theme/themeOverride5.xml" ContentType="application/vnd.openxmlformats-officedocument.themeOverride+xml"/>
  <Override PartName="/ppt/tags/tag15.xml" ContentType="application/vnd.openxmlformats-officedocument.presentationml.tags+xml"/>
  <Override PartName="/ppt/theme/themeOverride6.xml" ContentType="application/vnd.openxmlformats-officedocument.themeOverride+xml"/>
  <Override PartName="/ppt/tags/tag16.xml" ContentType="application/vnd.openxmlformats-officedocument.presentationml.tags+xml"/>
  <Override PartName="/ppt/theme/themeOverride7.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8.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heme/themeOverride9.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Override10.xml" ContentType="application/vnd.openxmlformats-officedocument.themeOverride+xml"/>
  <Override PartName="/ppt/tags/tag26.xml" ContentType="application/vnd.openxmlformats-officedocument.presentationml.tags+xml"/>
  <Override PartName="/ppt/theme/themeOverride11.xml" ContentType="application/vnd.openxmlformats-officedocument.themeOverride+xml"/>
  <Override PartName="/ppt/tags/tag27.xml" ContentType="application/vnd.openxmlformats-officedocument.presentationml.tags+xml"/>
  <Override PartName="/ppt/theme/themeOverride12.xml" ContentType="application/vnd.openxmlformats-officedocument.themeOverride+xml"/>
  <Override PartName="/ppt/tags/tag28.xml" ContentType="application/vnd.openxmlformats-officedocument.presentationml.tags+xml"/>
  <Override PartName="/ppt/theme/themeOverride13.xml" ContentType="application/vnd.openxmlformats-officedocument.themeOverride+xml"/>
  <Override PartName="/ppt/tags/tag29.xml" ContentType="application/vnd.openxmlformats-officedocument.presentationml.tags+xml"/>
  <Override PartName="/ppt/theme/themeOverride14.xml" ContentType="application/vnd.openxmlformats-officedocument.themeOverr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Override15.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Override16.xml" ContentType="application/vnd.openxmlformats-officedocument.themeOverride+xml"/>
  <Override PartName="/ppt/tags/tag36.xml" ContentType="application/vnd.openxmlformats-officedocument.presentationml.tags+xml"/>
  <Override PartName="/ppt/theme/themeOverride17.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Override18.xml" ContentType="application/vnd.openxmlformats-officedocument.themeOverride+xml"/>
  <Override PartName="/ppt/tags/tag42.xml" ContentType="application/vnd.openxmlformats-officedocument.presentationml.tags+xml"/>
  <Override PartName="/ppt/theme/themeOverride19.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heme/themeOverride20.xml" ContentType="application/vnd.openxmlformats-officedocument.themeOverride+xml"/>
  <Override PartName="/ppt/tags/tag45.xml" ContentType="application/vnd.openxmlformats-officedocument.presentationml.tags+xml"/>
  <Override PartName="/ppt/theme/themeOverride21.xml" ContentType="application/vnd.openxmlformats-officedocument.themeOverr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Override22.xml" ContentType="application/vnd.openxmlformats-officedocument.themeOverr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Override23.xml" ContentType="application/vnd.openxmlformats-officedocument.themeOverride+xml"/>
  <Override PartName="/ppt/tags/tag57.xml" ContentType="application/vnd.openxmlformats-officedocument.presentationml.tags+xml"/>
  <Override PartName="/ppt/tags/tag58.xml" ContentType="application/vnd.openxmlformats-officedocument.presentationml.tags+xml"/>
  <Override PartName="/ppt/theme/themeOverride24.xml" ContentType="application/vnd.openxmlformats-officedocument.themeOverride+xml"/>
  <Override PartName="/ppt/tags/tag59.xml" ContentType="application/vnd.openxmlformats-officedocument.presentationml.tags+xml"/>
  <Override PartName="/ppt/theme/themeOverride25.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Override26.xml" ContentType="application/vnd.openxmlformats-officedocument.themeOverride+xml"/>
  <Override PartName="/ppt/theme/themeOverride27.xml" ContentType="application/vnd.openxmlformats-officedocument.themeOverride+xml"/>
  <Override PartName="/ppt/tags/tag65.xml" ContentType="application/vnd.openxmlformats-officedocument.presentationml.tags+xml"/>
  <Override PartName="/ppt/theme/themeOverride28.xml" ContentType="application/vnd.openxmlformats-officedocument.themeOverride+xml"/>
  <Override PartName="/ppt/tags/tag66.xml" ContentType="application/vnd.openxmlformats-officedocument.presentationml.tags+xml"/>
  <Override PartName="/ppt/theme/themeOverride29.xml" ContentType="application/vnd.openxmlformats-officedocument.themeOverr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Override30.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heme/themeOverride3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Override32.xml" ContentType="application/vnd.openxmlformats-officedocument.themeOverride+xml"/>
  <Override PartName="/ppt/tags/tag76.xml" ContentType="application/vnd.openxmlformats-officedocument.presentationml.tags+xml"/>
  <Override PartName="/ppt/theme/themeOverride33.xml" ContentType="application/vnd.openxmlformats-officedocument.themeOverride+xml"/>
  <Override PartName="/ppt/tags/tag77.xml" ContentType="application/vnd.openxmlformats-officedocument.presentationml.tags+xml"/>
  <Override PartName="/ppt/theme/themeOverride34.xml" ContentType="application/vnd.openxmlformats-officedocument.themeOverride+xml"/>
  <Override PartName="/ppt/tags/tag78.xml" ContentType="application/vnd.openxmlformats-officedocument.presentationml.tags+xml"/>
  <Override PartName="/ppt/theme/themeOverride35.xml" ContentType="application/vnd.openxmlformats-officedocument.themeOverride+xml"/>
  <Override PartName="/ppt/tags/tag79.xml" ContentType="application/vnd.openxmlformats-officedocument.presentationml.tags+xml"/>
  <Override PartName="/ppt/theme/themeOverride36.xml" ContentType="application/vnd.openxmlformats-officedocument.themeOverr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Override37.xml" ContentType="application/vnd.openxmlformats-officedocument.themeOverr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heme/themeOverride38.xml" ContentType="application/vnd.openxmlformats-officedocument.themeOverride+xml"/>
  <Override PartName="/ppt/tags/tag86.xml" ContentType="application/vnd.openxmlformats-officedocument.presentationml.tags+xml"/>
  <Override PartName="/ppt/theme/themeOverride39.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heme/themeOverride40.xml" ContentType="application/vnd.openxmlformats-officedocument.themeOverr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Override41.xml" ContentType="application/vnd.openxmlformats-officedocument.themeOverride+xml"/>
  <Override PartName="/ppt/tags/tag96.xml" ContentType="application/vnd.openxmlformats-officedocument.presentationml.tags+xml"/>
  <Override PartName="/ppt/theme/themeOverride42.xml" ContentType="application/vnd.openxmlformats-officedocument.themeOverride+xml"/>
  <Override PartName="/ppt/tags/tag97.xml" ContentType="application/vnd.openxmlformats-officedocument.presentationml.tags+xml"/>
  <Override PartName="/ppt/tags/tag9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Override43.xml" ContentType="application/vnd.openxmlformats-officedocument.themeOverride+xml"/>
  <Override PartName="/ppt/tags/tag104.xml" ContentType="application/vnd.openxmlformats-officedocument.presentationml.tags+xml"/>
  <Override PartName="/ppt/tags/tag105.xml" ContentType="application/vnd.openxmlformats-officedocument.presentationml.tags+xml"/>
  <Override PartName="/ppt/theme/themeOverride44.xml" ContentType="application/vnd.openxmlformats-officedocument.themeOverride+xml"/>
  <Override PartName="/ppt/tags/tag106.xml" ContentType="application/vnd.openxmlformats-officedocument.presentationml.tags+xml"/>
  <Override PartName="/ppt/theme/themeOverride45.xml" ContentType="application/vnd.openxmlformats-officedocument.themeOverr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Override46.xml" ContentType="application/vnd.openxmlformats-officedocument.themeOverride+xml"/>
  <Override PartName="/ppt/theme/themeOverride47.xml" ContentType="application/vnd.openxmlformats-officedocument.themeOverride+xml"/>
  <Override PartName="/ppt/tags/tag112.xml" ContentType="application/vnd.openxmlformats-officedocument.presentationml.tags+xml"/>
  <Override PartName="/ppt/theme/themeOverride48.xml" ContentType="application/vnd.openxmlformats-officedocument.themeOverride+xml"/>
  <Override PartName="/ppt/tags/tag113.xml" ContentType="application/vnd.openxmlformats-officedocument.presentationml.tags+xml"/>
  <Override PartName="/ppt/theme/themeOverride49.xml" ContentType="application/vnd.openxmlformats-officedocument.themeOverr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heme/themeOverride50.xml" ContentType="application/vnd.openxmlformats-officedocument.themeOverride+xml"/>
  <Override PartName="/ppt/tags/tag117.xml" ContentType="application/vnd.openxmlformats-officedocument.presentationml.tags+xml"/>
  <Override PartName="/ppt/tags/tag118.xml" ContentType="application/vnd.openxmlformats-officedocument.presentationml.tags+xml"/>
  <Override PartName="/ppt/theme/themeOverride51.xml" ContentType="application/vnd.openxmlformats-officedocument.themeOverr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Override52.xml" ContentType="application/vnd.openxmlformats-officedocument.themeOverride+xml"/>
  <Override PartName="/ppt/tags/tag123.xml" ContentType="application/vnd.openxmlformats-officedocument.presentationml.tags+xml"/>
  <Override PartName="/ppt/theme/themeOverride53.xml" ContentType="application/vnd.openxmlformats-officedocument.themeOverride+xml"/>
  <Override PartName="/ppt/tags/tag124.xml" ContentType="application/vnd.openxmlformats-officedocument.presentationml.tags+xml"/>
  <Override PartName="/ppt/theme/themeOverride54.xml" ContentType="application/vnd.openxmlformats-officedocument.themeOverride+xml"/>
  <Override PartName="/ppt/tags/tag125.xml" ContentType="application/vnd.openxmlformats-officedocument.presentationml.tags+xml"/>
  <Override PartName="/ppt/theme/themeOverride55.xml" ContentType="application/vnd.openxmlformats-officedocument.themeOverride+xml"/>
  <Override PartName="/ppt/tags/tag126.xml" ContentType="application/vnd.openxmlformats-officedocument.presentationml.tags+xml"/>
  <Override PartName="/ppt/theme/themeOverride56.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heme/themeOverride57.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heme/themeOverride58.xml" ContentType="application/vnd.openxmlformats-officedocument.themeOverride+xml"/>
  <Override PartName="/ppt/tags/tag133.xml" ContentType="application/vnd.openxmlformats-officedocument.presentationml.tags+xml"/>
  <Override PartName="/ppt/theme/themeOverride59.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60.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Override61.xml" ContentType="application/vnd.openxmlformats-officedocument.themeOverride+xml"/>
  <Override PartName="/ppt/tags/tag143.xml" ContentType="application/vnd.openxmlformats-officedocument.presentationml.tags+xml"/>
  <Override PartName="/ppt/theme/themeOverride62.xml" ContentType="application/vnd.openxmlformats-officedocument.themeOverride+xml"/>
  <Override PartName="/ppt/tags/tag144.xml" ContentType="application/vnd.openxmlformats-officedocument.presentationml.tags+xml"/>
  <Override PartName="/ppt/tags/tag145.xml" ContentType="application/vnd.openxmlformats-officedocument.presentationml.tags+xml"/>
  <Override PartName="/ppt/theme/themeOverride63.xml" ContentType="application/vnd.openxmlformats-officedocument.themeOverr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Override64.xml" ContentType="application/vnd.openxmlformats-officedocument.themeOverride+xml"/>
  <Override PartName="/ppt/tags/tag230.xml" ContentType="application/vnd.openxmlformats-officedocument.presentationml.tags+xml"/>
  <Override PartName="/ppt/tags/tag231.xml" ContentType="application/vnd.openxmlformats-officedocument.presentationml.tags+xml"/>
  <Override PartName="/ppt/theme/themeOverride65.xml" ContentType="application/vnd.openxmlformats-officedocument.themeOverride+xml"/>
  <Override PartName="/ppt/tags/tag232.xml" ContentType="application/vnd.openxmlformats-officedocument.presentationml.tags+xml"/>
  <Override PartName="/ppt/theme/themeOverride66.xml" ContentType="application/vnd.openxmlformats-officedocument.themeOverride+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heme/themeOverride67.xml" ContentType="application/vnd.openxmlformats-officedocument.themeOverride+xml"/>
  <Override PartName="/ppt/theme/themeOverride68.xml" ContentType="application/vnd.openxmlformats-officedocument.themeOverride+xml"/>
  <Override PartName="/ppt/tags/tag238.xml" ContentType="application/vnd.openxmlformats-officedocument.presentationml.tags+xml"/>
  <Override PartName="/ppt/theme/themeOverride69.xml" ContentType="application/vnd.openxmlformats-officedocument.themeOverride+xml"/>
  <Override PartName="/ppt/tags/tag239.xml" ContentType="application/vnd.openxmlformats-officedocument.presentationml.tags+xml"/>
  <Override PartName="/ppt/theme/themeOverride70.xml" ContentType="application/vnd.openxmlformats-officedocument.themeOverride+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Override71.xml" ContentType="application/vnd.openxmlformats-officedocument.themeOverride+xml"/>
  <Override PartName="/ppt/tags/tag243.xml" ContentType="application/vnd.openxmlformats-officedocument.presentationml.tags+xml"/>
  <Override PartName="/ppt/tags/tag244.xml" ContentType="application/vnd.openxmlformats-officedocument.presentationml.tags+xml"/>
  <Override PartName="/ppt/theme/themeOverride72.xml" ContentType="application/vnd.openxmlformats-officedocument.themeOverr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heme/themeOverride73.xml" ContentType="application/vnd.openxmlformats-officedocument.themeOverride+xml"/>
  <Override PartName="/ppt/tags/tag249.xml" ContentType="application/vnd.openxmlformats-officedocument.presentationml.tags+xml"/>
  <Override PartName="/ppt/theme/themeOverride74.xml" ContentType="application/vnd.openxmlformats-officedocument.themeOverride+xml"/>
  <Override PartName="/ppt/tags/tag250.xml" ContentType="application/vnd.openxmlformats-officedocument.presentationml.tags+xml"/>
  <Override PartName="/ppt/theme/themeOverride75.xml" ContentType="application/vnd.openxmlformats-officedocument.themeOverride+xml"/>
  <Override PartName="/ppt/tags/tag251.xml" ContentType="application/vnd.openxmlformats-officedocument.presentationml.tags+xml"/>
  <Override PartName="/ppt/theme/themeOverride76.xml" ContentType="application/vnd.openxmlformats-officedocument.themeOverride+xml"/>
  <Override PartName="/ppt/tags/tag252.xml" ContentType="application/vnd.openxmlformats-officedocument.presentationml.tags+xml"/>
  <Override PartName="/ppt/theme/themeOverride77.xml" ContentType="application/vnd.openxmlformats-officedocument.themeOverr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heme/themeOverride78.xml" ContentType="application/vnd.openxmlformats-officedocument.themeOverr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heme/themeOverride79.xml" ContentType="application/vnd.openxmlformats-officedocument.themeOverride+xml"/>
  <Override PartName="/ppt/tags/tag259.xml" ContentType="application/vnd.openxmlformats-officedocument.presentationml.tags+xml"/>
  <Override PartName="/ppt/theme/themeOverride80.xml" ContentType="application/vnd.openxmlformats-officedocument.themeOverr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heme/themeOverride81.xml" ContentType="application/vnd.openxmlformats-officedocument.themeOverr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heme/themeOverride82.xml" ContentType="application/vnd.openxmlformats-officedocument.themeOverride+xml"/>
  <Override PartName="/ppt/tags/tag269.xml" ContentType="application/vnd.openxmlformats-officedocument.presentationml.tags+xml"/>
  <Override PartName="/ppt/theme/themeOverride83.xml" ContentType="application/vnd.openxmlformats-officedocument.themeOverride+xml"/>
  <Override PartName="/ppt/tags/tag270.xml" ContentType="application/vnd.openxmlformats-officedocument.presentationml.tags+xml"/>
  <Override PartName="/ppt/tags/tag271.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heme/themeOverride84.xml" ContentType="application/vnd.openxmlformats-officedocument.themeOverride+xml"/>
  <Override PartName="/ppt/tags/tag277.xml" ContentType="application/vnd.openxmlformats-officedocument.presentationml.tags+xml"/>
  <Override PartName="/ppt/tags/tag278.xml" ContentType="application/vnd.openxmlformats-officedocument.presentationml.tags+xml"/>
  <Override PartName="/ppt/theme/themeOverride85.xml" ContentType="application/vnd.openxmlformats-officedocument.themeOverr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heme/themeOverride86.xml" ContentType="application/vnd.openxmlformats-officedocument.themeOverr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heme/themeOverride87.xml" ContentType="application/vnd.openxmlformats-officedocument.themeOverride+xml"/>
  <Override PartName="/ppt/tags/tag285.xml" ContentType="application/vnd.openxmlformats-officedocument.presentationml.tags+xml"/>
  <Override PartName="/ppt/tags/tag286.xml" ContentType="application/vnd.openxmlformats-officedocument.presentationml.tags+xml"/>
  <Override PartName="/ppt/theme/themeOverride88.xml" ContentType="application/vnd.openxmlformats-officedocument.themeOverride+xml"/>
  <Override PartName="/ppt/tags/tag287.xml" ContentType="application/vnd.openxmlformats-officedocument.presentationml.tags+xml"/>
  <Override PartName="/ppt/tags/tag288.xml" ContentType="application/vnd.openxmlformats-officedocument.presentationml.tags+xml"/>
  <Override PartName="/ppt/theme/themeOverride89.xml" ContentType="application/vnd.openxmlformats-officedocument.themeOverride+xml"/>
  <Override PartName="/ppt/tags/tag289.xml" ContentType="application/vnd.openxmlformats-officedocument.presentationml.tags+xml"/>
  <Override PartName="/ppt/tags/tag290.xml" ContentType="application/vnd.openxmlformats-officedocument.presentationml.tags+xml"/>
  <Override PartName="/ppt/theme/themeOverride90.xml" ContentType="application/vnd.openxmlformats-officedocument.themeOverr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heme/themeOverride91.xml" ContentType="application/vnd.openxmlformats-officedocument.themeOverr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heme/themeOverride92.xml" ContentType="application/vnd.openxmlformats-officedocument.themeOverride+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heme/themeOverride93.xml" ContentType="application/vnd.openxmlformats-officedocument.themeOverride+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heme/themeOverride94.xml" ContentType="application/vnd.openxmlformats-officedocument.themeOverride+xml"/>
  <Override PartName="/ppt/tags/tag308.xml" ContentType="application/vnd.openxmlformats-officedocument.presentationml.tags+xml"/>
  <Override PartName="/ppt/theme/themeOverride95.xml" ContentType="application/vnd.openxmlformats-officedocument.themeOverride+xml"/>
  <Override PartName="/ppt/tags/tag309.xml" ContentType="application/vnd.openxmlformats-officedocument.presentationml.tags+xml"/>
  <Override PartName="/ppt/theme/themeOverride96.xml" ContentType="application/vnd.openxmlformats-officedocument.themeOverride+xml"/>
  <Override PartName="/ppt/tags/tag310.xml" ContentType="application/vnd.openxmlformats-officedocument.presentationml.tags+xml"/>
  <Override PartName="/ppt/theme/themeOverride97.xml" ContentType="application/vnd.openxmlformats-officedocument.themeOverride+xml"/>
  <Override PartName="/ppt/tags/tag311.xml" ContentType="application/vnd.openxmlformats-officedocument.presentationml.tags+xml"/>
  <Override PartName="/ppt/theme/themeOverride98.xml" ContentType="application/vnd.openxmlformats-officedocument.themeOverride+xml"/>
  <Override PartName="/ppt/tags/tag312.xml" ContentType="application/vnd.openxmlformats-officedocument.presentationml.tags+xml"/>
  <Override PartName="/ppt/theme/themeOverride99.xml" ContentType="application/vnd.openxmlformats-officedocument.themeOverride+xml"/>
  <Override PartName="/ppt/tags/tag313.xml" ContentType="application/vnd.openxmlformats-officedocument.presentationml.tags+xml"/>
  <Override PartName="/ppt/theme/themeOverride100.xml" ContentType="application/vnd.openxmlformats-officedocument.themeOverride+xml"/>
  <Override PartName="/ppt/tags/tag314.xml" ContentType="application/vnd.openxmlformats-officedocument.presentationml.tags+xml"/>
  <Override PartName="/ppt/theme/themeOverride101.xml" ContentType="application/vnd.openxmlformats-officedocument.themeOverride+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heme/themeOverride102.xml" ContentType="application/vnd.openxmlformats-officedocument.themeOverr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heme/themeOverride103.xml" ContentType="application/vnd.openxmlformats-officedocument.themeOverr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heme/themeOverride104.xml" ContentType="application/vnd.openxmlformats-officedocument.themeOverride+xml"/>
  <Override PartName="/ppt/tags/tag324.xml" ContentType="application/vnd.openxmlformats-officedocument.presentationml.tags+xml"/>
  <Override PartName="/ppt/tags/tag325.xml" ContentType="application/vnd.openxmlformats-officedocument.presentationml.tags+xml"/>
  <Override PartName="/ppt/theme/themeOverride105.xml" ContentType="application/vnd.openxmlformats-officedocument.themeOverr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heme/themeOverride106.xml" ContentType="application/vnd.openxmlformats-officedocument.themeOverride+xml"/>
  <Override PartName="/ppt/tags/tag330.xml" ContentType="application/vnd.openxmlformats-officedocument.presentationml.tags+xml"/>
  <Override PartName="/ppt/theme/themeOverride107.xml" ContentType="application/vnd.openxmlformats-officedocument.themeOverride+xml"/>
  <Override PartName="/ppt/tags/tag331.xml" ContentType="application/vnd.openxmlformats-officedocument.presentationml.tags+xml"/>
  <Override PartName="/ppt/theme/themeOverride108.xml" ContentType="application/vnd.openxmlformats-officedocument.themeOverride+xml"/>
  <Override PartName="/ppt/tags/tag332.xml" ContentType="application/vnd.openxmlformats-officedocument.presentationml.tags+xml"/>
  <Override PartName="/ppt/theme/themeOverride109.xml" ContentType="application/vnd.openxmlformats-officedocument.themeOverride+xml"/>
  <Override PartName="/ppt/tags/tag333.xml" ContentType="application/vnd.openxmlformats-officedocument.presentationml.tags+xml"/>
  <Override PartName="/ppt/theme/themeOverride110.xml" ContentType="application/vnd.openxmlformats-officedocument.themeOverride+xml"/>
  <Override PartName="/ppt/tags/tag334.xml" ContentType="application/vnd.openxmlformats-officedocument.presentationml.tags+xml"/>
  <Override PartName="/ppt/theme/themeOverride111.xml" ContentType="application/vnd.openxmlformats-officedocument.themeOverride+xml"/>
  <Override PartName="/ppt/tags/tag335.xml" ContentType="application/vnd.openxmlformats-officedocument.presentationml.tags+xml"/>
  <Override PartName="/ppt/theme/themeOverride112.xml" ContentType="application/vnd.openxmlformats-officedocument.themeOverride+xml"/>
  <Override PartName="/ppt/tags/tag336.xml" ContentType="application/vnd.openxmlformats-officedocument.presentationml.tags+xml"/>
  <Override PartName="/ppt/theme/themeOverride113.xml" ContentType="application/vnd.openxmlformats-officedocument.themeOverride+xml"/>
  <Override PartName="/ppt/tags/tag337.xml" ContentType="application/vnd.openxmlformats-officedocument.presentationml.tags+xml"/>
  <Override PartName="/ppt/theme/themeOverride114.xml" ContentType="application/vnd.openxmlformats-officedocument.themeOverr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heme/themeOverride115.xml" ContentType="application/vnd.openxmlformats-officedocument.themeOverr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heme/themeOverride116.xml" ContentType="application/vnd.openxmlformats-officedocument.themeOverr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heme/themeOverride117.xml" ContentType="application/vnd.openxmlformats-officedocument.themeOverride+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heme/themeOverride118.xml" ContentType="application/vnd.openxmlformats-officedocument.themeOverride+xml"/>
  <Override PartName="/ppt/tags/tag350.xml" ContentType="application/vnd.openxmlformats-officedocument.presentationml.tags+xml"/>
  <Override PartName="/ppt/tags/tag351.xml" ContentType="application/vnd.openxmlformats-officedocument.presentationml.tags+xml"/>
  <Override PartName="/ppt/theme/themeOverride119.xml" ContentType="application/vnd.openxmlformats-officedocument.themeOverride+xml"/>
  <Override PartName="/ppt/tags/tag352.xml" ContentType="application/vnd.openxmlformats-officedocument.presentationml.tags+xml"/>
  <Override PartName="/ppt/tags/tag353.xml" ContentType="application/vnd.openxmlformats-officedocument.presentationml.tags+xml"/>
  <Override PartName="/ppt/theme/themeOverride120.xml" ContentType="application/vnd.openxmlformats-officedocument.themeOverride+xml"/>
  <Override PartName="/ppt/tags/tag354.xml" ContentType="application/vnd.openxmlformats-officedocument.presentationml.tags+xml"/>
  <Override PartName="/ppt/theme/themeOverride121.xml" ContentType="application/vnd.openxmlformats-officedocument.themeOverride+xml"/>
  <Override PartName="/ppt/tags/tag355.xml" ContentType="application/vnd.openxmlformats-officedocument.presentationml.tags+xml"/>
  <Override PartName="/ppt/theme/themeOverride122.xml" ContentType="application/vnd.openxmlformats-officedocument.themeOverride+xml"/>
  <Override PartName="/ppt/tags/tag356.xml" ContentType="application/vnd.openxmlformats-officedocument.presentationml.tags+xml"/>
  <Override PartName="/ppt/theme/themeOverride123.xml" ContentType="application/vnd.openxmlformats-officedocument.themeOverride+xml"/>
  <Override PartName="/ppt/tags/tag357.xml" ContentType="application/vnd.openxmlformats-officedocument.presentationml.tags+xml"/>
  <Override PartName="/ppt/theme/themeOverride124.xml" ContentType="application/vnd.openxmlformats-officedocument.themeOverride+xml"/>
  <Override PartName="/ppt/tags/tag358.xml" ContentType="application/vnd.openxmlformats-officedocument.presentationml.tags+xml"/>
  <Override PartName="/ppt/theme/themeOverride125.xml" ContentType="application/vnd.openxmlformats-officedocument.themeOverrid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7.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heme/themeOverride126.xml" ContentType="application/vnd.openxmlformats-officedocument.themeOverride+xml"/>
  <Override PartName="/ppt/tags/tag364.xml" ContentType="application/vnd.openxmlformats-officedocument.presentationml.tags+xml"/>
  <Override PartName="/ppt/tags/tag365.xml" ContentType="application/vnd.openxmlformats-officedocument.presentationml.tags+xml"/>
  <Override PartName="/ppt/theme/themeOverride127.xml" ContentType="application/vnd.openxmlformats-officedocument.themeOverride+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heme/themeOverride128.xml" ContentType="application/vnd.openxmlformats-officedocument.themeOverr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heme/themeOverride129.xml" ContentType="application/vnd.openxmlformats-officedocument.themeOverride+xml"/>
  <Override PartName="/ppt/tags/tag372.xml" ContentType="application/vnd.openxmlformats-officedocument.presentationml.tags+xml"/>
  <Override PartName="/ppt/tags/tag373.xml" ContentType="application/vnd.openxmlformats-officedocument.presentationml.tags+xml"/>
  <Override PartName="/ppt/theme/themeOverride130.xml" ContentType="application/vnd.openxmlformats-officedocument.themeOverride+xml"/>
  <Override PartName="/ppt/tags/tag374.xml" ContentType="application/vnd.openxmlformats-officedocument.presentationml.tags+xml"/>
  <Override PartName="/ppt/tags/tag375.xml" ContentType="application/vnd.openxmlformats-officedocument.presentationml.tags+xml"/>
  <Override PartName="/ppt/theme/themeOverride131.xml" ContentType="application/vnd.openxmlformats-officedocument.themeOverride+xml"/>
  <Override PartName="/ppt/tags/tag376.xml" ContentType="application/vnd.openxmlformats-officedocument.presentationml.tags+xml"/>
  <Override PartName="/ppt/tags/tag377.xml" ContentType="application/vnd.openxmlformats-officedocument.presentationml.tags+xml"/>
  <Override PartName="/ppt/theme/themeOverride132.xml" ContentType="application/vnd.openxmlformats-officedocument.themeOverr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heme/themeOverride133.xml" ContentType="application/vnd.openxmlformats-officedocument.themeOverr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heme/themeOverride134.xml" ContentType="application/vnd.openxmlformats-officedocument.themeOverride+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heme/themeOverride135.xml" ContentType="application/vnd.openxmlformats-officedocument.themeOverr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heme/themeOverride136.xml" ContentType="application/vnd.openxmlformats-officedocument.themeOverride+xml"/>
  <Override PartName="/ppt/tags/tag395.xml" ContentType="application/vnd.openxmlformats-officedocument.presentationml.tags+xml"/>
  <Override PartName="/ppt/theme/themeOverride137.xml" ContentType="application/vnd.openxmlformats-officedocument.themeOverride+xml"/>
  <Override PartName="/ppt/tags/tag396.xml" ContentType="application/vnd.openxmlformats-officedocument.presentationml.tags+xml"/>
  <Override PartName="/ppt/theme/themeOverride138.xml" ContentType="application/vnd.openxmlformats-officedocument.themeOverride+xml"/>
  <Override PartName="/ppt/tags/tag397.xml" ContentType="application/vnd.openxmlformats-officedocument.presentationml.tags+xml"/>
  <Override PartName="/ppt/theme/themeOverride139.xml" ContentType="application/vnd.openxmlformats-officedocument.themeOverride+xml"/>
  <Override PartName="/ppt/tags/tag398.xml" ContentType="application/vnd.openxmlformats-officedocument.presentationml.tags+xml"/>
  <Override PartName="/ppt/theme/themeOverride140.xml" ContentType="application/vnd.openxmlformats-officedocument.themeOverride+xml"/>
  <Override PartName="/ppt/tags/tag399.xml" ContentType="application/vnd.openxmlformats-officedocument.presentationml.tags+xml"/>
  <Override PartName="/ppt/theme/themeOverride141.xml" ContentType="application/vnd.openxmlformats-officedocument.themeOverride+xml"/>
  <Override PartName="/ppt/tags/tag400.xml" ContentType="application/vnd.openxmlformats-officedocument.presentationml.tags+xml"/>
  <Override PartName="/ppt/theme/themeOverride142.xml" ContentType="application/vnd.openxmlformats-officedocument.themeOverride+xml"/>
  <Override PartName="/ppt/tags/tag401.xml" ContentType="application/vnd.openxmlformats-officedocument.presentationml.tags+xml"/>
  <Override PartName="/ppt/theme/themeOverride143.xml" ContentType="application/vnd.openxmlformats-officedocument.themeOverride+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heme/themeOverride144.xml" ContentType="application/vnd.openxmlformats-officedocument.themeOverr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heme/themeOverride145.xml" ContentType="application/vnd.openxmlformats-officedocument.themeOverr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heme/themeOverride146.xml" ContentType="application/vnd.openxmlformats-officedocument.themeOverride+xml"/>
  <Override PartName="/ppt/tags/tag411.xml" ContentType="application/vnd.openxmlformats-officedocument.presentationml.tags+xml"/>
  <Override PartName="/ppt/tags/tag412.xml" ContentType="application/vnd.openxmlformats-officedocument.presentationml.tags+xml"/>
  <Override PartName="/ppt/theme/themeOverride147.xml" ContentType="application/vnd.openxmlformats-officedocument.themeOverride+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heme/themeOverride148.xml" ContentType="application/vnd.openxmlformats-officedocument.themeOverride+xml"/>
  <Override PartName="/ppt/tags/tag417.xml" ContentType="application/vnd.openxmlformats-officedocument.presentationml.tags+xml"/>
  <Override PartName="/ppt/theme/themeOverride149.xml" ContentType="application/vnd.openxmlformats-officedocument.themeOverride+xml"/>
  <Override PartName="/ppt/tags/tag418.xml" ContentType="application/vnd.openxmlformats-officedocument.presentationml.tags+xml"/>
  <Override PartName="/ppt/theme/themeOverride150.xml" ContentType="application/vnd.openxmlformats-officedocument.themeOverride+xml"/>
  <Override PartName="/ppt/tags/tag419.xml" ContentType="application/vnd.openxmlformats-officedocument.presentationml.tags+xml"/>
  <Override PartName="/ppt/theme/themeOverride151.xml" ContentType="application/vnd.openxmlformats-officedocument.themeOverride+xml"/>
  <Override PartName="/ppt/tags/tag420.xml" ContentType="application/vnd.openxmlformats-officedocument.presentationml.tags+xml"/>
  <Override PartName="/ppt/theme/themeOverride152.xml" ContentType="application/vnd.openxmlformats-officedocument.themeOverride+xml"/>
  <Override PartName="/ppt/tags/tag421.xml" ContentType="application/vnd.openxmlformats-officedocument.presentationml.tags+xml"/>
  <Override PartName="/ppt/theme/themeOverride153.xml" ContentType="application/vnd.openxmlformats-officedocument.themeOverride+xml"/>
  <Override PartName="/ppt/tags/tag422.xml" ContentType="application/vnd.openxmlformats-officedocument.presentationml.tags+xml"/>
  <Override PartName="/ppt/theme/themeOverride154.xml" ContentType="application/vnd.openxmlformats-officedocument.themeOverride+xml"/>
  <Override PartName="/ppt/tags/tag423.xml" ContentType="application/vnd.openxmlformats-officedocument.presentationml.tags+xml"/>
  <Override PartName="/ppt/theme/themeOverride155.xml" ContentType="application/vnd.openxmlformats-officedocument.themeOverride+xml"/>
  <Override PartName="/ppt/tags/tag424.xml" ContentType="application/vnd.openxmlformats-officedocument.presentationml.tags+xml"/>
  <Override PartName="/ppt/theme/themeOverride156.xml" ContentType="application/vnd.openxmlformats-officedocument.themeOverr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heme/themeOverride157.xml" ContentType="application/vnd.openxmlformats-officedocument.themeOverride+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heme/themeOverride158.xml" ContentType="application/vnd.openxmlformats-officedocument.themeOverride+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heme/themeOverride159.xml" ContentType="application/vnd.openxmlformats-officedocument.themeOverrid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heme/themeOverride160.xml" ContentType="application/vnd.openxmlformats-officedocument.themeOverride+xml"/>
  <Override PartName="/ppt/tags/tag437.xml" ContentType="application/vnd.openxmlformats-officedocument.presentationml.tags+xml"/>
  <Override PartName="/ppt/tags/tag438.xml" ContentType="application/vnd.openxmlformats-officedocument.presentationml.tags+xml"/>
  <Override PartName="/ppt/theme/themeOverride161.xml" ContentType="application/vnd.openxmlformats-officedocument.themeOverride+xml"/>
  <Override PartName="/ppt/tags/tag439.xml" ContentType="application/vnd.openxmlformats-officedocument.presentationml.tags+xml"/>
  <Override PartName="/ppt/tags/tag440.xml" ContentType="application/vnd.openxmlformats-officedocument.presentationml.tags+xml"/>
  <Override PartName="/ppt/theme/themeOverride162.xml" ContentType="application/vnd.openxmlformats-officedocument.themeOverride+xml"/>
  <Override PartName="/ppt/tags/tag441.xml" ContentType="application/vnd.openxmlformats-officedocument.presentationml.tags+xml"/>
  <Override PartName="/ppt/theme/themeOverride163.xml" ContentType="application/vnd.openxmlformats-officedocument.themeOverride+xml"/>
  <Override PartName="/ppt/tags/tag442.xml" ContentType="application/vnd.openxmlformats-officedocument.presentationml.tags+xml"/>
  <Override PartName="/ppt/theme/themeOverride164.xml" ContentType="application/vnd.openxmlformats-officedocument.themeOverride+xml"/>
  <Override PartName="/ppt/tags/tag443.xml" ContentType="application/vnd.openxmlformats-officedocument.presentationml.tags+xml"/>
  <Override PartName="/ppt/theme/themeOverride165.xml" ContentType="application/vnd.openxmlformats-officedocument.themeOverride+xml"/>
  <Override PartName="/ppt/tags/tag444.xml" ContentType="application/vnd.openxmlformats-officedocument.presentationml.tags+xml"/>
  <Override PartName="/ppt/theme/themeOverride166.xml" ContentType="application/vnd.openxmlformats-officedocument.themeOverride+xml"/>
  <Override PartName="/ppt/tags/tag445.xml" ContentType="application/vnd.openxmlformats-officedocument.presentationml.tags+xml"/>
  <Override PartName="/ppt/theme/themeOverride167.xml" ContentType="application/vnd.openxmlformats-officedocument.themeOverride+xml"/>
  <Override PartName="/ppt/theme/themeOverride168.xml" ContentType="application/vnd.openxmlformats-officedocument.themeOverrid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8.xml" ContentType="application/vnd.openxmlformats-officedocument.theme+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heme/themeOverride169.xml" ContentType="application/vnd.openxmlformats-officedocument.themeOverride+xml"/>
  <Override PartName="/ppt/tags/tag450.xml" ContentType="application/vnd.openxmlformats-officedocument.presentationml.tags+xml"/>
  <Override PartName="/ppt/tags/tag451.xml" ContentType="application/vnd.openxmlformats-officedocument.presentationml.tags+xml"/>
  <Override PartName="/ppt/theme/themeOverride170.xml" ContentType="application/vnd.openxmlformats-officedocument.themeOverr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heme/themeOverride171.xml" ContentType="application/vnd.openxmlformats-officedocument.themeOverride+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heme/themeOverride172.xml" ContentType="application/vnd.openxmlformats-officedocument.themeOverride+xml"/>
  <Override PartName="/ppt/tags/tag458.xml" ContentType="application/vnd.openxmlformats-officedocument.presentationml.tags+xml"/>
  <Override PartName="/ppt/tags/tag459.xml" ContentType="application/vnd.openxmlformats-officedocument.presentationml.tags+xml"/>
  <Override PartName="/ppt/theme/themeOverride173.xml" ContentType="application/vnd.openxmlformats-officedocument.themeOverride+xml"/>
  <Override PartName="/ppt/tags/tag460.xml" ContentType="application/vnd.openxmlformats-officedocument.presentationml.tags+xml"/>
  <Override PartName="/ppt/tags/tag461.xml" ContentType="application/vnd.openxmlformats-officedocument.presentationml.tags+xml"/>
  <Override PartName="/ppt/theme/themeOverride174.xml" ContentType="application/vnd.openxmlformats-officedocument.themeOverride+xml"/>
  <Override PartName="/ppt/tags/tag462.xml" ContentType="application/vnd.openxmlformats-officedocument.presentationml.tags+xml"/>
  <Override PartName="/ppt/tags/tag463.xml" ContentType="application/vnd.openxmlformats-officedocument.presentationml.tags+xml"/>
  <Override PartName="/ppt/theme/themeOverride175.xml" ContentType="application/vnd.openxmlformats-officedocument.themeOverr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heme/themeOverride176.xml" ContentType="application/vnd.openxmlformats-officedocument.themeOverr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heme/themeOverride177.xml" ContentType="application/vnd.openxmlformats-officedocument.themeOverride+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heme/themeOverride178.xml" ContentType="application/vnd.openxmlformats-officedocument.themeOverride+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heme/themeOverride179.xml" ContentType="application/vnd.openxmlformats-officedocument.themeOverride+xml"/>
  <Override PartName="/ppt/tags/tag480.xml" ContentType="application/vnd.openxmlformats-officedocument.presentationml.tags+xml"/>
  <Override PartName="/ppt/theme/themeOverride180.xml" ContentType="application/vnd.openxmlformats-officedocument.themeOverride+xml"/>
  <Override PartName="/ppt/tags/tag481.xml" ContentType="application/vnd.openxmlformats-officedocument.presentationml.tags+xml"/>
  <Override PartName="/ppt/theme/themeOverride181.xml" ContentType="application/vnd.openxmlformats-officedocument.themeOverride+xml"/>
  <Override PartName="/ppt/tags/tag482.xml" ContentType="application/vnd.openxmlformats-officedocument.presentationml.tags+xml"/>
  <Override PartName="/ppt/theme/themeOverride182.xml" ContentType="application/vnd.openxmlformats-officedocument.themeOverride+xml"/>
  <Override PartName="/ppt/tags/tag483.xml" ContentType="application/vnd.openxmlformats-officedocument.presentationml.tags+xml"/>
  <Override PartName="/ppt/theme/themeOverride183.xml" ContentType="application/vnd.openxmlformats-officedocument.themeOverride+xml"/>
  <Override PartName="/ppt/tags/tag484.xml" ContentType="application/vnd.openxmlformats-officedocument.presentationml.tags+xml"/>
  <Override PartName="/ppt/theme/themeOverride184.xml" ContentType="application/vnd.openxmlformats-officedocument.themeOverride+xml"/>
  <Override PartName="/ppt/tags/tag485.xml" ContentType="application/vnd.openxmlformats-officedocument.presentationml.tags+xml"/>
  <Override PartName="/ppt/theme/themeOverride185.xml" ContentType="application/vnd.openxmlformats-officedocument.themeOverride+xml"/>
  <Override PartName="/ppt/tags/tag486.xml" ContentType="application/vnd.openxmlformats-officedocument.presentationml.tags+xml"/>
  <Override PartName="/ppt/theme/themeOverride186.xml" ContentType="application/vnd.openxmlformats-officedocument.themeOverride+xml"/>
  <Override PartName="/ppt/tags/tag487.xml" ContentType="application/vnd.openxmlformats-officedocument.presentationml.tags+xml"/>
  <Override PartName="/ppt/theme/themeOverride187.xml" ContentType="application/vnd.openxmlformats-officedocument.themeOverride+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heme/themeOverride188.xml" ContentType="application/vnd.openxmlformats-officedocument.themeOverride+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heme/themeOverride189.xml" ContentType="application/vnd.openxmlformats-officedocument.themeOverride+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heme/themeOverride190.xml" ContentType="application/vnd.openxmlformats-officedocument.themeOverride+xml"/>
  <Override PartName="/ppt/tags/tag497.xml" ContentType="application/vnd.openxmlformats-officedocument.presentationml.tags+xml"/>
  <Override PartName="/ppt/tags/tag498.xml" ContentType="application/vnd.openxmlformats-officedocument.presentationml.tags+xml"/>
  <Override PartName="/ppt/theme/themeOverride191.xml" ContentType="application/vnd.openxmlformats-officedocument.themeOverride+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heme/themeOverride192.xml" ContentType="application/vnd.openxmlformats-officedocument.themeOverride+xml"/>
  <Override PartName="/ppt/tags/tag503.xml" ContentType="application/vnd.openxmlformats-officedocument.presentationml.tags+xml"/>
  <Override PartName="/ppt/theme/themeOverride193.xml" ContentType="application/vnd.openxmlformats-officedocument.themeOverride+xml"/>
  <Override PartName="/ppt/tags/tag504.xml" ContentType="application/vnd.openxmlformats-officedocument.presentationml.tags+xml"/>
  <Override PartName="/ppt/theme/themeOverride194.xml" ContentType="application/vnd.openxmlformats-officedocument.themeOverride+xml"/>
  <Override PartName="/ppt/tags/tag505.xml" ContentType="application/vnd.openxmlformats-officedocument.presentationml.tags+xml"/>
  <Override PartName="/ppt/theme/themeOverride195.xml" ContentType="application/vnd.openxmlformats-officedocument.themeOverride+xml"/>
  <Override PartName="/ppt/tags/tag506.xml" ContentType="application/vnd.openxmlformats-officedocument.presentationml.tags+xml"/>
  <Override PartName="/ppt/theme/themeOverride196.xml" ContentType="application/vnd.openxmlformats-officedocument.themeOverride+xml"/>
  <Override PartName="/ppt/tags/tag507.xml" ContentType="application/vnd.openxmlformats-officedocument.presentationml.tags+xml"/>
  <Override PartName="/ppt/theme/themeOverride197.xml" ContentType="application/vnd.openxmlformats-officedocument.themeOverride+xml"/>
  <Override PartName="/ppt/tags/tag508.xml" ContentType="application/vnd.openxmlformats-officedocument.presentationml.tags+xml"/>
  <Override PartName="/ppt/theme/themeOverride198.xml" ContentType="application/vnd.openxmlformats-officedocument.themeOverride+xml"/>
  <Override PartName="/ppt/tags/tag509.xml" ContentType="application/vnd.openxmlformats-officedocument.presentationml.tags+xml"/>
  <Override PartName="/ppt/theme/themeOverride199.xml" ContentType="application/vnd.openxmlformats-officedocument.themeOverride+xml"/>
  <Override PartName="/ppt/tags/tag510.xml" ContentType="application/vnd.openxmlformats-officedocument.presentationml.tags+xml"/>
  <Override PartName="/ppt/theme/themeOverride200.xml" ContentType="application/vnd.openxmlformats-officedocument.themeOverride+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heme/themeOverride201.xml" ContentType="application/vnd.openxmlformats-officedocument.themeOverride+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heme/themeOverride202.xml" ContentType="application/vnd.openxmlformats-officedocument.themeOverrid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heme/themeOverride203.xml" ContentType="application/vnd.openxmlformats-officedocument.themeOverr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heme/themeOverride204.xml" ContentType="application/vnd.openxmlformats-officedocument.themeOverride+xml"/>
  <Override PartName="/ppt/tags/tag523.xml" ContentType="application/vnd.openxmlformats-officedocument.presentationml.tags+xml"/>
  <Override PartName="/ppt/tags/tag524.xml" ContentType="application/vnd.openxmlformats-officedocument.presentationml.tags+xml"/>
  <Override PartName="/ppt/theme/themeOverride205.xml" ContentType="application/vnd.openxmlformats-officedocument.themeOverride+xml"/>
  <Override PartName="/ppt/tags/tag525.xml" ContentType="application/vnd.openxmlformats-officedocument.presentationml.tags+xml"/>
  <Override PartName="/ppt/tags/tag526.xml" ContentType="application/vnd.openxmlformats-officedocument.presentationml.tags+xml"/>
  <Override PartName="/ppt/theme/themeOverride206.xml" ContentType="application/vnd.openxmlformats-officedocument.themeOverride+xml"/>
  <Override PartName="/ppt/tags/tag527.xml" ContentType="application/vnd.openxmlformats-officedocument.presentationml.tags+xml"/>
  <Override PartName="/ppt/theme/themeOverride207.xml" ContentType="application/vnd.openxmlformats-officedocument.themeOverride+xml"/>
  <Override PartName="/ppt/tags/tag528.xml" ContentType="application/vnd.openxmlformats-officedocument.presentationml.tags+xml"/>
  <Override PartName="/ppt/theme/themeOverride208.xml" ContentType="application/vnd.openxmlformats-officedocument.themeOverride+xml"/>
  <Override PartName="/ppt/tags/tag529.xml" ContentType="application/vnd.openxmlformats-officedocument.presentationml.tags+xml"/>
  <Override PartName="/ppt/theme/themeOverride209.xml" ContentType="application/vnd.openxmlformats-officedocument.themeOverride+xml"/>
  <Override PartName="/ppt/tags/tag530.xml" ContentType="application/vnd.openxmlformats-officedocument.presentationml.tags+xml"/>
  <Override PartName="/ppt/theme/themeOverride210.xml" ContentType="application/vnd.openxmlformats-officedocument.themeOverride+xml"/>
  <Override PartName="/ppt/tags/tag531.xml" ContentType="application/vnd.openxmlformats-officedocument.presentationml.tags+xml"/>
  <Override PartName="/ppt/theme/themeOverride211.xml" ContentType="application/vnd.openxmlformats-officedocument.themeOverride+xml"/>
  <Override PartName="/ppt/theme/themeOverride212.xml" ContentType="application/vnd.openxmlformats-officedocument.themeOverride+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heme/themeOverride213.xml" ContentType="application/vnd.openxmlformats-officedocument.themeOverrid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9.xml" ContentType="application/vnd.openxmlformats-officedocument.them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10.xml" ContentType="application/vnd.openxmlformats-officedocument.theme+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heme/themeOverride214.xml" ContentType="application/vnd.openxmlformats-officedocument.themeOverride+xml"/>
  <Override PartName="/ppt/tags/tag578.xml" ContentType="application/vnd.openxmlformats-officedocument.presentationml.tags+xml"/>
  <Override PartName="/ppt/tags/tag579.xml" ContentType="application/vnd.openxmlformats-officedocument.presentationml.tags+xml"/>
  <Override PartName="/ppt/theme/themeOverride215.xml" ContentType="application/vnd.openxmlformats-officedocument.themeOverride+xml"/>
  <Override PartName="/ppt/tags/tag580.xml" ContentType="application/vnd.openxmlformats-officedocument.presentationml.tags+xml"/>
  <Override PartName="/ppt/theme/themeOverride216.xml" ContentType="application/vnd.openxmlformats-officedocument.themeOverride+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heme/themeOverride217.xml" ContentType="application/vnd.openxmlformats-officedocument.themeOverride+xml"/>
  <Override PartName="/ppt/theme/themeOverride218.xml" ContentType="application/vnd.openxmlformats-officedocument.themeOverride+xml"/>
  <Override PartName="/ppt/tags/tag586.xml" ContentType="application/vnd.openxmlformats-officedocument.presentationml.tags+xml"/>
  <Override PartName="/ppt/theme/themeOverride219.xml" ContentType="application/vnd.openxmlformats-officedocument.themeOverride+xml"/>
  <Override PartName="/ppt/tags/tag587.xml" ContentType="application/vnd.openxmlformats-officedocument.presentationml.tags+xml"/>
  <Override PartName="/ppt/theme/themeOverride220.xml" ContentType="application/vnd.openxmlformats-officedocument.themeOverride+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heme/themeOverride221.xml" ContentType="application/vnd.openxmlformats-officedocument.themeOverride+xml"/>
  <Override PartName="/ppt/tags/tag591.xml" ContentType="application/vnd.openxmlformats-officedocument.presentationml.tags+xml"/>
  <Override PartName="/ppt/tags/tag592.xml" ContentType="application/vnd.openxmlformats-officedocument.presentationml.tags+xml"/>
  <Override PartName="/ppt/theme/themeOverride222.xml" ContentType="application/vnd.openxmlformats-officedocument.themeOverrid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heme/themeOverride223.xml" ContentType="application/vnd.openxmlformats-officedocument.themeOverride+xml"/>
  <Override PartName="/ppt/tags/tag597.xml" ContentType="application/vnd.openxmlformats-officedocument.presentationml.tags+xml"/>
  <Override PartName="/ppt/theme/themeOverride224.xml" ContentType="application/vnd.openxmlformats-officedocument.themeOverride+xml"/>
  <Override PartName="/ppt/tags/tag598.xml" ContentType="application/vnd.openxmlformats-officedocument.presentationml.tags+xml"/>
  <Override PartName="/ppt/theme/themeOverride225.xml" ContentType="application/vnd.openxmlformats-officedocument.themeOverride+xml"/>
  <Override PartName="/ppt/tags/tag599.xml" ContentType="application/vnd.openxmlformats-officedocument.presentationml.tags+xml"/>
  <Override PartName="/ppt/theme/themeOverride226.xml" ContentType="application/vnd.openxmlformats-officedocument.themeOverride+xml"/>
  <Override PartName="/ppt/tags/tag600.xml" ContentType="application/vnd.openxmlformats-officedocument.presentationml.tags+xml"/>
  <Override PartName="/ppt/theme/themeOverride227.xml" ContentType="application/vnd.openxmlformats-officedocument.themeOverrid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heme/themeOverride228.xml" ContentType="application/vnd.openxmlformats-officedocument.themeOverride+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heme/themeOverride229.xml" ContentType="application/vnd.openxmlformats-officedocument.themeOverride+xml"/>
  <Override PartName="/ppt/tags/tag607.xml" ContentType="application/vnd.openxmlformats-officedocument.presentationml.tags+xml"/>
  <Override PartName="/ppt/theme/themeOverride230.xml" ContentType="application/vnd.openxmlformats-officedocument.themeOverride+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heme/themeOverride231.xml" ContentType="application/vnd.openxmlformats-officedocument.themeOverride+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heme/themeOverride232.xml" ContentType="application/vnd.openxmlformats-officedocument.themeOverride+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heme/themeOverride233.xml" ContentType="application/vnd.openxmlformats-officedocument.themeOverride+xml"/>
  <Override PartName="/ppt/theme/themeOverride234.xml" ContentType="application/vnd.openxmlformats-officedocument.themeOverride+xml"/>
  <Override PartName="/ppt/tags/tag621.xml" ContentType="application/vnd.openxmlformats-officedocument.presentationml.tags+xml"/>
  <Override PartName="/ppt/theme/themeOverride235.xml" ContentType="application/vnd.openxmlformats-officedocument.themeOverride+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1.xml" ContentType="application/vnd.openxmlformats-officedocument.theme+xml"/>
  <Override PartName="/ppt/tags/tag625.xml" ContentType="application/vnd.openxmlformats-officedocument.presentationml.tags+xml"/>
  <Override PartName="/ppt/tags/tag626.xml" ContentType="application/vnd.openxmlformats-officedocument.presentationml.tags+xml"/>
  <Override PartName="/ppt/theme/themeOverride236.xml" ContentType="application/vnd.openxmlformats-officedocument.themeOverride+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heme/themeOverride237.xml" ContentType="application/vnd.openxmlformats-officedocument.themeOverride+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heme/themeOverride238.xml" ContentType="application/vnd.openxmlformats-officedocument.themeOverride+xml"/>
  <Override PartName="/ppt/tags/tag633.xml" ContentType="application/vnd.openxmlformats-officedocument.presentationml.tags+xml"/>
  <Override PartName="/ppt/tags/tag634.xml" ContentType="application/vnd.openxmlformats-officedocument.presentationml.tags+xml"/>
  <Override PartName="/ppt/theme/themeOverride239.xml" ContentType="application/vnd.openxmlformats-officedocument.themeOverride+xml"/>
  <Override PartName="/ppt/tags/tag635.xml" ContentType="application/vnd.openxmlformats-officedocument.presentationml.tags+xml"/>
  <Override PartName="/ppt/theme/themeOverride240.xml" ContentType="application/vnd.openxmlformats-officedocument.themeOverrid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heme/themeOverride241.xml" ContentType="application/vnd.openxmlformats-officedocument.themeOverride+xml"/>
  <Override PartName="/ppt/tags/tag639.xml" ContentType="application/vnd.openxmlformats-officedocument.presentationml.tags+xml"/>
  <Override PartName="/ppt/theme/themeOverride242.xml" ContentType="application/vnd.openxmlformats-officedocument.themeOverrid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2.xml" ContentType="application/vnd.openxmlformats-officedocument.theme+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heme/themeOverride243.xml" ContentType="application/vnd.openxmlformats-officedocument.themeOverride+xml"/>
  <Override PartName="/ppt/tags/tag644.xml" ContentType="application/vnd.openxmlformats-officedocument.presentationml.tags+xml"/>
  <Override PartName="/ppt/tags/tag645.xml" ContentType="application/vnd.openxmlformats-officedocument.presentationml.tags+xml"/>
  <Override PartName="/ppt/theme/themeOverride244.xml" ContentType="application/vnd.openxmlformats-officedocument.themeOverride+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heme/themeOverride245.xml" ContentType="application/vnd.openxmlformats-officedocument.themeOverride+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heme/themeOverride246.xml" ContentType="application/vnd.openxmlformats-officedocument.themeOverride+xml"/>
  <Override PartName="/ppt/tags/tag652.xml" ContentType="application/vnd.openxmlformats-officedocument.presentationml.tags+xml"/>
  <Override PartName="/ppt/tags/tag653.xml" ContentType="application/vnd.openxmlformats-officedocument.presentationml.tags+xml"/>
  <Override PartName="/ppt/theme/themeOverride247.xml" ContentType="application/vnd.openxmlformats-officedocument.themeOverride+xml"/>
  <Override PartName="/ppt/tags/tag654.xml" ContentType="application/vnd.openxmlformats-officedocument.presentationml.tags+xml"/>
  <Override PartName="/ppt/tags/tag655.xml" ContentType="application/vnd.openxmlformats-officedocument.presentationml.tags+xml"/>
  <Override PartName="/ppt/theme/themeOverride248.xml" ContentType="application/vnd.openxmlformats-officedocument.themeOverride+xml"/>
  <Override PartName="/ppt/tags/tag656.xml" ContentType="application/vnd.openxmlformats-officedocument.presentationml.tags+xml"/>
  <Override PartName="/ppt/tags/tag657.xml" ContentType="application/vnd.openxmlformats-officedocument.presentationml.tags+xml"/>
  <Override PartName="/ppt/theme/themeOverride249.xml" ContentType="application/vnd.openxmlformats-officedocument.themeOverride+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heme/themeOverride250.xml" ContentType="application/vnd.openxmlformats-officedocument.themeOverride+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heme/themeOverride251.xml" ContentType="application/vnd.openxmlformats-officedocument.themeOverr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heme/themeOverride252.xml" ContentType="application/vnd.openxmlformats-officedocument.themeOverr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heme/themeOverride253.xml" ContentType="application/vnd.openxmlformats-officedocument.themeOverride+xml"/>
  <Override PartName="/ppt/tags/tag675.xml" ContentType="application/vnd.openxmlformats-officedocument.presentationml.tags+xml"/>
  <Override PartName="/ppt/theme/themeOverride254.xml" ContentType="application/vnd.openxmlformats-officedocument.themeOverride+xml"/>
  <Override PartName="/ppt/tags/tag676.xml" ContentType="application/vnd.openxmlformats-officedocument.presentationml.tags+xml"/>
  <Override PartName="/ppt/theme/themeOverride255.xml" ContentType="application/vnd.openxmlformats-officedocument.themeOverride+xml"/>
  <Override PartName="/ppt/tags/tag677.xml" ContentType="application/vnd.openxmlformats-officedocument.presentationml.tags+xml"/>
  <Override PartName="/ppt/theme/themeOverride256.xml" ContentType="application/vnd.openxmlformats-officedocument.themeOverride+xml"/>
  <Override PartName="/ppt/tags/tag678.xml" ContentType="application/vnd.openxmlformats-officedocument.presentationml.tags+xml"/>
  <Override PartName="/ppt/theme/themeOverride257.xml" ContentType="application/vnd.openxmlformats-officedocument.themeOverride+xml"/>
  <Override PartName="/ppt/tags/tag679.xml" ContentType="application/vnd.openxmlformats-officedocument.presentationml.tags+xml"/>
  <Override PartName="/ppt/theme/themeOverride258.xml" ContentType="application/vnd.openxmlformats-officedocument.themeOverride+xml"/>
  <Override PartName="/ppt/tags/tag680.xml" ContentType="application/vnd.openxmlformats-officedocument.presentationml.tags+xml"/>
  <Override PartName="/ppt/theme/themeOverride259.xml" ContentType="application/vnd.openxmlformats-officedocument.themeOverride+xml"/>
  <Override PartName="/ppt/tags/tag681.xml" ContentType="application/vnd.openxmlformats-officedocument.presentationml.tags+xml"/>
  <Override PartName="/ppt/theme/themeOverride260.xml" ContentType="application/vnd.openxmlformats-officedocument.themeOverride+xml"/>
  <Override PartName="/ppt/tags/tag682.xml" ContentType="application/vnd.openxmlformats-officedocument.presentationml.tags+xml"/>
  <Override PartName="/ppt/tags/tag683.xml" ContentType="application/vnd.openxmlformats-officedocument.presentationml.tags+xml"/>
  <Override PartName="/ppt/theme/themeOverride261.xml" ContentType="application/vnd.openxmlformats-officedocument.themeOverride+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heme/themeOverride262.xml" ContentType="application/vnd.openxmlformats-officedocument.themeOverride+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heme/themeOverride263.xml" ContentType="application/vnd.openxmlformats-officedocument.themeOverride+xml"/>
  <Override PartName="/ppt/tags/tag690.xml" ContentType="application/vnd.openxmlformats-officedocument.presentationml.tags+xml"/>
  <Override PartName="/ppt/tags/tag691.xml" ContentType="application/vnd.openxmlformats-officedocument.presentationml.tags+xml"/>
  <Override PartName="/ppt/theme/themeOverride264.xml" ContentType="application/vnd.openxmlformats-officedocument.themeOverride+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heme/themeOverride265.xml" ContentType="application/vnd.openxmlformats-officedocument.themeOverride+xml"/>
  <Override PartName="/ppt/tags/tag696.xml" ContentType="application/vnd.openxmlformats-officedocument.presentationml.tags+xml"/>
  <Override PartName="/ppt/theme/themeOverride266.xml" ContentType="application/vnd.openxmlformats-officedocument.themeOverride+xml"/>
  <Override PartName="/ppt/tags/tag697.xml" ContentType="application/vnd.openxmlformats-officedocument.presentationml.tags+xml"/>
  <Override PartName="/ppt/theme/themeOverride267.xml" ContentType="application/vnd.openxmlformats-officedocument.themeOverride+xml"/>
  <Override PartName="/ppt/tags/tag698.xml" ContentType="application/vnd.openxmlformats-officedocument.presentationml.tags+xml"/>
  <Override PartName="/ppt/theme/themeOverride268.xml" ContentType="application/vnd.openxmlformats-officedocument.themeOverride+xml"/>
  <Override PartName="/ppt/tags/tag699.xml" ContentType="application/vnd.openxmlformats-officedocument.presentationml.tags+xml"/>
  <Override PartName="/ppt/theme/themeOverride269.xml" ContentType="application/vnd.openxmlformats-officedocument.themeOverride+xml"/>
  <Override PartName="/ppt/tags/tag700.xml" ContentType="application/vnd.openxmlformats-officedocument.presentationml.tags+xml"/>
  <Override PartName="/ppt/theme/themeOverride270.xml" ContentType="application/vnd.openxmlformats-officedocument.themeOverride+xml"/>
  <Override PartName="/ppt/tags/tag701.xml" ContentType="application/vnd.openxmlformats-officedocument.presentationml.tags+xml"/>
  <Override PartName="/ppt/theme/themeOverride271.xml" ContentType="application/vnd.openxmlformats-officedocument.themeOverride+xml"/>
  <Override PartName="/ppt/tags/tag702.xml" ContentType="application/vnd.openxmlformats-officedocument.presentationml.tags+xml"/>
  <Override PartName="/ppt/theme/themeOverride272.xml" ContentType="application/vnd.openxmlformats-officedocument.themeOverride+xml"/>
  <Override PartName="/ppt/tags/tag703.xml" ContentType="application/vnd.openxmlformats-officedocument.presentationml.tags+xml"/>
  <Override PartName="/ppt/theme/themeOverride273.xml" ContentType="application/vnd.openxmlformats-officedocument.themeOverride+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heme/themeOverride274.xml" ContentType="application/vnd.openxmlformats-officedocument.themeOverride+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heme/themeOverride275.xml" ContentType="application/vnd.openxmlformats-officedocument.themeOverride+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heme/themeOverride276.xml" ContentType="application/vnd.openxmlformats-officedocument.themeOverride+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heme/themeOverride277.xml" ContentType="application/vnd.openxmlformats-officedocument.themeOverride+xml"/>
  <Override PartName="/ppt/tags/tag716.xml" ContentType="application/vnd.openxmlformats-officedocument.presentationml.tags+xml"/>
  <Override PartName="/ppt/tags/tag717.xml" ContentType="application/vnd.openxmlformats-officedocument.presentationml.tags+xml"/>
  <Override PartName="/ppt/theme/themeOverride278.xml" ContentType="application/vnd.openxmlformats-officedocument.themeOverride+xml"/>
  <Override PartName="/ppt/tags/tag718.xml" ContentType="application/vnd.openxmlformats-officedocument.presentationml.tags+xml"/>
  <Override PartName="/ppt/tags/tag719.xml" ContentType="application/vnd.openxmlformats-officedocument.presentationml.tags+xml"/>
  <Override PartName="/ppt/theme/themeOverride279.xml" ContentType="application/vnd.openxmlformats-officedocument.themeOverride+xml"/>
  <Override PartName="/ppt/tags/tag720.xml" ContentType="application/vnd.openxmlformats-officedocument.presentationml.tags+xml"/>
  <Override PartName="/ppt/theme/themeOverride280.xml" ContentType="application/vnd.openxmlformats-officedocument.themeOverride+xml"/>
  <Override PartName="/ppt/tags/tag721.xml" ContentType="application/vnd.openxmlformats-officedocument.presentationml.tags+xml"/>
  <Override PartName="/ppt/theme/themeOverride281.xml" ContentType="application/vnd.openxmlformats-officedocument.themeOverride+xml"/>
  <Override PartName="/ppt/tags/tag722.xml" ContentType="application/vnd.openxmlformats-officedocument.presentationml.tags+xml"/>
  <Override PartName="/ppt/theme/themeOverride282.xml" ContentType="application/vnd.openxmlformats-officedocument.themeOverride+xml"/>
  <Override PartName="/ppt/tags/tag723.xml" ContentType="application/vnd.openxmlformats-officedocument.presentationml.tags+xml"/>
  <Override PartName="/ppt/theme/themeOverride283.xml" ContentType="application/vnd.openxmlformats-officedocument.themeOverride+xml"/>
  <Override PartName="/ppt/tags/tag724.xml" ContentType="application/vnd.openxmlformats-officedocument.presentationml.tags+xml"/>
  <Override PartName="/ppt/theme/themeOverride284.xml" ContentType="application/vnd.openxmlformats-officedocument.themeOverrid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13.xml" ContentType="application/vnd.openxmlformats-officedocument.theme+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heme/themeOverride285.xml" ContentType="application/vnd.openxmlformats-officedocument.themeOverride+xml"/>
  <Override PartName="/ppt/tags/tag730.xml" ContentType="application/vnd.openxmlformats-officedocument.presentationml.tags+xml"/>
  <Override PartName="/ppt/tags/tag731.xml" ContentType="application/vnd.openxmlformats-officedocument.presentationml.tags+xml"/>
  <Override PartName="/ppt/theme/themeOverride286.xml" ContentType="application/vnd.openxmlformats-officedocument.themeOverride+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heme/themeOverride287.xml" ContentType="application/vnd.openxmlformats-officedocument.themeOverride+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heme/themeOverride288.xml" ContentType="application/vnd.openxmlformats-officedocument.themeOverride+xml"/>
  <Override PartName="/ppt/tags/tag738.xml" ContentType="application/vnd.openxmlformats-officedocument.presentationml.tags+xml"/>
  <Override PartName="/ppt/tags/tag739.xml" ContentType="application/vnd.openxmlformats-officedocument.presentationml.tags+xml"/>
  <Override PartName="/ppt/theme/themeOverride289.xml" ContentType="application/vnd.openxmlformats-officedocument.themeOverride+xml"/>
  <Override PartName="/ppt/tags/tag740.xml" ContentType="application/vnd.openxmlformats-officedocument.presentationml.tags+xml"/>
  <Override PartName="/ppt/tags/tag741.xml" ContentType="application/vnd.openxmlformats-officedocument.presentationml.tags+xml"/>
  <Override PartName="/ppt/theme/themeOverride290.xml" ContentType="application/vnd.openxmlformats-officedocument.themeOverride+xml"/>
  <Override PartName="/ppt/tags/tag742.xml" ContentType="application/vnd.openxmlformats-officedocument.presentationml.tags+xml"/>
  <Override PartName="/ppt/tags/tag743.xml" ContentType="application/vnd.openxmlformats-officedocument.presentationml.tags+xml"/>
  <Override PartName="/ppt/theme/themeOverride291.xml" ContentType="application/vnd.openxmlformats-officedocument.themeOverride+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heme/themeOverride292.xml" ContentType="application/vnd.openxmlformats-officedocument.themeOverride+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heme/themeOverride293.xml" ContentType="application/vnd.openxmlformats-officedocument.themeOverrid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heme/themeOverride294.xml" ContentType="application/vnd.openxmlformats-officedocument.themeOverride+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heme/themeOverride295.xml" ContentType="application/vnd.openxmlformats-officedocument.themeOverride+xml"/>
  <Override PartName="/ppt/tags/tag760.xml" ContentType="application/vnd.openxmlformats-officedocument.presentationml.tags+xml"/>
  <Override PartName="/ppt/theme/themeOverride296.xml" ContentType="application/vnd.openxmlformats-officedocument.themeOverride+xml"/>
  <Override PartName="/ppt/tags/tag761.xml" ContentType="application/vnd.openxmlformats-officedocument.presentationml.tags+xml"/>
  <Override PartName="/ppt/theme/themeOverride297.xml" ContentType="application/vnd.openxmlformats-officedocument.themeOverride+xml"/>
  <Override PartName="/ppt/tags/tag762.xml" ContentType="application/vnd.openxmlformats-officedocument.presentationml.tags+xml"/>
  <Override PartName="/ppt/theme/themeOverride298.xml" ContentType="application/vnd.openxmlformats-officedocument.themeOverride+xml"/>
  <Override PartName="/ppt/tags/tag763.xml" ContentType="application/vnd.openxmlformats-officedocument.presentationml.tags+xml"/>
  <Override PartName="/ppt/theme/themeOverride299.xml" ContentType="application/vnd.openxmlformats-officedocument.themeOverride+xml"/>
  <Override PartName="/ppt/tags/tag764.xml" ContentType="application/vnd.openxmlformats-officedocument.presentationml.tags+xml"/>
  <Override PartName="/ppt/theme/themeOverride300.xml" ContentType="application/vnd.openxmlformats-officedocument.themeOverride+xml"/>
  <Override PartName="/ppt/tags/tag765.xml" ContentType="application/vnd.openxmlformats-officedocument.presentationml.tags+xml"/>
  <Override PartName="/ppt/theme/themeOverride301.xml" ContentType="application/vnd.openxmlformats-officedocument.themeOverride+xml"/>
  <Override PartName="/ppt/tags/tag766.xml" ContentType="application/vnd.openxmlformats-officedocument.presentationml.tags+xml"/>
  <Override PartName="/ppt/theme/themeOverride302.xml" ContentType="application/vnd.openxmlformats-officedocument.themeOverride+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heme/themeOverride303.xml" ContentType="application/vnd.openxmlformats-officedocument.themeOverride+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heme/themeOverride304.xml" ContentType="application/vnd.openxmlformats-officedocument.themeOverride+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heme/themeOverride305.xml" ContentType="application/vnd.openxmlformats-officedocument.themeOverride+xml"/>
  <Override PartName="/ppt/tags/tag776.xml" ContentType="application/vnd.openxmlformats-officedocument.presentationml.tags+xml"/>
  <Override PartName="/ppt/tags/tag777.xml" ContentType="application/vnd.openxmlformats-officedocument.presentationml.tags+xml"/>
  <Override PartName="/ppt/theme/themeOverride306.xml" ContentType="application/vnd.openxmlformats-officedocument.themeOverride+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heme/themeOverride307.xml" ContentType="application/vnd.openxmlformats-officedocument.themeOverride+xml"/>
  <Override PartName="/ppt/tags/tag782.xml" ContentType="application/vnd.openxmlformats-officedocument.presentationml.tags+xml"/>
  <Override PartName="/ppt/theme/themeOverride308.xml" ContentType="application/vnd.openxmlformats-officedocument.themeOverride+xml"/>
  <Override PartName="/ppt/tags/tag783.xml" ContentType="application/vnd.openxmlformats-officedocument.presentationml.tags+xml"/>
  <Override PartName="/ppt/theme/themeOverride309.xml" ContentType="application/vnd.openxmlformats-officedocument.themeOverride+xml"/>
  <Override PartName="/ppt/tags/tag784.xml" ContentType="application/vnd.openxmlformats-officedocument.presentationml.tags+xml"/>
  <Override PartName="/ppt/theme/themeOverride310.xml" ContentType="application/vnd.openxmlformats-officedocument.themeOverride+xml"/>
  <Override PartName="/ppt/tags/tag785.xml" ContentType="application/vnd.openxmlformats-officedocument.presentationml.tags+xml"/>
  <Override PartName="/ppt/theme/themeOverride311.xml" ContentType="application/vnd.openxmlformats-officedocument.themeOverride+xml"/>
  <Override PartName="/ppt/tags/tag786.xml" ContentType="application/vnd.openxmlformats-officedocument.presentationml.tags+xml"/>
  <Override PartName="/ppt/theme/themeOverride312.xml" ContentType="application/vnd.openxmlformats-officedocument.themeOverride+xml"/>
  <Override PartName="/ppt/tags/tag787.xml" ContentType="application/vnd.openxmlformats-officedocument.presentationml.tags+xml"/>
  <Override PartName="/ppt/theme/themeOverride313.xml" ContentType="application/vnd.openxmlformats-officedocument.themeOverride+xml"/>
  <Override PartName="/ppt/tags/tag788.xml" ContentType="application/vnd.openxmlformats-officedocument.presentationml.tags+xml"/>
  <Override PartName="/ppt/theme/themeOverride314.xml" ContentType="application/vnd.openxmlformats-officedocument.themeOverride+xml"/>
  <Override PartName="/ppt/tags/tag789.xml" ContentType="application/vnd.openxmlformats-officedocument.presentationml.tags+xml"/>
  <Override PartName="/ppt/theme/themeOverride315.xml" ContentType="application/vnd.openxmlformats-officedocument.themeOverrid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heme/themeOverride316.xml" ContentType="application/vnd.openxmlformats-officedocument.themeOverride+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heme/themeOverride317.xml" ContentType="application/vnd.openxmlformats-officedocument.themeOverride+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heme/themeOverride318.xml" ContentType="application/vnd.openxmlformats-officedocument.themeOverride+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heme/themeOverride319.xml" ContentType="application/vnd.openxmlformats-officedocument.themeOverride+xml"/>
  <Override PartName="/ppt/tags/tag802.xml" ContentType="application/vnd.openxmlformats-officedocument.presentationml.tags+xml"/>
  <Override PartName="/ppt/tags/tag803.xml" ContentType="application/vnd.openxmlformats-officedocument.presentationml.tags+xml"/>
  <Override PartName="/ppt/theme/themeOverride320.xml" ContentType="application/vnd.openxmlformats-officedocument.themeOverride+xml"/>
  <Override PartName="/ppt/tags/tag804.xml" ContentType="application/vnd.openxmlformats-officedocument.presentationml.tags+xml"/>
  <Override PartName="/ppt/tags/tag805.xml" ContentType="application/vnd.openxmlformats-officedocument.presentationml.tags+xml"/>
  <Override PartName="/ppt/theme/themeOverride321.xml" ContentType="application/vnd.openxmlformats-officedocument.themeOverride+xml"/>
  <Override PartName="/ppt/tags/tag806.xml" ContentType="application/vnd.openxmlformats-officedocument.presentationml.tags+xml"/>
  <Override PartName="/ppt/theme/themeOverride322.xml" ContentType="application/vnd.openxmlformats-officedocument.themeOverride+xml"/>
  <Override PartName="/ppt/tags/tag807.xml" ContentType="application/vnd.openxmlformats-officedocument.presentationml.tags+xml"/>
  <Override PartName="/ppt/theme/themeOverride323.xml" ContentType="application/vnd.openxmlformats-officedocument.themeOverride+xml"/>
  <Override PartName="/ppt/tags/tag808.xml" ContentType="application/vnd.openxmlformats-officedocument.presentationml.tags+xml"/>
  <Override PartName="/ppt/theme/themeOverride324.xml" ContentType="application/vnd.openxmlformats-officedocument.themeOverride+xml"/>
  <Override PartName="/ppt/tags/tag809.xml" ContentType="application/vnd.openxmlformats-officedocument.presentationml.tags+xml"/>
  <Override PartName="/ppt/theme/themeOverride325.xml" ContentType="application/vnd.openxmlformats-officedocument.themeOverride+xml"/>
  <Override PartName="/ppt/tags/tag810.xml" ContentType="application/vnd.openxmlformats-officedocument.presentationml.tags+xml"/>
  <Override PartName="/ppt/theme/themeOverride326.xml" ContentType="application/vnd.openxmlformats-officedocument.themeOverride+xml"/>
  <Override PartName="/ppt/theme/themeOverride327.xml" ContentType="application/vnd.openxmlformats-officedocument.themeOverrid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4.xml" ContentType="application/vnd.openxmlformats-officedocument.them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Override328.xml" ContentType="application/vnd.openxmlformats-officedocument.themeOverride+xml"/>
  <Override PartName="/ppt/tags/tag815.xml" ContentType="application/vnd.openxmlformats-officedocument.presentationml.tags+xml"/>
  <Override PartName="/ppt/tags/tag816.xml" ContentType="application/vnd.openxmlformats-officedocument.presentationml.tags+xml"/>
  <Override PartName="/ppt/theme/themeOverride329.xml" ContentType="application/vnd.openxmlformats-officedocument.themeOverride+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heme/themeOverride330.xml" ContentType="application/vnd.openxmlformats-officedocument.themeOverride+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heme/themeOverride331.xml" ContentType="application/vnd.openxmlformats-officedocument.themeOverride+xml"/>
  <Override PartName="/ppt/tags/tag823.xml" ContentType="application/vnd.openxmlformats-officedocument.presentationml.tags+xml"/>
  <Override PartName="/ppt/tags/tag824.xml" ContentType="application/vnd.openxmlformats-officedocument.presentationml.tags+xml"/>
  <Override PartName="/ppt/theme/themeOverride332.xml" ContentType="application/vnd.openxmlformats-officedocument.themeOverride+xml"/>
  <Override PartName="/ppt/tags/tag825.xml" ContentType="application/vnd.openxmlformats-officedocument.presentationml.tags+xml"/>
  <Override PartName="/ppt/tags/tag826.xml" ContentType="application/vnd.openxmlformats-officedocument.presentationml.tags+xml"/>
  <Override PartName="/ppt/theme/themeOverride333.xml" ContentType="application/vnd.openxmlformats-officedocument.themeOverride+xml"/>
  <Override PartName="/ppt/tags/tag827.xml" ContentType="application/vnd.openxmlformats-officedocument.presentationml.tags+xml"/>
  <Override PartName="/ppt/tags/tag828.xml" ContentType="application/vnd.openxmlformats-officedocument.presentationml.tags+xml"/>
  <Override PartName="/ppt/theme/themeOverride334.xml" ContentType="application/vnd.openxmlformats-officedocument.themeOverride+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heme/themeOverride335.xml" ContentType="application/vnd.openxmlformats-officedocument.themeOverride+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heme/themeOverride336.xml" ContentType="application/vnd.openxmlformats-officedocument.themeOverride+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heme/themeOverride337.xml" ContentType="application/vnd.openxmlformats-officedocument.themeOverride+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heme/themeOverride338.xml" ContentType="application/vnd.openxmlformats-officedocument.themeOverride+xml"/>
  <Override PartName="/ppt/tags/tag846.xml" ContentType="application/vnd.openxmlformats-officedocument.presentationml.tags+xml"/>
  <Override PartName="/ppt/theme/themeOverride339.xml" ContentType="application/vnd.openxmlformats-officedocument.themeOverride+xml"/>
  <Override PartName="/ppt/tags/tag847.xml" ContentType="application/vnd.openxmlformats-officedocument.presentationml.tags+xml"/>
  <Override PartName="/ppt/theme/themeOverride340.xml" ContentType="application/vnd.openxmlformats-officedocument.themeOverride+xml"/>
  <Override PartName="/ppt/tags/tag848.xml" ContentType="application/vnd.openxmlformats-officedocument.presentationml.tags+xml"/>
  <Override PartName="/ppt/theme/themeOverride341.xml" ContentType="application/vnd.openxmlformats-officedocument.themeOverride+xml"/>
  <Override PartName="/ppt/tags/tag849.xml" ContentType="application/vnd.openxmlformats-officedocument.presentationml.tags+xml"/>
  <Override PartName="/ppt/theme/themeOverride342.xml" ContentType="application/vnd.openxmlformats-officedocument.themeOverride+xml"/>
  <Override PartName="/ppt/tags/tag850.xml" ContentType="application/vnd.openxmlformats-officedocument.presentationml.tags+xml"/>
  <Override PartName="/ppt/theme/themeOverride343.xml" ContentType="application/vnd.openxmlformats-officedocument.themeOverride+xml"/>
  <Override PartName="/ppt/tags/tag851.xml" ContentType="application/vnd.openxmlformats-officedocument.presentationml.tags+xml"/>
  <Override PartName="/ppt/theme/themeOverride344.xml" ContentType="application/vnd.openxmlformats-officedocument.themeOverride+xml"/>
  <Override PartName="/ppt/tags/tag852.xml" ContentType="application/vnd.openxmlformats-officedocument.presentationml.tags+xml"/>
  <Override PartName="/ppt/theme/themeOverride345.xml" ContentType="application/vnd.openxmlformats-officedocument.themeOverride+xml"/>
  <Override PartName="/ppt/tags/tag853.xml" ContentType="application/vnd.openxmlformats-officedocument.presentationml.tags+xml"/>
  <Override PartName="/ppt/theme/themeOverride346.xml" ContentType="application/vnd.openxmlformats-officedocument.themeOverride+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heme/themeOverride347.xml" ContentType="application/vnd.openxmlformats-officedocument.themeOverride+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heme/themeOverride348.xml" ContentType="application/vnd.openxmlformats-officedocument.themeOverride+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heme/themeOverride349.xml" ContentType="application/vnd.openxmlformats-officedocument.themeOverride+xml"/>
  <Override PartName="/ppt/tags/tag863.xml" ContentType="application/vnd.openxmlformats-officedocument.presentationml.tags+xml"/>
  <Override PartName="/ppt/tags/tag864.xml" ContentType="application/vnd.openxmlformats-officedocument.presentationml.tags+xml"/>
  <Override PartName="/ppt/theme/themeOverride350.xml" ContentType="application/vnd.openxmlformats-officedocument.themeOverride+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heme/themeOverride351.xml" ContentType="application/vnd.openxmlformats-officedocument.themeOverride+xml"/>
  <Override PartName="/ppt/tags/tag869.xml" ContentType="application/vnd.openxmlformats-officedocument.presentationml.tags+xml"/>
  <Override PartName="/ppt/theme/themeOverride352.xml" ContentType="application/vnd.openxmlformats-officedocument.themeOverride+xml"/>
  <Override PartName="/ppt/tags/tag870.xml" ContentType="application/vnd.openxmlformats-officedocument.presentationml.tags+xml"/>
  <Override PartName="/ppt/theme/themeOverride353.xml" ContentType="application/vnd.openxmlformats-officedocument.themeOverride+xml"/>
  <Override PartName="/ppt/tags/tag871.xml" ContentType="application/vnd.openxmlformats-officedocument.presentationml.tags+xml"/>
  <Override PartName="/ppt/theme/themeOverride354.xml" ContentType="application/vnd.openxmlformats-officedocument.themeOverride+xml"/>
  <Override PartName="/ppt/tags/tag872.xml" ContentType="application/vnd.openxmlformats-officedocument.presentationml.tags+xml"/>
  <Override PartName="/ppt/theme/themeOverride355.xml" ContentType="application/vnd.openxmlformats-officedocument.themeOverride+xml"/>
  <Override PartName="/ppt/tags/tag873.xml" ContentType="application/vnd.openxmlformats-officedocument.presentationml.tags+xml"/>
  <Override PartName="/ppt/theme/themeOverride356.xml" ContentType="application/vnd.openxmlformats-officedocument.themeOverride+xml"/>
  <Override PartName="/ppt/tags/tag874.xml" ContentType="application/vnd.openxmlformats-officedocument.presentationml.tags+xml"/>
  <Override PartName="/ppt/theme/themeOverride357.xml" ContentType="application/vnd.openxmlformats-officedocument.themeOverride+xml"/>
  <Override PartName="/ppt/tags/tag875.xml" ContentType="application/vnd.openxmlformats-officedocument.presentationml.tags+xml"/>
  <Override PartName="/ppt/theme/themeOverride358.xml" ContentType="application/vnd.openxmlformats-officedocument.themeOverride+xml"/>
  <Override PartName="/ppt/tags/tag876.xml" ContentType="application/vnd.openxmlformats-officedocument.presentationml.tags+xml"/>
  <Override PartName="/ppt/theme/themeOverride359.xml" ContentType="application/vnd.openxmlformats-officedocument.themeOverride+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heme/themeOverride360.xml" ContentType="application/vnd.openxmlformats-officedocument.themeOverride+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heme/themeOverride361.xml" ContentType="application/vnd.openxmlformats-officedocument.themeOverride+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heme/themeOverride362.xml" ContentType="application/vnd.openxmlformats-officedocument.themeOverride+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heme/themeOverride363.xml" ContentType="application/vnd.openxmlformats-officedocument.themeOverride+xml"/>
  <Override PartName="/ppt/tags/tag889.xml" ContentType="application/vnd.openxmlformats-officedocument.presentationml.tags+xml"/>
  <Override PartName="/ppt/tags/tag890.xml" ContentType="application/vnd.openxmlformats-officedocument.presentationml.tags+xml"/>
  <Override PartName="/ppt/theme/themeOverride364.xml" ContentType="application/vnd.openxmlformats-officedocument.themeOverride+xml"/>
  <Override PartName="/ppt/tags/tag891.xml" ContentType="application/vnd.openxmlformats-officedocument.presentationml.tags+xml"/>
  <Override PartName="/ppt/tags/tag892.xml" ContentType="application/vnd.openxmlformats-officedocument.presentationml.tags+xml"/>
  <Override PartName="/ppt/theme/themeOverride365.xml" ContentType="application/vnd.openxmlformats-officedocument.themeOverride+xml"/>
  <Override PartName="/ppt/tags/tag893.xml" ContentType="application/vnd.openxmlformats-officedocument.presentationml.tags+xml"/>
  <Override PartName="/ppt/theme/themeOverride366.xml" ContentType="application/vnd.openxmlformats-officedocument.themeOverride+xml"/>
  <Override PartName="/ppt/tags/tag894.xml" ContentType="application/vnd.openxmlformats-officedocument.presentationml.tags+xml"/>
  <Override PartName="/ppt/theme/themeOverride367.xml" ContentType="application/vnd.openxmlformats-officedocument.themeOverride+xml"/>
  <Override PartName="/ppt/tags/tag895.xml" ContentType="application/vnd.openxmlformats-officedocument.presentationml.tags+xml"/>
  <Override PartName="/ppt/theme/themeOverride368.xml" ContentType="application/vnd.openxmlformats-officedocument.themeOverride+xml"/>
  <Override PartName="/ppt/tags/tag896.xml" ContentType="application/vnd.openxmlformats-officedocument.presentationml.tags+xml"/>
  <Override PartName="/ppt/theme/themeOverride369.xml" ContentType="application/vnd.openxmlformats-officedocument.themeOverride+xml"/>
  <Override PartName="/ppt/tags/tag897.xml" ContentType="application/vnd.openxmlformats-officedocument.presentationml.tags+xml"/>
  <Override PartName="/ppt/theme/themeOverride370.xml" ContentType="application/vnd.openxmlformats-officedocument.themeOverride+xml"/>
  <Override PartName="/ppt/theme/themeOverride371.xml" ContentType="application/vnd.openxmlformats-officedocument.themeOverride+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heme/themeOverride372.xml" ContentType="application/vnd.openxmlformats-officedocument.themeOverrid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15.xml" ContentType="application/vnd.openxmlformats-officedocument.theme+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theme/theme16.xml" ContentType="application/vnd.openxmlformats-officedocument.theme+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17.xml" ContentType="application/vnd.openxmlformats-officedocument.theme+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notesSlides/notesSlide7.xml" ContentType="application/vnd.openxmlformats-officedocument.presentationml.notesSlide+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notesSlides/notesSlide8.xml" ContentType="application/vnd.openxmlformats-officedocument.presentationml.notesSlide+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notesSlides/notesSlide9.xml" ContentType="application/vnd.openxmlformats-officedocument.presentationml.notesSlide+xml"/>
  <Override PartName="/ppt/tags/tag1361.xml" ContentType="application/vnd.openxmlformats-officedocument.presentationml.tags+xml"/>
  <Override PartName="/ppt/tags/tag1362.xml" ContentType="application/vnd.openxmlformats-officedocument.presentationml.tags+xml"/>
  <Override PartName="/ppt/notesSlides/notesSlide10.xml" ContentType="application/vnd.openxmlformats-officedocument.presentationml.notesSlide+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notesSlides/notesSlide11.xml" ContentType="application/vnd.openxmlformats-officedocument.presentationml.notesSlide+xml"/>
  <Override PartName="/ppt/tags/tag1367.xml" ContentType="application/vnd.openxmlformats-officedocument.presentationml.tags+xml"/>
  <Override PartName="/ppt/tags/tag1368.xml" ContentType="application/vnd.openxmlformats-officedocument.presentationml.tags+xml"/>
  <Override PartName="/ppt/notesSlides/notesSlide12.xml" ContentType="application/vnd.openxmlformats-officedocument.presentationml.notesSlide+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notesSlides/notesSlide13.xml" ContentType="application/vnd.openxmlformats-officedocument.presentationml.notesSlide+xml"/>
  <Override PartName="/ppt/tags/tag1372.xml" ContentType="application/vnd.openxmlformats-officedocument.presentationml.tags+xml"/>
  <Override PartName="/ppt/notesSlides/notesSlide14.xml" ContentType="application/vnd.openxmlformats-officedocument.presentationml.notesSlide+xml"/>
  <Override PartName="/ppt/tags/tag1373.xml" ContentType="application/vnd.openxmlformats-officedocument.presentationml.tags+xml"/>
  <Override PartName="/ppt/notesSlides/notesSlide15.xml" ContentType="application/vnd.openxmlformats-officedocument.presentationml.notesSlide+xml"/>
  <Override PartName="/ppt/tags/tag1374.xml" ContentType="application/vnd.openxmlformats-officedocument.presentationml.tags+xml"/>
  <Override PartName="/ppt/notesSlides/notesSlide16.xml" ContentType="application/vnd.openxmlformats-officedocument.presentationml.notesSlide+xml"/>
  <Override PartName="/ppt/tags/tag1375.xml" ContentType="application/vnd.openxmlformats-officedocument.presentationml.tags+xml"/>
  <Override PartName="/ppt/notesSlides/notesSlide17.xml" ContentType="application/vnd.openxmlformats-officedocument.presentationml.notesSlide+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notesSlides/notesSlide18.xml" ContentType="application/vnd.openxmlformats-officedocument.presentationml.notesSlide+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notesSlides/notesSlide19.xml" ContentType="application/vnd.openxmlformats-officedocument.presentationml.notesSlide+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notesSlides/notesSlide20.xml" ContentType="application/vnd.openxmlformats-officedocument.presentationml.notesSlide+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notesSlides/notesSlide21.xml" ContentType="application/vnd.openxmlformats-officedocument.presentationml.notesSlide+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notesSlides/notesSlide22.xml" ContentType="application/vnd.openxmlformats-officedocument.presentationml.notesSlide+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notesSlides/notesSlide23.xml" ContentType="application/vnd.openxmlformats-officedocument.presentationml.notesSlide+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notesSlides/notesSlide24.xml" ContentType="application/vnd.openxmlformats-officedocument.presentationml.notesSlide+xml"/>
  <Override PartName="/ppt/tags/tag1404.xml" ContentType="application/vnd.openxmlformats-officedocument.presentationml.tags+xml"/>
  <Override PartName="/ppt/tags/tag1405.xml" ContentType="application/vnd.openxmlformats-officedocument.presentationml.tags+xml"/>
  <Override PartName="/ppt/notesSlides/notesSlide25.xml" ContentType="application/vnd.openxmlformats-officedocument.presentationml.notesSlide+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notesSlides/notesSlide26.xml" ContentType="application/vnd.openxmlformats-officedocument.presentationml.notesSlide+xml"/>
  <Override PartName="/ppt/tags/tag141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3" r:id="rId6"/>
    <p:sldMasterId id="2147483706" r:id="rId7"/>
    <p:sldMasterId id="2147483729" r:id="rId8"/>
    <p:sldMasterId id="2147483772" r:id="rId9"/>
    <p:sldMasterId id="2147483821" r:id="rId10"/>
    <p:sldMasterId id="2147483865" r:id="rId11"/>
    <p:sldMasterId id="2147483909" r:id="rId12"/>
    <p:sldMasterId id="2147483956" r:id="rId13"/>
    <p:sldMasterId id="2147483981" r:id="rId14"/>
    <p:sldMasterId id="2147484008" r:id="rId15"/>
    <p:sldMasterId id="2147484034" r:id="rId16"/>
    <p:sldMasterId id="2147484078" r:id="rId17"/>
    <p:sldMasterId id="2147484122" r:id="rId18"/>
    <p:sldMasterId id="2147484169" r:id="rId19"/>
    <p:sldMasterId id="2147484213" r:id="rId20"/>
    <p:sldMasterId id="2147484232" r:id="rId21"/>
    <p:sldMasterId id="2147484239" r:id="rId22"/>
  </p:sldMasterIdLst>
  <p:notesMasterIdLst>
    <p:notesMasterId r:id="rId82"/>
  </p:notesMasterIdLst>
  <p:sldIdLst>
    <p:sldId id="2134806857" r:id="rId23"/>
    <p:sldId id="2134806858" r:id="rId24"/>
    <p:sldId id="282" r:id="rId25"/>
    <p:sldId id="297" r:id="rId26"/>
    <p:sldId id="299" r:id="rId27"/>
    <p:sldId id="273" r:id="rId28"/>
    <p:sldId id="295" r:id="rId29"/>
    <p:sldId id="296" r:id="rId30"/>
    <p:sldId id="261" r:id="rId31"/>
    <p:sldId id="355239150" r:id="rId32"/>
    <p:sldId id="355239184" r:id="rId33"/>
    <p:sldId id="289" r:id="rId34"/>
    <p:sldId id="2134806851" r:id="rId35"/>
    <p:sldId id="355239180" r:id="rId36"/>
    <p:sldId id="865" r:id="rId37"/>
    <p:sldId id="355239244" r:id="rId38"/>
    <p:sldId id="355239253" r:id="rId39"/>
    <p:sldId id="355239335" r:id="rId40"/>
    <p:sldId id="2007578588" r:id="rId41"/>
    <p:sldId id="2007578589" r:id="rId42"/>
    <p:sldId id="2007578590" r:id="rId43"/>
    <p:sldId id="2007578591" r:id="rId44"/>
    <p:sldId id="4139" r:id="rId45"/>
    <p:sldId id="4186" r:id="rId46"/>
    <p:sldId id="4173" r:id="rId47"/>
    <p:sldId id="355239245" r:id="rId48"/>
    <p:sldId id="355239231" r:id="rId49"/>
    <p:sldId id="981" r:id="rId50"/>
    <p:sldId id="355239236" r:id="rId51"/>
    <p:sldId id="355239234" r:id="rId52"/>
    <p:sldId id="443" r:id="rId53"/>
    <p:sldId id="355239237" r:id="rId54"/>
    <p:sldId id="360" r:id="rId55"/>
    <p:sldId id="441" r:id="rId56"/>
    <p:sldId id="2134806856" r:id="rId57"/>
    <p:sldId id="355239241" r:id="rId58"/>
    <p:sldId id="355239242" r:id="rId59"/>
    <p:sldId id="355239172" r:id="rId60"/>
    <p:sldId id="2134806852" r:id="rId61"/>
    <p:sldId id="2134806853" r:id="rId62"/>
    <p:sldId id="2134806854" r:id="rId63"/>
    <p:sldId id="2007578587" r:id="rId64"/>
    <p:sldId id="2134806832" r:id="rId65"/>
    <p:sldId id="338" r:id="rId66"/>
    <p:sldId id="1766" r:id="rId67"/>
    <p:sldId id="2134806842" r:id="rId68"/>
    <p:sldId id="266" r:id="rId69"/>
    <p:sldId id="6984" r:id="rId70"/>
    <p:sldId id="2134806850" r:id="rId71"/>
    <p:sldId id="6971" r:id="rId72"/>
    <p:sldId id="6972" r:id="rId73"/>
    <p:sldId id="6976" r:id="rId74"/>
    <p:sldId id="6978" r:id="rId75"/>
    <p:sldId id="6979" r:id="rId76"/>
    <p:sldId id="2134806830" r:id="rId77"/>
    <p:sldId id="2134806855" r:id="rId78"/>
    <p:sldId id="256" r:id="rId79"/>
    <p:sldId id="330" r:id="rId80"/>
    <p:sldId id="355239277" r:id="rId81"/>
  </p:sldIdLst>
  <p:sldSz cx="12192000" cy="6858000"/>
  <p:notesSz cx="6797675" cy="9928225"/>
  <p:custDataLst>
    <p:tags r:id="rId8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genda" id="{474B16D3-A101-423D-9EF1-FA02D7897232}">
          <p14:sldIdLst>
            <p14:sldId id="2134806857"/>
            <p14:sldId id="2134806858"/>
            <p14:sldId id="282"/>
            <p14:sldId id="297"/>
            <p14:sldId id="299"/>
            <p14:sldId id="273"/>
            <p14:sldId id="295"/>
            <p14:sldId id="296"/>
            <p14:sldId id="261"/>
            <p14:sldId id="355239150"/>
            <p14:sldId id="355239184"/>
            <p14:sldId id="289"/>
          </p14:sldIdLst>
        </p14:section>
        <p14:section name="1. Why IFRS" id="{8C59488F-4C52-4C21-92DF-95B8FCFAA327}">
          <p14:sldIdLst>
            <p14:sldId id="2134806851"/>
            <p14:sldId id="355239180"/>
            <p14:sldId id="865"/>
          </p14:sldIdLst>
        </p14:section>
        <p14:section name="2. Important changes and concepts" id="{92E10784-021E-4537-975F-6B15EFF0B5EF}">
          <p14:sldIdLst>
            <p14:sldId id="355239244"/>
            <p14:sldId id="355239253"/>
            <p14:sldId id="355239335"/>
            <p14:sldId id="2007578588"/>
            <p14:sldId id="2007578589"/>
            <p14:sldId id="2007578590"/>
            <p14:sldId id="2007578591"/>
            <p14:sldId id="4139"/>
            <p14:sldId id="4186"/>
            <p14:sldId id="4173"/>
            <p14:sldId id="355239245"/>
          </p14:sldIdLst>
        </p14:section>
        <p14:section name="3. Comparison with existing valuations" id="{DD92C227-ACF7-48D8-BC11-83CB13A55B2D}">
          <p14:sldIdLst>
            <p14:sldId id="355239231"/>
            <p14:sldId id="981"/>
            <p14:sldId id="355239236"/>
            <p14:sldId id="355239234"/>
            <p14:sldId id="443"/>
            <p14:sldId id="355239237"/>
            <p14:sldId id="360"/>
            <p14:sldId id="441"/>
            <p14:sldId id="2134806856"/>
            <p14:sldId id="355239241"/>
            <p14:sldId id="355239242"/>
            <p14:sldId id="355239172"/>
            <p14:sldId id="2134806852"/>
            <p14:sldId id="2134806853"/>
            <p14:sldId id="2134806854"/>
          </p14:sldIdLst>
        </p14:section>
        <p14:section name="4. Policy development – an overview" id="{B7DD0E9B-92DC-4C18-8A50-B8827000CE39}">
          <p14:sldIdLst>
            <p14:sldId id="2007578587"/>
            <p14:sldId id="2134806832"/>
            <p14:sldId id="338"/>
            <p14:sldId id="1766"/>
            <p14:sldId id="2134806842"/>
            <p14:sldId id="266"/>
            <p14:sldId id="6984"/>
            <p14:sldId id="2134806850"/>
            <p14:sldId id="6971"/>
            <p14:sldId id="6972"/>
            <p14:sldId id="6976"/>
            <p14:sldId id="6978"/>
            <p14:sldId id="6979"/>
            <p14:sldId id="2134806830"/>
            <p14:sldId id="2134806855"/>
            <p14:sldId id="256"/>
            <p14:sldId id="330"/>
          </p14:sldIdLst>
        </p14:section>
        <p14:section name="5. Q&amp;A" id="{29B192A4-FAD4-4C44-A0CD-DBD71703B134}">
          <p14:sldIdLst>
            <p14:sldId id="355239277"/>
          </p14:sldIdLst>
        </p14:section>
      </p14:sectionLst>
    </p:ext>
    <p:ext uri="{EFAFB233-063F-42B5-8137-9DF3F51BA10A}">
      <p15:sldGuideLst xmlns:p15="http://schemas.microsoft.com/office/powerpoint/2012/main">
        <p15:guide id="1" orient="horz" pos="2136" userDrawn="1">
          <p15:clr>
            <a:srgbClr val="A4A3A4"/>
          </p15:clr>
        </p15:guide>
        <p15:guide id="2" pos="73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ger Spichiger (external)" initials="RS(" lastIdx="25" clrIdx="0">
    <p:extLst>
      <p:ext uri="{19B8F6BF-5375-455C-9EA6-DF929625EA0E}">
        <p15:presenceInfo xmlns:p15="http://schemas.microsoft.com/office/powerpoint/2012/main" userId="S::Roger_Spichiger@swissre.com::a8504cd9-ef03-4515-b103-6872213e61bc" providerId="AD"/>
      </p:ext>
    </p:extLst>
  </p:cmAuthor>
  <p:cmAuthor id="2" name="Alain Beland" initials="AB" lastIdx="2" clrIdx="1">
    <p:extLst>
      <p:ext uri="{19B8F6BF-5375-455C-9EA6-DF929625EA0E}">
        <p15:presenceInfo xmlns:p15="http://schemas.microsoft.com/office/powerpoint/2012/main" userId="S::Alain_Beland@swissre.com::6b1fd818-04c2-4fdb-ad72-166df6753577" providerId="AD"/>
      </p:ext>
    </p:extLst>
  </p:cmAuthor>
  <p:cmAuthor id="3" name="CORP\srzrrw" initials="C" lastIdx="2" clrIdx="0">
    <p:extLst>
      <p:ext uri="{19B8F6BF-5375-455C-9EA6-DF929625EA0E}">
        <p15:presenceInfo xmlns:p15="http://schemas.microsoft.com/office/powerpoint/2012/main" userId="CORP\srzrrw" providerId="None"/>
      </p:ext>
    </p:extLst>
  </p:cmAuthor>
  <p:cmAuthor id="4" name="Christian Claar" initials="CC" lastIdx="4" clrIdx="2">
    <p:extLst>
      <p:ext uri="{19B8F6BF-5375-455C-9EA6-DF929625EA0E}">
        <p15:presenceInfo xmlns:p15="http://schemas.microsoft.com/office/powerpoint/2012/main" userId="S::Christian_Claar@swissre.com::cbf14555-d5b8-45f1-8d81-ccd9ee290d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4CB5"/>
    <a:srgbClr val="00D5E0"/>
    <a:srgbClr val="99FFCC"/>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F92663-1D7D-486C-98E8-9E690CBF1AAE}" v="15" dt="2021-07-15T06:41:00.263"/>
    <p1510:client id="{BABD4581-4C46-4529-AD73-8E7C73F5CDEA}" v="10" dt="2021-07-16T06:00:30.540"/>
    <p1510:client id="{C098640D-8BD2-4E02-A996-6DB557C8F4FF}" v="15" dt="2021-07-16T02:25:04.439"/>
    <p1510:client id="{C3FDDFB9-AEFF-4106-3C0C-677F4C55BFE6}" v="1" dt="2021-07-16T03:01:11.278"/>
    <p1510:client id="{C7871397-1FF9-4B96-A689-5DB174298AFA}" v="3" dt="2021-07-16T06:17:25.212"/>
    <p1510:client id="{F48A4B0D-7B86-677A-7FB3-14CF3FB8F912}" v="1" dt="2021-07-16T04:13:38.5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52" autoAdjust="0"/>
    <p:restoredTop sz="94660"/>
  </p:normalViewPr>
  <p:slideViewPr>
    <p:cSldViewPr snapToGrid="0">
      <p:cViewPr varScale="1">
        <p:scale>
          <a:sx n="70" d="100"/>
          <a:sy n="70" d="100"/>
        </p:scale>
        <p:origin x="732" y="72"/>
      </p:cViewPr>
      <p:guideLst>
        <p:guide orient="horz" pos="2136"/>
        <p:guide pos="73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7.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slide" Target="slides/slide41.xml"/><Relationship Id="rId68" Type="http://schemas.openxmlformats.org/officeDocument/2006/relationships/slide" Target="slides/slide46.xml"/><Relationship Id="rId84" Type="http://schemas.openxmlformats.org/officeDocument/2006/relationships/commentAuthors" Target="commentAuthors.xml"/><Relationship Id="rId89" Type="http://schemas.microsoft.com/office/2015/10/relationships/revisionInfo" Target="revisionInfo.xml"/><Relationship Id="rId16" Type="http://schemas.openxmlformats.org/officeDocument/2006/relationships/slideMaster" Target="slideMasters/slideMaster12.xml"/><Relationship Id="rId11" Type="http://schemas.openxmlformats.org/officeDocument/2006/relationships/slideMaster" Target="slideMasters/slideMaster7.xml"/><Relationship Id="rId32" Type="http://schemas.openxmlformats.org/officeDocument/2006/relationships/slide" Target="slides/slide10.xml"/><Relationship Id="rId37" Type="http://schemas.openxmlformats.org/officeDocument/2006/relationships/slide" Target="slides/slide15.xml"/><Relationship Id="rId53" Type="http://schemas.openxmlformats.org/officeDocument/2006/relationships/slide" Target="slides/slide31.xml"/><Relationship Id="rId58" Type="http://schemas.openxmlformats.org/officeDocument/2006/relationships/slide" Target="slides/slide36.xml"/><Relationship Id="rId74" Type="http://schemas.openxmlformats.org/officeDocument/2006/relationships/slide" Target="slides/slide52.xml"/><Relationship Id="rId79" Type="http://schemas.openxmlformats.org/officeDocument/2006/relationships/slide" Target="slides/slide57.xml"/><Relationship Id="rId5" Type="http://schemas.openxmlformats.org/officeDocument/2006/relationships/slideMaster" Target="slideMasters/slideMaster1.xml"/><Relationship Id="rId14" Type="http://schemas.openxmlformats.org/officeDocument/2006/relationships/slideMaster" Target="slideMasters/slideMaster10.xml"/><Relationship Id="rId22" Type="http://schemas.openxmlformats.org/officeDocument/2006/relationships/slideMaster" Target="slideMasters/slideMaster18.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slide" Target="slides/slide42.xml"/><Relationship Id="rId69" Type="http://schemas.openxmlformats.org/officeDocument/2006/relationships/slide" Target="slides/slide47.xml"/><Relationship Id="rId77" Type="http://schemas.openxmlformats.org/officeDocument/2006/relationships/slide" Target="slides/slide55.xml"/><Relationship Id="rId8" Type="http://schemas.openxmlformats.org/officeDocument/2006/relationships/slideMaster" Target="slideMasters/slideMaster4.xml"/><Relationship Id="rId51" Type="http://schemas.openxmlformats.org/officeDocument/2006/relationships/slide" Target="slides/slide29.xml"/><Relationship Id="rId72" Type="http://schemas.openxmlformats.org/officeDocument/2006/relationships/slide" Target="slides/slide50.xml"/><Relationship Id="rId80" Type="http://schemas.openxmlformats.org/officeDocument/2006/relationships/slide" Target="slides/slide58.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slide" Target="slides/slide45.xml"/><Relationship Id="rId20" Type="http://schemas.openxmlformats.org/officeDocument/2006/relationships/slideMaster" Target="slideMasters/slideMaster16.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slide" Target="slides/slide48.xml"/><Relationship Id="rId75" Type="http://schemas.openxmlformats.org/officeDocument/2006/relationships/slide" Target="slides/slide53.xml"/><Relationship Id="rId83" Type="http://schemas.openxmlformats.org/officeDocument/2006/relationships/tags" Target="tags/tag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slide" Target="slides/slide43.xml"/><Relationship Id="rId73" Type="http://schemas.openxmlformats.org/officeDocument/2006/relationships/slide" Target="slides/slide51.xml"/><Relationship Id="rId78" Type="http://schemas.openxmlformats.org/officeDocument/2006/relationships/slide" Target="slides/slide56.xml"/><Relationship Id="rId81" Type="http://schemas.openxmlformats.org/officeDocument/2006/relationships/slide" Target="slides/slide59.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Master" Target="slideMasters/slideMaster14.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 Id="rId76" Type="http://schemas.openxmlformats.org/officeDocument/2006/relationships/slide" Target="slides/slide54.xml"/><Relationship Id="rId7" Type="http://schemas.openxmlformats.org/officeDocument/2006/relationships/slideMaster" Target="slideMasters/slideMaster3.xml"/><Relationship Id="rId71" Type="http://schemas.openxmlformats.org/officeDocument/2006/relationships/slide" Target="slides/slide49.xml"/><Relationship Id="rId2" Type="http://schemas.openxmlformats.org/officeDocument/2006/relationships/customXml" Target="../customXml/item2.xml"/><Relationship Id="rId29" Type="http://schemas.openxmlformats.org/officeDocument/2006/relationships/slide" Target="slides/slide7.xml"/><Relationship Id="rId24" Type="http://schemas.openxmlformats.org/officeDocument/2006/relationships/slide" Target="slides/slide2.xml"/><Relationship Id="rId40" Type="http://schemas.openxmlformats.org/officeDocument/2006/relationships/slide" Target="slides/slide18.xml"/><Relationship Id="rId45" Type="http://schemas.openxmlformats.org/officeDocument/2006/relationships/slide" Target="slides/slide23.xml"/><Relationship Id="rId66" Type="http://schemas.openxmlformats.org/officeDocument/2006/relationships/slide" Target="slides/slide44.xml"/><Relationship Id="rId87" Type="http://schemas.openxmlformats.org/officeDocument/2006/relationships/theme" Target="theme/theme1.xml"/><Relationship Id="rId61" Type="http://schemas.openxmlformats.org/officeDocument/2006/relationships/slide" Target="slides/slide39.xml"/><Relationship Id="rId82" Type="http://schemas.openxmlformats.org/officeDocument/2006/relationships/notesMaster" Target="notesMasters/notesMaster1.xml"/><Relationship Id="rId19" Type="http://schemas.openxmlformats.org/officeDocument/2006/relationships/slideMaster" Target="slideMasters/slideMaster1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371DC858-786B-4D1D-A717-3A51EC9F473B}" type="datetimeFigureOut">
              <a:rPr lang="en-GB" smtClean="0"/>
              <a:t>26/08/2021</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5B8A53C6-82C9-438D-8106-3004E9F723E1}" type="slidenum">
              <a:rPr lang="en-GB" smtClean="0"/>
              <a:t>‹#›</a:t>
            </a:fld>
            <a:endParaRPr lang="en-GB"/>
          </a:p>
        </p:txBody>
      </p:sp>
    </p:spTree>
    <p:extLst>
      <p:ext uri="{BB962C8B-B14F-4D97-AF65-F5344CB8AC3E}">
        <p14:creationId xmlns:p14="http://schemas.microsoft.com/office/powerpoint/2010/main" val="41179167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657888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8A53C6-82C9-438D-8106-3004E9F723E1}" type="slidenum">
              <a:rPr lang="en-GB" smtClean="0"/>
              <a:t>16</a:t>
            </a:fld>
            <a:endParaRPr lang="en-GB"/>
          </a:p>
        </p:txBody>
      </p:sp>
    </p:spTree>
    <p:extLst>
      <p:ext uri="{BB962C8B-B14F-4D97-AF65-F5344CB8AC3E}">
        <p14:creationId xmlns:p14="http://schemas.microsoft.com/office/powerpoint/2010/main" val="809063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1261754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2D492B45-5B4B-44EB-B6A2-041ED10C41C9}" type="datetime3">
              <a:rPr lang="en-GB" smtClean="0"/>
              <a:t>26 August, 2021</a:t>
            </a:fld>
            <a:endParaRPr lang="en-GB"/>
          </a:p>
        </p:txBody>
      </p:sp>
      <p:sp>
        <p:nvSpPr>
          <p:cNvPr id="5" name="Slide Number Placeholder 4"/>
          <p:cNvSpPr>
            <a:spLocks noGrp="1"/>
          </p:cNvSpPr>
          <p:nvPr>
            <p:ph type="sldNum" sz="quarter" idx="5"/>
          </p:nvPr>
        </p:nvSpPr>
        <p:spPr/>
        <p:txBody>
          <a:bodyPr/>
          <a:lstStyle/>
          <a:p>
            <a:fld id="{CF8ED666-4372-485F-9851-ED435EF4ACCF}" type="slidenum">
              <a:rPr lang="en-GB" smtClean="0"/>
              <a:pPr/>
              <a:t>18</a:t>
            </a:fld>
            <a:endParaRPr lang="en-GB"/>
          </a:p>
        </p:txBody>
      </p:sp>
    </p:spTree>
    <p:extLst>
      <p:ext uri="{BB962C8B-B14F-4D97-AF65-F5344CB8AC3E}">
        <p14:creationId xmlns:p14="http://schemas.microsoft.com/office/powerpoint/2010/main" val="2911685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2D492B45-5B4B-44EB-B6A2-041ED10C41C9}" type="datetime3">
              <a:rPr lang="en-GB" smtClean="0"/>
              <a:t>26 August, 2021</a:t>
            </a:fld>
            <a:endParaRPr lang="en-GB"/>
          </a:p>
        </p:txBody>
      </p:sp>
      <p:sp>
        <p:nvSpPr>
          <p:cNvPr id="5" name="Slide Number Placeholder 4"/>
          <p:cNvSpPr>
            <a:spLocks noGrp="1"/>
          </p:cNvSpPr>
          <p:nvPr>
            <p:ph type="sldNum" sz="quarter" idx="5"/>
          </p:nvPr>
        </p:nvSpPr>
        <p:spPr/>
        <p:txBody>
          <a:bodyPr/>
          <a:lstStyle/>
          <a:p>
            <a:fld id="{CF8ED666-4372-485F-9851-ED435EF4ACCF}" type="slidenum">
              <a:rPr lang="en-GB" smtClean="0"/>
              <a:pPr/>
              <a:t>21</a:t>
            </a:fld>
            <a:endParaRPr lang="en-GB"/>
          </a:p>
        </p:txBody>
      </p:sp>
    </p:spTree>
    <p:extLst>
      <p:ext uri="{BB962C8B-B14F-4D97-AF65-F5344CB8AC3E}">
        <p14:creationId xmlns:p14="http://schemas.microsoft.com/office/powerpoint/2010/main" val="4199449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22</a:t>
            </a:fld>
            <a:endParaRPr lang="en-GB"/>
          </a:p>
        </p:txBody>
      </p:sp>
    </p:spTree>
    <p:extLst>
      <p:ext uri="{BB962C8B-B14F-4D97-AF65-F5344CB8AC3E}">
        <p14:creationId xmlns:p14="http://schemas.microsoft.com/office/powerpoint/2010/main" val="3660345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23</a:t>
            </a:fld>
            <a:endParaRPr lang="en-GB"/>
          </a:p>
        </p:txBody>
      </p:sp>
    </p:spTree>
    <p:extLst>
      <p:ext uri="{BB962C8B-B14F-4D97-AF65-F5344CB8AC3E}">
        <p14:creationId xmlns:p14="http://schemas.microsoft.com/office/powerpoint/2010/main" val="4656893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24</a:t>
            </a:fld>
            <a:endParaRPr lang="en-GB"/>
          </a:p>
        </p:txBody>
      </p:sp>
    </p:spTree>
    <p:extLst>
      <p:ext uri="{BB962C8B-B14F-4D97-AF65-F5344CB8AC3E}">
        <p14:creationId xmlns:p14="http://schemas.microsoft.com/office/powerpoint/2010/main" val="2374730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25</a:t>
            </a:fld>
            <a:endParaRPr lang="en-GB"/>
          </a:p>
        </p:txBody>
      </p:sp>
    </p:spTree>
    <p:extLst>
      <p:ext uri="{BB962C8B-B14F-4D97-AF65-F5344CB8AC3E}">
        <p14:creationId xmlns:p14="http://schemas.microsoft.com/office/powerpoint/2010/main" val="91365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3903067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5180287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3629717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9472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1977024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18696770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22080439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17413326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srgbClr val="283E36"/>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srgbClr val="283E36"/>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4044182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solidFill>
                  <a:prstClr val="black"/>
                </a:solidFill>
              </a:rPr>
              <a:pPr/>
              <a:t>44</a:t>
            </a:fld>
            <a:endParaRPr lang="en-GB">
              <a:solidFill>
                <a:prstClr val="black"/>
              </a:solidFill>
            </a:endParaRPr>
          </a:p>
        </p:txBody>
      </p:sp>
    </p:spTree>
    <p:extLst>
      <p:ext uri="{BB962C8B-B14F-4D97-AF65-F5344CB8AC3E}">
        <p14:creationId xmlns:p14="http://schemas.microsoft.com/office/powerpoint/2010/main" val="23123073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5</a:t>
            </a:fld>
            <a:endParaRPr lang="en-GB"/>
          </a:p>
        </p:txBody>
      </p:sp>
    </p:spTree>
    <p:extLst>
      <p:ext uri="{BB962C8B-B14F-4D97-AF65-F5344CB8AC3E}">
        <p14:creationId xmlns:p14="http://schemas.microsoft.com/office/powerpoint/2010/main" val="684477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6</a:t>
            </a:fld>
            <a:endParaRPr lang="en-GB"/>
          </a:p>
        </p:txBody>
      </p:sp>
    </p:spTree>
    <p:extLst>
      <p:ext uri="{BB962C8B-B14F-4D97-AF65-F5344CB8AC3E}">
        <p14:creationId xmlns:p14="http://schemas.microsoft.com/office/powerpoint/2010/main" val="42349910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7</a:t>
            </a:fld>
            <a:endParaRPr lang="en-GB"/>
          </a:p>
        </p:txBody>
      </p:sp>
    </p:spTree>
    <p:extLst>
      <p:ext uri="{BB962C8B-B14F-4D97-AF65-F5344CB8AC3E}">
        <p14:creationId xmlns:p14="http://schemas.microsoft.com/office/powerpoint/2010/main" val="2049912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4318467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8</a:t>
            </a:fld>
            <a:endParaRPr lang="en-GB"/>
          </a:p>
        </p:txBody>
      </p:sp>
    </p:spTree>
    <p:extLst>
      <p:ext uri="{BB962C8B-B14F-4D97-AF65-F5344CB8AC3E}">
        <p14:creationId xmlns:p14="http://schemas.microsoft.com/office/powerpoint/2010/main" val="2116531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49</a:t>
            </a:fld>
            <a:endParaRPr lang="en-GB"/>
          </a:p>
        </p:txBody>
      </p:sp>
    </p:spTree>
    <p:extLst>
      <p:ext uri="{BB962C8B-B14F-4D97-AF65-F5344CB8AC3E}">
        <p14:creationId xmlns:p14="http://schemas.microsoft.com/office/powerpoint/2010/main" val="3255605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F8ED666-4372-485F-9851-ED435EF4ACCF}" type="slidenum">
              <a:rPr lang="en-GB" smtClean="0"/>
              <a:pPr/>
              <a:t>55</a:t>
            </a:fld>
            <a:endParaRPr lang="en-GB"/>
          </a:p>
        </p:txBody>
      </p:sp>
    </p:spTree>
    <p:extLst>
      <p:ext uri="{BB962C8B-B14F-4D97-AF65-F5344CB8AC3E}">
        <p14:creationId xmlns:p14="http://schemas.microsoft.com/office/powerpoint/2010/main" val="2619171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1193623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22946868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63E7AC-6455-4A0F-B654-220C7D7B7B8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1</a:t>
            </a:r>
          </a:p>
        </p:txBody>
      </p:sp>
    </p:spTree>
    <p:extLst>
      <p:ext uri="{BB962C8B-B14F-4D97-AF65-F5344CB8AC3E}">
        <p14:creationId xmlns:p14="http://schemas.microsoft.com/office/powerpoint/2010/main" val="682047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F8ED666-4372-485F-9851-ED435EF4ACCF}" type="slidenum">
              <a:rPr lang="en-GB" smtClean="0"/>
              <a:pPr/>
              <a:t>12</a:t>
            </a:fld>
            <a:endParaRPr lang="en-GB"/>
          </a:p>
        </p:txBody>
      </p:sp>
    </p:spTree>
    <p:extLst>
      <p:ext uri="{BB962C8B-B14F-4D97-AF65-F5344CB8AC3E}">
        <p14:creationId xmlns:p14="http://schemas.microsoft.com/office/powerpoint/2010/main" val="2284295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236728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ED666-4372-485F-9851-ED435EF4ACCF}" type="slidenum">
              <a:rPr kumimoji="0" lang="en-GB" sz="1200" b="0" i="0" u="none" strike="noStrike" kern="1200" cap="none" spc="0" normalizeH="0" baseline="0" noProof="0" smtClean="0">
                <a:ln>
                  <a:noFill/>
                </a:ln>
                <a:solidFill>
                  <a:prstClr val="black"/>
                </a:solidFill>
                <a:effectLst/>
                <a:uLnTx/>
                <a:uFillTx/>
                <a:latin typeface="SwissReSans"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SwissReSans" pitchFamily="34" charset="0"/>
              <a:ea typeface="+mn-ea"/>
              <a:cs typeface="+mn-cs"/>
            </a:endParaRPr>
          </a:p>
        </p:txBody>
      </p:sp>
    </p:spTree>
    <p:extLst>
      <p:ext uri="{BB962C8B-B14F-4D97-AF65-F5344CB8AC3E}">
        <p14:creationId xmlns:p14="http://schemas.microsoft.com/office/powerpoint/2010/main" val="2400215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hemeOverride" Target="../theme/themeOverride1.xml"/><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10.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0.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1.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3.xml"/><Relationship Id="rId1" Type="http://schemas.openxmlformats.org/officeDocument/2006/relationships/tags" Target="../tags/tag202.xml"/><Relationship Id="rId4" Type="http://schemas.openxmlformats.org/officeDocument/2006/relationships/image" Target="../media/image10.png"/></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5" Type="http://schemas.openxmlformats.org/officeDocument/2006/relationships/image" Target="../media/image10.png"/><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0.png"/><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210.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4.xml"/><Relationship Id="rId1" Type="http://schemas.openxmlformats.org/officeDocument/2006/relationships/tags" Target="../tags/tag211.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tags" Target="../tags/tag212.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17.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1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2.png"/><Relationship Id="rId4"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4.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themeOverride" Target="../theme/themeOverride64.xml"/><Relationship Id="rId5" Type="http://schemas.openxmlformats.org/officeDocument/2006/relationships/image" Target="../media/image2.png"/><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hemeOverride" Target="../theme/themeOverride65.xml"/></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34.xml"/><Relationship Id="rId7"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hemeOverride" Target="../theme/themeOverride66.xml"/><Relationship Id="rId6" Type="http://schemas.openxmlformats.org/officeDocument/2006/relationships/tags" Target="../tags/tag237.xml"/><Relationship Id="rId5" Type="http://schemas.openxmlformats.org/officeDocument/2006/relationships/tags" Target="../tags/tag236.xml"/><Relationship Id="rId4" Type="http://schemas.openxmlformats.org/officeDocument/2006/relationships/tags" Target="../tags/tag235.xml"/><Relationship Id="rId9" Type="http://schemas.openxmlformats.org/officeDocument/2006/relationships/image" Target="../media/image4.png"/></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67.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8.xml"/><Relationship Id="rId1" Type="http://schemas.openxmlformats.org/officeDocument/2006/relationships/themeOverride" Target="../theme/themeOverride6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9.xml"/><Relationship Id="rId1" Type="http://schemas.openxmlformats.org/officeDocument/2006/relationships/themeOverride" Target="../theme/themeOverride69.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hemeOverride" Target="../theme/themeOverride70.xml"/><Relationship Id="rId6" Type="http://schemas.openxmlformats.org/officeDocument/2006/relationships/image" Target="../media/image5.png"/><Relationship Id="rId5" Type="http://schemas.openxmlformats.org/officeDocument/2006/relationships/slideMaster" Target="../slideMasters/slideMaster5.xml"/><Relationship Id="rId4" Type="http://schemas.openxmlformats.org/officeDocument/2006/relationships/tags" Target="../tags/tag242.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themeOverride" Target="../theme/themeOverride71.xml"/><Relationship Id="rId5" Type="http://schemas.openxmlformats.org/officeDocument/2006/relationships/image" Target="../media/image5.png"/><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1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4.png"/><Relationship Id="rId2" Type="http://schemas.openxmlformats.org/officeDocument/2006/relationships/tags" Target="../tags/tag245.xml"/><Relationship Id="rId1" Type="http://schemas.openxmlformats.org/officeDocument/2006/relationships/themeOverride" Target="../theme/themeOverride72.xml"/><Relationship Id="rId6" Type="http://schemas.openxmlformats.org/officeDocument/2006/relationships/slideMaster" Target="../slideMasters/slideMaster5.xml"/><Relationship Id="rId5" Type="http://schemas.openxmlformats.org/officeDocument/2006/relationships/tags" Target="../tags/tag248.xml"/><Relationship Id="rId4" Type="http://schemas.openxmlformats.org/officeDocument/2006/relationships/tags" Target="../tags/tag247.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9.xml"/><Relationship Id="rId1" Type="http://schemas.openxmlformats.org/officeDocument/2006/relationships/themeOverride" Target="../theme/themeOverride73.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0.xml"/><Relationship Id="rId1" Type="http://schemas.openxmlformats.org/officeDocument/2006/relationships/themeOverride" Target="../theme/themeOverride74.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1.xml"/><Relationship Id="rId1" Type="http://schemas.openxmlformats.org/officeDocument/2006/relationships/themeOverride" Target="../theme/themeOverride7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2.xml"/><Relationship Id="rId1" Type="http://schemas.openxmlformats.org/officeDocument/2006/relationships/themeOverride" Target="../theme/themeOverride76.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54.xml"/><Relationship Id="rId2" Type="http://schemas.openxmlformats.org/officeDocument/2006/relationships/tags" Target="../tags/tag253.xml"/><Relationship Id="rId1" Type="http://schemas.openxmlformats.org/officeDocument/2006/relationships/themeOverride" Target="../theme/themeOverride77.xml"/><Relationship Id="rId6" Type="http://schemas.openxmlformats.org/officeDocument/2006/relationships/image" Target="../media/image5.png"/><Relationship Id="rId5" Type="http://schemas.openxmlformats.org/officeDocument/2006/relationships/slideMaster" Target="../slideMasters/slideMaster5.xml"/><Relationship Id="rId4" Type="http://schemas.openxmlformats.org/officeDocument/2006/relationships/tags" Target="../tags/tag255.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themeOverride" Target="../theme/themeOverride78.xml"/><Relationship Id="rId6" Type="http://schemas.openxmlformats.org/officeDocument/2006/relationships/image" Target="../media/image5.png"/><Relationship Id="rId5" Type="http://schemas.openxmlformats.org/officeDocument/2006/relationships/slideMaster" Target="../slideMasters/slideMaster5.xml"/><Relationship Id="rId4" Type="http://schemas.openxmlformats.org/officeDocument/2006/relationships/tags" Target="../tags/tag258.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9.xml"/><Relationship Id="rId1" Type="http://schemas.openxmlformats.org/officeDocument/2006/relationships/themeOverride" Target="../theme/themeOverride79.xml"/></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61.xml"/><Relationship Id="rId7" Type="http://schemas.openxmlformats.org/officeDocument/2006/relationships/slideMaster" Target="../slideMasters/slideMaster5.xml"/><Relationship Id="rId2" Type="http://schemas.openxmlformats.org/officeDocument/2006/relationships/tags" Target="../tags/tag260.xml"/><Relationship Id="rId1" Type="http://schemas.openxmlformats.org/officeDocument/2006/relationships/themeOverride" Target="../theme/themeOverride80.xml"/><Relationship Id="rId6" Type="http://schemas.openxmlformats.org/officeDocument/2006/relationships/tags" Target="../tags/tag264.xml"/><Relationship Id="rId5" Type="http://schemas.openxmlformats.org/officeDocument/2006/relationships/tags" Target="../tags/tag263.xml"/><Relationship Id="rId4" Type="http://schemas.openxmlformats.org/officeDocument/2006/relationships/tags" Target="../tags/tag262.xml"/><Relationship Id="rId9" Type="http://schemas.openxmlformats.org/officeDocument/2006/relationships/image" Target="../media/image4.png"/></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266.xml"/><Relationship Id="rId7" Type="http://schemas.openxmlformats.org/officeDocument/2006/relationships/image" Target="../media/image7.png"/><Relationship Id="rId2" Type="http://schemas.openxmlformats.org/officeDocument/2006/relationships/tags" Target="../tags/tag265.xml"/><Relationship Id="rId1" Type="http://schemas.openxmlformats.org/officeDocument/2006/relationships/themeOverride" Target="../theme/themeOverride81.xml"/><Relationship Id="rId6" Type="http://schemas.openxmlformats.org/officeDocument/2006/relationships/slideMaster" Target="../slideMasters/slideMaster5.xml"/><Relationship Id="rId5" Type="http://schemas.openxmlformats.org/officeDocument/2006/relationships/tags" Target="../tags/tag268.xml"/><Relationship Id="rId4" Type="http://schemas.openxmlformats.org/officeDocument/2006/relationships/tags" Target="../tags/tag26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1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9.xml"/><Relationship Id="rId1" Type="http://schemas.openxmlformats.org/officeDocument/2006/relationships/themeOverride" Target="../theme/themeOverride82.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0.xml"/><Relationship Id="rId1" Type="http://schemas.openxmlformats.org/officeDocument/2006/relationships/themeOverride" Target="../theme/themeOverride83.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themeOverride" Target="../theme/themeOverride84.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80.xml"/><Relationship Id="rId2" Type="http://schemas.openxmlformats.org/officeDocument/2006/relationships/tags" Target="../tags/tag279.xml"/><Relationship Id="rId1" Type="http://schemas.openxmlformats.org/officeDocument/2006/relationships/themeOverride" Target="../theme/themeOverride85.xml"/><Relationship Id="rId6" Type="http://schemas.openxmlformats.org/officeDocument/2006/relationships/image" Target="../media/image9.png"/><Relationship Id="rId5" Type="http://schemas.openxmlformats.org/officeDocument/2006/relationships/slideMaster" Target="../slideMasters/slideMaster6.xml"/><Relationship Id="rId4" Type="http://schemas.openxmlformats.org/officeDocument/2006/relationships/tags" Target="../tags/tag281.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themeOverride" Target="../theme/themeOverride86.xml"/><Relationship Id="rId6" Type="http://schemas.openxmlformats.org/officeDocument/2006/relationships/image" Target="../media/image9.png"/><Relationship Id="rId5" Type="http://schemas.openxmlformats.org/officeDocument/2006/relationships/slideMaster" Target="../slideMasters/slideMaster6.xml"/><Relationship Id="rId4" Type="http://schemas.openxmlformats.org/officeDocument/2006/relationships/tags" Target="../tags/tag284.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themeOverride" Target="../theme/themeOverride87.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themeOverride" Target="../theme/themeOverride88.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90.xml"/><Relationship Id="rId2" Type="http://schemas.openxmlformats.org/officeDocument/2006/relationships/tags" Target="../tags/tag289.xml"/><Relationship Id="rId1" Type="http://schemas.openxmlformats.org/officeDocument/2006/relationships/themeOverride" Target="../theme/themeOverride89.xml"/><Relationship Id="rId5" Type="http://schemas.openxmlformats.org/officeDocument/2006/relationships/image" Target="../media/image9.png"/><Relationship Id="rId4"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hemeOverride" Target="../theme/themeOverride14.xml"/><Relationship Id="rId6" Type="http://schemas.openxmlformats.org/officeDocument/2006/relationships/image" Target="../media/image5.png"/><Relationship Id="rId5" Type="http://schemas.openxmlformats.org/officeDocument/2006/relationships/slideMaster" Target="../slideMasters/slideMaster1.xml"/><Relationship Id="rId4" Type="http://schemas.openxmlformats.org/officeDocument/2006/relationships/tags" Target="../tags/tag32.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6.png"/><Relationship Id="rId2" Type="http://schemas.openxmlformats.org/officeDocument/2006/relationships/tags" Target="../tags/tag291.xml"/><Relationship Id="rId1" Type="http://schemas.openxmlformats.org/officeDocument/2006/relationships/themeOverride" Target="../theme/themeOverride90.xml"/><Relationship Id="rId6" Type="http://schemas.openxmlformats.org/officeDocument/2006/relationships/slideMaster" Target="../slideMasters/slideMaster6.xml"/><Relationship Id="rId5" Type="http://schemas.openxmlformats.org/officeDocument/2006/relationships/tags" Target="../tags/tag294.xml"/><Relationship Id="rId4" Type="http://schemas.openxmlformats.org/officeDocument/2006/relationships/tags" Target="../tags/tag29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6.png"/><Relationship Id="rId2" Type="http://schemas.openxmlformats.org/officeDocument/2006/relationships/tags" Target="../tags/tag295.xml"/><Relationship Id="rId1" Type="http://schemas.openxmlformats.org/officeDocument/2006/relationships/themeOverride" Target="../theme/themeOverride91.xml"/><Relationship Id="rId6" Type="http://schemas.openxmlformats.org/officeDocument/2006/relationships/slideMaster" Target="../slideMasters/slideMaster6.xml"/><Relationship Id="rId5" Type="http://schemas.openxmlformats.org/officeDocument/2006/relationships/tags" Target="../tags/tag298.xml"/><Relationship Id="rId4" Type="http://schemas.openxmlformats.org/officeDocument/2006/relationships/tags" Target="../tags/tag297.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00.xml"/><Relationship Id="rId7" Type="http://schemas.openxmlformats.org/officeDocument/2006/relationships/slideMaster" Target="../slideMasters/slideMaster6.xml"/><Relationship Id="rId2" Type="http://schemas.openxmlformats.org/officeDocument/2006/relationships/tags" Target="../tags/tag299.xml"/><Relationship Id="rId1" Type="http://schemas.openxmlformats.org/officeDocument/2006/relationships/themeOverride" Target="../theme/themeOverride92.xml"/><Relationship Id="rId6" Type="http://schemas.openxmlformats.org/officeDocument/2006/relationships/tags" Target="../tags/tag303.xml"/><Relationship Id="rId5" Type="http://schemas.openxmlformats.org/officeDocument/2006/relationships/tags" Target="../tags/tag302.xml"/><Relationship Id="rId4" Type="http://schemas.openxmlformats.org/officeDocument/2006/relationships/tags" Target="../tags/tag301.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305.xml"/><Relationship Id="rId7" Type="http://schemas.openxmlformats.org/officeDocument/2006/relationships/image" Target="../media/image6.png"/><Relationship Id="rId2" Type="http://schemas.openxmlformats.org/officeDocument/2006/relationships/tags" Target="../tags/tag304.xml"/><Relationship Id="rId1" Type="http://schemas.openxmlformats.org/officeDocument/2006/relationships/themeOverride" Target="../theme/themeOverride93.xml"/><Relationship Id="rId6" Type="http://schemas.openxmlformats.org/officeDocument/2006/relationships/slideMaster" Target="../slideMasters/slideMaster6.xml"/><Relationship Id="rId5" Type="http://schemas.openxmlformats.org/officeDocument/2006/relationships/tags" Target="../tags/tag307.xml"/><Relationship Id="rId4" Type="http://schemas.openxmlformats.org/officeDocument/2006/relationships/tags" Target="../tags/tag306.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8.xml"/><Relationship Id="rId1" Type="http://schemas.openxmlformats.org/officeDocument/2006/relationships/themeOverride" Target="../theme/themeOverride94.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9.xml"/><Relationship Id="rId1" Type="http://schemas.openxmlformats.org/officeDocument/2006/relationships/themeOverride" Target="../theme/themeOverride95.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0.xml"/><Relationship Id="rId1" Type="http://schemas.openxmlformats.org/officeDocument/2006/relationships/themeOverride" Target="../theme/themeOverride96.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1.xml"/><Relationship Id="rId1" Type="http://schemas.openxmlformats.org/officeDocument/2006/relationships/themeOverride" Target="../theme/themeOverride9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2.xml"/><Relationship Id="rId1" Type="http://schemas.openxmlformats.org/officeDocument/2006/relationships/themeOverride" Target="../theme/themeOverride9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3.xml"/><Relationship Id="rId1" Type="http://schemas.openxmlformats.org/officeDocument/2006/relationships/themeOverride" Target="../theme/themeOverride9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hemeOverride" Target="../theme/themeOverride15.xml"/><Relationship Id="rId6" Type="http://schemas.openxmlformats.org/officeDocument/2006/relationships/image" Target="../media/image5.png"/><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4.xml"/><Relationship Id="rId1" Type="http://schemas.openxmlformats.org/officeDocument/2006/relationships/themeOverride" Target="../theme/themeOverride100.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316.xml"/><Relationship Id="rId2" Type="http://schemas.openxmlformats.org/officeDocument/2006/relationships/tags" Target="../tags/tag315.xml"/><Relationship Id="rId1" Type="http://schemas.openxmlformats.org/officeDocument/2006/relationships/themeOverride" Target="../theme/themeOverride101.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17.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319.xml"/><Relationship Id="rId2" Type="http://schemas.openxmlformats.org/officeDocument/2006/relationships/tags" Target="../tags/tag318.xml"/><Relationship Id="rId1" Type="http://schemas.openxmlformats.org/officeDocument/2006/relationships/themeOverride" Target="../theme/themeOverride102.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20.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322.xml"/><Relationship Id="rId2" Type="http://schemas.openxmlformats.org/officeDocument/2006/relationships/tags" Target="../tags/tag321.xml"/><Relationship Id="rId1" Type="http://schemas.openxmlformats.org/officeDocument/2006/relationships/themeOverride" Target="../theme/themeOverride103.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2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themeOverride" Target="../theme/themeOverride104.xml"/><Relationship Id="rId5" Type="http://schemas.openxmlformats.org/officeDocument/2006/relationships/image" Target="../media/image6.png"/><Relationship Id="rId4"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6.png"/><Relationship Id="rId2" Type="http://schemas.openxmlformats.org/officeDocument/2006/relationships/tags" Target="../tags/tag326.xml"/><Relationship Id="rId1" Type="http://schemas.openxmlformats.org/officeDocument/2006/relationships/themeOverride" Target="../theme/themeOverride105.xml"/><Relationship Id="rId6" Type="http://schemas.openxmlformats.org/officeDocument/2006/relationships/slideMaster" Target="../slideMasters/slideMaster6.xml"/><Relationship Id="rId5" Type="http://schemas.openxmlformats.org/officeDocument/2006/relationships/tags" Target="../tags/tag329.xml"/><Relationship Id="rId4" Type="http://schemas.openxmlformats.org/officeDocument/2006/relationships/tags" Target="../tags/tag328.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0.xml"/><Relationship Id="rId1" Type="http://schemas.openxmlformats.org/officeDocument/2006/relationships/themeOverride" Target="../theme/themeOverride106.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1.xml"/><Relationship Id="rId1" Type="http://schemas.openxmlformats.org/officeDocument/2006/relationships/themeOverride" Target="../theme/themeOverride10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2.xml"/><Relationship Id="rId1" Type="http://schemas.openxmlformats.org/officeDocument/2006/relationships/themeOverride" Target="../theme/themeOverride108.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3.xml"/><Relationship Id="rId1" Type="http://schemas.openxmlformats.org/officeDocument/2006/relationships/themeOverride" Target="../theme/themeOverride10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hemeOverride" Target="../theme/themeOverride16.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4.xml"/><Relationship Id="rId1" Type="http://schemas.openxmlformats.org/officeDocument/2006/relationships/themeOverride" Target="../theme/themeOverride110.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5.xml"/><Relationship Id="rId1" Type="http://schemas.openxmlformats.org/officeDocument/2006/relationships/themeOverride" Target="../theme/themeOverride111.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6.xml"/><Relationship Id="rId1" Type="http://schemas.openxmlformats.org/officeDocument/2006/relationships/themeOverride" Target="../theme/themeOverride112.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37.xml"/><Relationship Id="rId1" Type="http://schemas.openxmlformats.org/officeDocument/2006/relationships/themeOverride" Target="../theme/themeOverride113.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hemeOverride" Target="../theme/themeOverride114.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40.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342.xml"/><Relationship Id="rId2" Type="http://schemas.openxmlformats.org/officeDocument/2006/relationships/tags" Target="../tags/tag341.xml"/><Relationship Id="rId1" Type="http://schemas.openxmlformats.org/officeDocument/2006/relationships/themeOverride" Target="../theme/themeOverride115.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43.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hemeOverride" Target="../theme/themeOverride116.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46.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hemeOverride" Target="../theme/themeOverride117.xml"/><Relationship Id="rId6" Type="http://schemas.openxmlformats.org/officeDocument/2006/relationships/image" Target="../media/image6.png"/><Relationship Id="rId5" Type="http://schemas.openxmlformats.org/officeDocument/2006/relationships/slideMaster" Target="../slideMasters/slideMaster6.xml"/><Relationship Id="rId4" Type="http://schemas.openxmlformats.org/officeDocument/2006/relationships/tags" Target="../tags/tag349.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themeOverride" Target="../theme/themeOverride118.xml"/><Relationship Id="rId5" Type="http://schemas.openxmlformats.org/officeDocument/2006/relationships/image" Target="../media/image6.png"/><Relationship Id="rId4"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353.xml"/><Relationship Id="rId2" Type="http://schemas.openxmlformats.org/officeDocument/2006/relationships/tags" Target="../tags/tag352.xml"/><Relationship Id="rId1" Type="http://schemas.openxmlformats.org/officeDocument/2006/relationships/themeOverride" Target="../theme/themeOverride119.xml"/><Relationship Id="rId5" Type="http://schemas.openxmlformats.org/officeDocument/2006/relationships/image" Target="../media/image6.png"/><Relationship Id="rId4"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hemeOverride" Target="../theme/themeOverride17.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4.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4.xml"/><Relationship Id="rId1" Type="http://schemas.openxmlformats.org/officeDocument/2006/relationships/themeOverride" Target="../theme/themeOverride120.xml"/><Relationship Id="rId4" Type="http://schemas.openxmlformats.org/officeDocument/2006/relationships/image" Target="../media/image9.png"/></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5.xml"/><Relationship Id="rId1" Type="http://schemas.openxmlformats.org/officeDocument/2006/relationships/themeOverride" Target="../theme/themeOverride121.xml"/><Relationship Id="rId4"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6.xml"/><Relationship Id="rId1" Type="http://schemas.openxmlformats.org/officeDocument/2006/relationships/themeOverride" Target="../theme/themeOverride122.xml"/><Relationship Id="rId4" Type="http://schemas.openxmlformats.org/officeDocument/2006/relationships/image" Target="../media/image9.png"/></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7.xml"/><Relationship Id="rId1" Type="http://schemas.openxmlformats.org/officeDocument/2006/relationships/themeOverride" Target="../theme/themeOverride123.xml"/><Relationship Id="rId4" Type="http://schemas.openxmlformats.org/officeDocument/2006/relationships/image" Target="../media/image2.png"/></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58.xml"/><Relationship Id="rId1" Type="http://schemas.openxmlformats.org/officeDocument/2006/relationships/themeOverride" Target="../theme/themeOverride124.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25.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themeOverride" Target="../theme/themeOverride126.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themeOverride" Target="../theme/themeOverride127.xml"/><Relationship Id="rId6" Type="http://schemas.openxmlformats.org/officeDocument/2006/relationships/image" Target="../media/image9.png"/><Relationship Id="rId5" Type="http://schemas.openxmlformats.org/officeDocument/2006/relationships/slideMaster" Target="../slideMasters/slideMaster7.xml"/><Relationship Id="rId4" Type="http://schemas.openxmlformats.org/officeDocument/2006/relationships/tags" Target="../tags/tag368.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hemeOverride" Target="../theme/themeOverride128.xml"/><Relationship Id="rId6" Type="http://schemas.openxmlformats.org/officeDocument/2006/relationships/image" Target="../media/image9.png"/><Relationship Id="rId5" Type="http://schemas.openxmlformats.org/officeDocument/2006/relationships/slideMaster" Target="../slideMasters/slideMaster7.xml"/><Relationship Id="rId4" Type="http://schemas.openxmlformats.org/officeDocument/2006/relationships/tags" Target="../tags/tag371.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73.xml"/><Relationship Id="rId2" Type="http://schemas.openxmlformats.org/officeDocument/2006/relationships/tags" Target="../tags/tag372.xml"/><Relationship Id="rId1" Type="http://schemas.openxmlformats.org/officeDocument/2006/relationships/themeOverride" Target="../theme/themeOverride129.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themeOverride" Target="../theme/themeOverride130.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themeOverride" Target="../theme/themeOverride131.xml"/><Relationship Id="rId5" Type="http://schemas.openxmlformats.org/officeDocument/2006/relationships/image" Target="../media/image9.png"/><Relationship Id="rId4"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79.xml"/><Relationship Id="rId7" Type="http://schemas.openxmlformats.org/officeDocument/2006/relationships/image" Target="../media/image6.png"/><Relationship Id="rId2" Type="http://schemas.openxmlformats.org/officeDocument/2006/relationships/tags" Target="../tags/tag378.xml"/><Relationship Id="rId1" Type="http://schemas.openxmlformats.org/officeDocument/2006/relationships/themeOverride" Target="../theme/themeOverride132.xml"/><Relationship Id="rId6" Type="http://schemas.openxmlformats.org/officeDocument/2006/relationships/slideMaster" Target="../slideMasters/slideMaster7.xml"/><Relationship Id="rId5" Type="http://schemas.openxmlformats.org/officeDocument/2006/relationships/tags" Target="../tags/tag381.xml"/><Relationship Id="rId4" Type="http://schemas.openxmlformats.org/officeDocument/2006/relationships/tags" Target="../tags/tag380.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83.xml"/><Relationship Id="rId7" Type="http://schemas.openxmlformats.org/officeDocument/2006/relationships/image" Target="../media/image6.png"/><Relationship Id="rId2" Type="http://schemas.openxmlformats.org/officeDocument/2006/relationships/tags" Target="../tags/tag382.xml"/><Relationship Id="rId1" Type="http://schemas.openxmlformats.org/officeDocument/2006/relationships/themeOverride" Target="../theme/themeOverride133.xml"/><Relationship Id="rId6" Type="http://schemas.openxmlformats.org/officeDocument/2006/relationships/slideMaster" Target="../slideMasters/slideMaster7.xml"/><Relationship Id="rId5" Type="http://schemas.openxmlformats.org/officeDocument/2006/relationships/tags" Target="../tags/tag385.xml"/><Relationship Id="rId4" Type="http://schemas.openxmlformats.org/officeDocument/2006/relationships/tags" Target="../tags/tag384.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87.xml"/><Relationship Id="rId7" Type="http://schemas.openxmlformats.org/officeDocument/2006/relationships/slideMaster" Target="../slideMasters/slideMaster7.xml"/><Relationship Id="rId2" Type="http://schemas.openxmlformats.org/officeDocument/2006/relationships/tags" Target="../tags/tag386.xml"/><Relationship Id="rId1" Type="http://schemas.openxmlformats.org/officeDocument/2006/relationships/themeOverride" Target="../theme/themeOverride134.xml"/><Relationship Id="rId6" Type="http://schemas.openxmlformats.org/officeDocument/2006/relationships/tags" Target="../tags/tag390.xml"/><Relationship Id="rId5" Type="http://schemas.openxmlformats.org/officeDocument/2006/relationships/tags" Target="../tags/tag389.xml"/><Relationship Id="rId4" Type="http://schemas.openxmlformats.org/officeDocument/2006/relationships/tags" Target="../tags/tag388.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92.xml"/><Relationship Id="rId7" Type="http://schemas.openxmlformats.org/officeDocument/2006/relationships/image" Target="../media/image6.png"/><Relationship Id="rId2" Type="http://schemas.openxmlformats.org/officeDocument/2006/relationships/tags" Target="../tags/tag391.xml"/><Relationship Id="rId1" Type="http://schemas.openxmlformats.org/officeDocument/2006/relationships/themeOverride" Target="../theme/themeOverride135.xml"/><Relationship Id="rId6" Type="http://schemas.openxmlformats.org/officeDocument/2006/relationships/slideMaster" Target="../slideMasters/slideMaster7.xml"/><Relationship Id="rId5" Type="http://schemas.openxmlformats.org/officeDocument/2006/relationships/tags" Target="../tags/tag394.xml"/><Relationship Id="rId4" Type="http://schemas.openxmlformats.org/officeDocument/2006/relationships/tags" Target="../tags/tag393.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5.xml"/><Relationship Id="rId1" Type="http://schemas.openxmlformats.org/officeDocument/2006/relationships/themeOverride" Target="../theme/themeOverride136.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6.xml"/><Relationship Id="rId1" Type="http://schemas.openxmlformats.org/officeDocument/2006/relationships/themeOverride" Target="../theme/themeOverride13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7.xml"/><Relationship Id="rId1" Type="http://schemas.openxmlformats.org/officeDocument/2006/relationships/themeOverride" Target="../theme/themeOverride138.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8.xml"/><Relationship Id="rId1" Type="http://schemas.openxmlformats.org/officeDocument/2006/relationships/themeOverride" Target="../theme/themeOverride13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hemeOverride" Target="../theme/themeOverride18.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99.xml"/><Relationship Id="rId1" Type="http://schemas.openxmlformats.org/officeDocument/2006/relationships/themeOverride" Target="../theme/themeOverride14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0.xml"/><Relationship Id="rId1" Type="http://schemas.openxmlformats.org/officeDocument/2006/relationships/themeOverride" Target="../theme/themeOverride141.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01.xml"/><Relationship Id="rId1" Type="http://schemas.openxmlformats.org/officeDocument/2006/relationships/themeOverride" Target="../theme/themeOverride142.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403.xml"/><Relationship Id="rId2" Type="http://schemas.openxmlformats.org/officeDocument/2006/relationships/tags" Target="../tags/tag402.xml"/><Relationship Id="rId1" Type="http://schemas.openxmlformats.org/officeDocument/2006/relationships/themeOverride" Target="../theme/themeOverride143.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04.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themeOverride" Target="../theme/themeOverride144.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07.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409.xml"/><Relationship Id="rId2" Type="http://schemas.openxmlformats.org/officeDocument/2006/relationships/tags" Target="../tags/tag408.xml"/><Relationship Id="rId1" Type="http://schemas.openxmlformats.org/officeDocument/2006/relationships/themeOverride" Target="../theme/themeOverride145.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10.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themeOverride" Target="../theme/themeOverride146.xml"/><Relationship Id="rId5" Type="http://schemas.openxmlformats.org/officeDocument/2006/relationships/image" Target="../media/image6.png"/><Relationship Id="rId4"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414.xml"/><Relationship Id="rId7" Type="http://schemas.openxmlformats.org/officeDocument/2006/relationships/image" Target="../media/image6.png"/><Relationship Id="rId2" Type="http://schemas.openxmlformats.org/officeDocument/2006/relationships/tags" Target="../tags/tag413.xml"/><Relationship Id="rId1" Type="http://schemas.openxmlformats.org/officeDocument/2006/relationships/themeOverride" Target="../theme/themeOverride147.xml"/><Relationship Id="rId6" Type="http://schemas.openxmlformats.org/officeDocument/2006/relationships/slideMaster" Target="../slideMasters/slideMaster7.xml"/><Relationship Id="rId5" Type="http://schemas.openxmlformats.org/officeDocument/2006/relationships/tags" Target="../tags/tag416.xml"/><Relationship Id="rId4" Type="http://schemas.openxmlformats.org/officeDocument/2006/relationships/tags" Target="../tags/tag415.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7.xml"/><Relationship Id="rId1" Type="http://schemas.openxmlformats.org/officeDocument/2006/relationships/themeOverride" Target="../theme/themeOverride148.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8.xml"/><Relationship Id="rId1" Type="http://schemas.openxmlformats.org/officeDocument/2006/relationships/themeOverride" Target="../theme/themeOverride14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hemeOverride" Target="../theme/themeOverride19.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19.xml"/><Relationship Id="rId1" Type="http://schemas.openxmlformats.org/officeDocument/2006/relationships/themeOverride" Target="../theme/themeOverride150.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0.xml"/><Relationship Id="rId1" Type="http://schemas.openxmlformats.org/officeDocument/2006/relationships/themeOverride" Target="../theme/themeOverride151.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1.xml"/><Relationship Id="rId1" Type="http://schemas.openxmlformats.org/officeDocument/2006/relationships/themeOverride" Target="../theme/themeOverride15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2.xml"/><Relationship Id="rId1" Type="http://schemas.openxmlformats.org/officeDocument/2006/relationships/themeOverride" Target="../theme/themeOverride153.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3.xml"/><Relationship Id="rId1" Type="http://schemas.openxmlformats.org/officeDocument/2006/relationships/themeOverride" Target="../theme/themeOverride154.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24.xml"/><Relationship Id="rId1" Type="http://schemas.openxmlformats.org/officeDocument/2006/relationships/themeOverride" Target="../theme/themeOverride155.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426.xml"/><Relationship Id="rId2" Type="http://schemas.openxmlformats.org/officeDocument/2006/relationships/tags" Target="../tags/tag425.xml"/><Relationship Id="rId1" Type="http://schemas.openxmlformats.org/officeDocument/2006/relationships/themeOverride" Target="../theme/themeOverride156.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27.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429.xml"/><Relationship Id="rId2" Type="http://schemas.openxmlformats.org/officeDocument/2006/relationships/tags" Target="../tags/tag428.xml"/><Relationship Id="rId1" Type="http://schemas.openxmlformats.org/officeDocument/2006/relationships/themeOverride" Target="../theme/themeOverride157.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30.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432.xml"/><Relationship Id="rId2" Type="http://schemas.openxmlformats.org/officeDocument/2006/relationships/tags" Target="../tags/tag431.xml"/><Relationship Id="rId1" Type="http://schemas.openxmlformats.org/officeDocument/2006/relationships/themeOverride" Target="../theme/themeOverride158.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33.xml"/></Relationships>
</file>

<file path=ppt/slideLayouts/_rels/slideLayout209.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tags" Target="../tags/tag434.xml"/><Relationship Id="rId1" Type="http://schemas.openxmlformats.org/officeDocument/2006/relationships/themeOverride" Target="../theme/themeOverride159.xml"/><Relationship Id="rId6" Type="http://schemas.openxmlformats.org/officeDocument/2006/relationships/image" Target="../media/image6.png"/><Relationship Id="rId5" Type="http://schemas.openxmlformats.org/officeDocument/2006/relationships/slideMaster" Target="../slideMasters/slideMaster7.xml"/><Relationship Id="rId4" Type="http://schemas.openxmlformats.org/officeDocument/2006/relationships/tags" Target="../tags/tag436.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themeOverride" Target="../theme/themeOverride160.xml"/><Relationship Id="rId5" Type="http://schemas.openxmlformats.org/officeDocument/2006/relationships/image" Target="../media/image6.png"/><Relationship Id="rId4"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440.xml"/><Relationship Id="rId2" Type="http://schemas.openxmlformats.org/officeDocument/2006/relationships/tags" Target="../tags/tag439.xml"/><Relationship Id="rId1" Type="http://schemas.openxmlformats.org/officeDocument/2006/relationships/themeOverride" Target="../theme/themeOverride161.xml"/><Relationship Id="rId5" Type="http://schemas.openxmlformats.org/officeDocument/2006/relationships/image" Target="../media/image6.png"/><Relationship Id="rId4"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1.xml"/><Relationship Id="rId1" Type="http://schemas.openxmlformats.org/officeDocument/2006/relationships/themeOverride" Target="../theme/themeOverride162.xml"/><Relationship Id="rId4" Type="http://schemas.openxmlformats.org/officeDocument/2006/relationships/image" Target="../media/image9.png"/></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2.xml"/><Relationship Id="rId1" Type="http://schemas.openxmlformats.org/officeDocument/2006/relationships/themeOverride" Target="../theme/themeOverride163.xml"/><Relationship Id="rId4" Type="http://schemas.openxmlformats.org/officeDocument/2006/relationships/image" Target="../media/image9.pn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3.xml"/><Relationship Id="rId1" Type="http://schemas.openxmlformats.org/officeDocument/2006/relationships/themeOverride" Target="../theme/themeOverride164.xml"/><Relationship Id="rId4" Type="http://schemas.openxmlformats.org/officeDocument/2006/relationships/image" Target="../media/image9.png"/></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4.xml"/><Relationship Id="rId1" Type="http://schemas.openxmlformats.org/officeDocument/2006/relationships/themeOverride" Target="../theme/themeOverride165.xml"/><Relationship Id="rId4" Type="http://schemas.openxmlformats.org/officeDocument/2006/relationships/image" Target="../media/image2.png"/></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5.xml"/><Relationship Id="rId1" Type="http://schemas.openxmlformats.org/officeDocument/2006/relationships/themeOverride" Target="../theme/themeOverride166.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67.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hemeOverride" Target="../theme/themeOverride168.xml"/></Relationships>
</file>

<file path=ppt/slideLayouts/_rels/slideLayout219.xml.rels><?xml version="1.0" encoding="UTF-8" standalone="yes"?>
<Relationships xmlns="http://schemas.openxmlformats.org/package/2006/relationships"><Relationship Id="rId3" Type="http://schemas.openxmlformats.org/officeDocument/2006/relationships/tags" Target="../tags/tag451.xml"/><Relationship Id="rId2" Type="http://schemas.openxmlformats.org/officeDocument/2006/relationships/tags" Target="../tags/tag450.xml"/><Relationship Id="rId1" Type="http://schemas.openxmlformats.org/officeDocument/2006/relationships/themeOverride" Target="../theme/themeOverride169.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hemeOverride" Target="../theme/themeOverride20.xml"/></Relationships>
</file>

<file path=ppt/slideLayouts/_rels/slideLayout220.xml.rels><?xml version="1.0" encoding="UTF-8" standalone="yes"?>
<Relationships xmlns="http://schemas.openxmlformats.org/package/2006/relationships"><Relationship Id="rId3" Type="http://schemas.openxmlformats.org/officeDocument/2006/relationships/tags" Target="../tags/tag453.xml"/><Relationship Id="rId2" Type="http://schemas.openxmlformats.org/officeDocument/2006/relationships/tags" Target="../tags/tag452.xml"/><Relationship Id="rId1" Type="http://schemas.openxmlformats.org/officeDocument/2006/relationships/themeOverride" Target="../theme/themeOverride170.xml"/><Relationship Id="rId6" Type="http://schemas.openxmlformats.org/officeDocument/2006/relationships/image" Target="../media/image9.png"/><Relationship Id="rId5" Type="http://schemas.openxmlformats.org/officeDocument/2006/relationships/slideMaster" Target="../slideMasters/slideMaster8.xml"/><Relationship Id="rId4" Type="http://schemas.openxmlformats.org/officeDocument/2006/relationships/tags" Target="../tags/tag454.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456.xml"/><Relationship Id="rId2" Type="http://schemas.openxmlformats.org/officeDocument/2006/relationships/tags" Target="../tags/tag455.xml"/><Relationship Id="rId1" Type="http://schemas.openxmlformats.org/officeDocument/2006/relationships/themeOverride" Target="../theme/themeOverride171.xml"/><Relationship Id="rId6" Type="http://schemas.openxmlformats.org/officeDocument/2006/relationships/image" Target="../media/image9.png"/><Relationship Id="rId5" Type="http://schemas.openxmlformats.org/officeDocument/2006/relationships/slideMaster" Target="../slideMasters/slideMaster8.xml"/><Relationship Id="rId4" Type="http://schemas.openxmlformats.org/officeDocument/2006/relationships/tags" Target="../tags/tag457.xml"/></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459.xml"/><Relationship Id="rId2" Type="http://schemas.openxmlformats.org/officeDocument/2006/relationships/tags" Target="../tags/tag458.xml"/><Relationship Id="rId1" Type="http://schemas.openxmlformats.org/officeDocument/2006/relationships/themeOverride" Target="../theme/themeOverride172.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3" Type="http://schemas.openxmlformats.org/officeDocument/2006/relationships/tags" Target="../tags/tag461.xml"/><Relationship Id="rId2" Type="http://schemas.openxmlformats.org/officeDocument/2006/relationships/tags" Target="../tags/tag460.xml"/><Relationship Id="rId1" Type="http://schemas.openxmlformats.org/officeDocument/2006/relationships/themeOverride" Target="../theme/themeOverride173.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themeOverride" Target="../theme/themeOverride174.xml"/><Relationship Id="rId5" Type="http://schemas.openxmlformats.org/officeDocument/2006/relationships/image" Target="../media/image9.png"/><Relationship Id="rId4"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465.xml"/><Relationship Id="rId7" Type="http://schemas.openxmlformats.org/officeDocument/2006/relationships/image" Target="../media/image6.png"/><Relationship Id="rId2" Type="http://schemas.openxmlformats.org/officeDocument/2006/relationships/tags" Target="../tags/tag464.xml"/><Relationship Id="rId1" Type="http://schemas.openxmlformats.org/officeDocument/2006/relationships/themeOverride" Target="../theme/themeOverride175.xml"/><Relationship Id="rId6" Type="http://schemas.openxmlformats.org/officeDocument/2006/relationships/slideMaster" Target="../slideMasters/slideMaster8.xml"/><Relationship Id="rId5" Type="http://schemas.openxmlformats.org/officeDocument/2006/relationships/tags" Target="../tags/tag467.xml"/><Relationship Id="rId4" Type="http://schemas.openxmlformats.org/officeDocument/2006/relationships/tags" Target="../tags/tag466.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469.xml"/><Relationship Id="rId2" Type="http://schemas.openxmlformats.org/officeDocument/2006/relationships/tags" Target="../tags/tag468.xml"/><Relationship Id="rId1" Type="http://schemas.openxmlformats.org/officeDocument/2006/relationships/themeOverride" Target="../theme/themeOverride176.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470.xml"/></Relationships>
</file>

<file path=ppt/slideLayouts/_rels/slideLayout2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72.xml"/><Relationship Id="rId7" Type="http://schemas.openxmlformats.org/officeDocument/2006/relationships/slideMaster" Target="../slideMasters/slideMaster8.xml"/><Relationship Id="rId2" Type="http://schemas.openxmlformats.org/officeDocument/2006/relationships/tags" Target="../tags/tag471.xml"/><Relationship Id="rId1" Type="http://schemas.openxmlformats.org/officeDocument/2006/relationships/themeOverride" Target="../theme/themeOverride177.xml"/><Relationship Id="rId6" Type="http://schemas.openxmlformats.org/officeDocument/2006/relationships/tags" Target="../tags/tag475.xml"/><Relationship Id="rId5" Type="http://schemas.openxmlformats.org/officeDocument/2006/relationships/tags" Target="../tags/tag474.xml"/><Relationship Id="rId4" Type="http://schemas.openxmlformats.org/officeDocument/2006/relationships/tags" Target="../tags/tag473.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477.xml"/><Relationship Id="rId7" Type="http://schemas.openxmlformats.org/officeDocument/2006/relationships/image" Target="../media/image6.png"/><Relationship Id="rId2" Type="http://schemas.openxmlformats.org/officeDocument/2006/relationships/tags" Target="../tags/tag476.xml"/><Relationship Id="rId1" Type="http://schemas.openxmlformats.org/officeDocument/2006/relationships/themeOverride" Target="../theme/themeOverride178.xml"/><Relationship Id="rId6" Type="http://schemas.openxmlformats.org/officeDocument/2006/relationships/slideMaster" Target="../slideMasters/slideMaster8.xml"/><Relationship Id="rId5" Type="http://schemas.openxmlformats.org/officeDocument/2006/relationships/tags" Target="../tags/tag479.xml"/><Relationship Id="rId4" Type="http://schemas.openxmlformats.org/officeDocument/2006/relationships/tags" Target="../tags/tag47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0.xml"/><Relationship Id="rId1" Type="http://schemas.openxmlformats.org/officeDocument/2006/relationships/themeOverride" Target="../theme/themeOverride17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hemeOverride" Target="../theme/themeOverride21.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48.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1.xml"/><Relationship Id="rId1" Type="http://schemas.openxmlformats.org/officeDocument/2006/relationships/themeOverride" Target="../theme/themeOverride18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2.xml"/><Relationship Id="rId1" Type="http://schemas.openxmlformats.org/officeDocument/2006/relationships/themeOverride" Target="../theme/themeOverride181.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3.xml"/><Relationship Id="rId1" Type="http://schemas.openxmlformats.org/officeDocument/2006/relationships/themeOverride" Target="../theme/themeOverride182.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4.xml"/><Relationship Id="rId1" Type="http://schemas.openxmlformats.org/officeDocument/2006/relationships/themeOverride" Target="../theme/themeOverride183.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5.xml"/><Relationship Id="rId1" Type="http://schemas.openxmlformats.org/officeDocument/2006/relationships/themeOverride" Target="../theme/themeOverride184.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6.xml"/><Relationship Id="rId1" Type="http://schemas.openxmlformats.org/officeDocument/2006/relationships/themeOverride" Target="../theme/themeOverride185.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7.xml"/><Relationship Id="rId1" Type="http://schemas.openxmlformats.org/officeDocument/2006/relationships/themeOverride" Target="../theme/themeOverride186.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489.xml"/><Relationship Id="rId2" Type="http://schemas.openxmlformats.org/officeDocument/2006/relationships/tags" Target="../tags/tag488.xml"/><Relationship Id="rId1" Type="http://schemas.openxmlformats.org/officeDocument/2006/relationships/themeOverride" Target="../theme/themeOverride187.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490.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492.xml"/><Relationship Id="rId2" Type="http://schemas.openxmlformats.org/officeDocument/2006/relationships/tags" Target="../tags/tag491.xml"/><Relationship Id="rId1" Type="http://schemas.openxmlformats.org/officeDocument/2006/relationships/themeOverride" Target="../theme/themeOverride188.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493.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495.xml"/><Relationship Id="rId2" Type="http://schemas.openxmlformats.org/officeDocument/2006/relationships/tags" Target="../tags/tag494.xml"/><Relationship Id="rId1" Type="http://schemas.openxmlformats.org/officeDocument/2006/relationships/themeOverride" Target="../theme/themeOverride189.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49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hemeOverride" Target="../theme/themeOverride22.xml"/><Relationship Id="rId6" Type="http://schemas.openxmlformats.org/officeDocument/2006/relationships/image" Target="../media/image5.png"/><Relationship Id="rId5" Type="http://schemas.openxmlformats.org/officeDocument/2006/relationships/slideMaster" Target="../slideMasters/slideMaster1.xml"/><Relationship Id="rId4" Type="http://schemas.openxmlformats.org/officeDocument/2006/relationships/tags" Target="../tags/tag51.xml"/></Relationships>
</file>

<file path=ppt/slideLayouts/_rels/slideLayout240.xml.rels><?xml version="1.0" encoding="UTF-8" standalone="yes"?>
<Relationships xmlns="http://schemas.openxmlformats.org/package/2006/relationships"><Relationship Id="rId3" Type="http://schemas.openxmlformats.org/officeDocument/2006/relationships/tags" Target="../tags/tag498.xml"/><Relationship Id="rId2" Type="http://schemas.openxmlformats.org/officeDocument/2006/relationships/tags" Target="../tags/tag497.xml"/><Relationship Id="rId1" Type="http://schemas.openxmlformats.org/officeDocument/2006/relationships/themeOverride" Target="../theme/themeOverride190.xml"/><Relationship Id="rId5" Type="http://schemas.openxmlformats.org/officeDocument/2006/relationships/image" Target="../media/image6.png"/><Relationship Id="rId4"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500.xml"/><Relationship Id="rId7" Type="http://schemas.openxmlformats.org/officeDocument/2006/relationships/image" Target="../media/image6.png"/><Relationship Id="rId2" Type="http://schemas.openxmlformats.org/officeDocument/2006/relationships/tags" Target="../tags/tag499.xml"/><Relationship Id="rId1" Type="http://schemas.openxmlformats.org/officeDocument/2006/relationships/themeOverride" Target="../theme/themeOverride191.xml"/><Relationship Id="rId6" Type="http://schemas.openxmlformats.org/officeDocument/2006/relationships/slideMaster" Target="../slideMasters/slideMaster8.xml"/><Relationship Id="rId5" Type="http://schemas.openxmlformats.org/officeDocument/2006/relationships/tags" Target="../tags/tag502.xml"/><Relationship Id="rId4" Type="http://schemas.openxmlformats.org/officeDocument/2006/relationships/tags" Target="../tags/tag501.xml"/></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3.xml"/><Relationship Id="rId1" Type="http://schemas.openxmlformats.org/officeDocument/2006/relationships/themeOverride" Target="../theme/themeOverride192.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4.xml"/><Relationship Id="rId1" Type="http://schemas.openxmlformats.org/officeDocument/2006/relationships/themeOverride" Target="../theme/themeOverride193.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5.xml"/><Relationship Id="rId1" Type="http://schemas.openxmlformats.org/officeDocument/2006/relationships/themeOverride" Target="../theme/themeOverride194.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6.xml"/><Relationship Id="rId1" Type="http://schemas.openxmlformats.org/officeDocument/2006/relationships/themeOverride" Target="../theme/themeOverride195.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7.xml"/><Relationship Id="rId1" Type="http://schemas.openxmlformats.org/officeDocument/2006/relationships/themeOverride" Target="../theme/themeOverride196.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8.xml"/><Relationship Id="rId1" Type="http://schemas.openxmlformats.org/officeDocument/2006/relationships/themeOverride" Target="../theme/themeOverride197.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9.xml"/><Relationship Id="rId1" Type="http://schemas.openxmlformats.org/officeDocument/2006/relationships/themeOverride" Target="../theme/themeOverride198.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0.xml"/><Relationship Id="rId1" Type="http://schemas.openxmlformats.org/officeDocument/2006/relationships/themeOverride" Target="../theme/themeOverride199.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hemeOverride" Target="../theme/themeOverride23.xml"/><Relationship Id="rId5" Type="http://schemas.openxmlformats.org/officeDocument/2006/relationships/image" Target="../media/image2.png"/><Relationship Id="rId4"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512.xml"/><Relationship Id="rId2" Type="http://schemas.openxmlformats.org/officeDocument/2006/relationships/tags" Target="../tags/tag511.xml"/><Relationship Id="rId1" Type="http://schemas.openxmlformats.org/officeDocument/2006/relationships/themeOverride" Target="../theme/themeOverride200.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513.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515.xml"/><Relationship Id="rId2" Type="http://schemas.openxmlformats.org/officeDocument/2006/relationships/tags" Target="../tags/tag514.xml"/><Relationship Id="rId1" Type="http://schemas.openxmlformats.org/officeDocument/2006/relationships/themeOverride" Target="../theme/themeOverride201.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516.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518.xml"/><Relationship Id="rId2" Type="http://schemas.openxmlformats.org/officeDocument/2006/relationships/tags" Target="../tags/tag517.xml"/><Relationship Id="rId1" Type="http://schemas.openxmlformats.org/officeDocument/2006/relationships/themeOverride" Target="../theme/themeOverride202.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519.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521.xml"/><Relationship Id="rId2" Type="http://schemas.openxmlformats.org/officeDocument/2006/relationships/tags" Target="../tags/tag520.xml"/><Relationship Id="rId1" Type="http://schemas.openxmlformats.org/officeDocument/2006/relationships/themeOverride" Target="../theme/themeOverride203.xml"/><Relationship Id="rId6" Type="http://schemas.openxmlformats.org/officeDocument/2006/relationships/image" Target="../media/image6.png"/><Relationship Id="rId5" Type="http://schemas.openxmlformats.org/officeDocument/2006/relationships/slideMaster" Target="../slideMasters/slideMaster8.xml"/><Relationship Id="rId4" Type="http://schemas.openxmlformats.org/officeDocument/2006/relationships/tags" Target="../tags/tag522.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tags" Target="../tags/tag523.xml"/><Relationship Id="rId1" Type="http://schemas.openxmlformats.org/officeDocument/2006/relationships/themeOverride" Target="../theme/themeOverride204.xml"/><Relationship Id="rId5" Type="http://schemas.openxmlformats.org/officeDocument/2006/relationships/image" Target="../media/image6.png"/><Relationship Id="rId4"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themeOverride" Target="../theme/themeOverride205.xml"/><Relationship Id="rId5" Type="http://schemas.openxmlformats.org/officeDocument/2006/relationships/image" Target="../media/image6.png"/><Relationship Id="rId4"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7.xml"/><Relationship Id="rId1" Type="http://schemas.openxmlformats.org/officeDocument/2006/relationships/themeOverride" Target="../theme/themeOverride206.xml"/><Relationship Id="rId4" Type="http://schemas.openxmlformats.org/officeDocument/2006/relationships/image" Target="../media/image9.pn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8.xml"/><Relationship Id="rId1" Type="http://schemas.openxmlformats.org/officeDocument/2006/relationships/themeOverride" Target="../theme/themeOverride207.xml"/><Relationship Id="rId4" Type="http://schemas.openxmlformats.org/officeDocument/2006/relationships/image" Target="../media/image9.png"/></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9.xml"/><Relationship Id="rId1" Type="http://schemas.openxmlformats.org/officeDocument/2006/relationships/themeOverride" Target="../theme/themeOverride208.xml"/><Relationship Id="rId4" Type="http://schemas.openxmlformats.org/officeDocument/2006/relationships/image" Target="../media/image9.png"/></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0.xml"/><Relationship Id="rId1" Type="http://schemas.openxmlformats.org/officeDocument/2006/relationships/themeOverride" Target="../theme/themeOverride209.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hemeOverride" Target="../theme/themeOverride24.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1.xml"/><Relationship Id="rId1" Type="http://schemas.openxmlformats.org/officeDocument/2006/relationships/themeOverride" Target="../theme/themeOverride210.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211.xml"/></Relationships>
</file>

<file path=ppt/slideLayouts/_rels/slideLayout262.xml.rels><?xml version="1.0" encoding="UTF-8" standalone="yes"?>
<Relationships xmlns="http://schemas.openxmlformats.org/package/2006/relationships"><Relationship Id="rId3" Type="http://schemas.openxmlformats.org/officeDocument/2006/relationships/tags" Target="../tags/tag533.xml"/><Relationship Id="rId7" Type="http://schemas.openxmlformats.org/officeDocument/2006/relationships/image" Target="../media/image4.png"/><Relationship Id="rId2" Type="http://schemas.openxmlformats.org/officeDocument/2006/relationships/tags" Target="../tags/tag532.xml"/><Relationship Id="rId1" Type="http://schemas.openxmlformats.org/officeDocument/2006/relationships/themeOverride" Target="../theme/themeOverride212.xml"/><Relationship Id="rId6" Type="http://schemas.openxmlformats.org/officeDocument/2006/relationships/image" Target="../media/image13.jpeg"/><Relationship Id="rId5" Type="http://schemas.openxmlformats.org/officeDocument/2006/relationships/slideMaster" Target="../slideMasters/slideMaster8.xml"/><Relationship Id="rId4" Type="http://schemas.openxmlformats.org/officeDocument/2006/relationships/tags" Target="../tags/tag534.xml"/></Relationships>
</file>

<file path=ppt/slideLayouts/_rels/slideLayout2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hemeOverride" Target="../theme/themeOverride21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2.xml"/><Relationship Id="rId1" Type="http://schemas.openxmlformats.org/officeDocument/2006/relationships/tags" Target="../tags/tag541.xml"/><Relationship Id="rId4" Type="http://schemas.openxmlformats.org/officeDocument/2006/relationships/image" Target="../media/image9.pn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4.xml"/><Relationship Id="rId1" Type="http://schemas.openxmlformats.org/officeDocument/2006/relationships/tags" Target="../tags/tag543.xml"/><Relationship Id="rId4" Type="http://schemas.openxmlformats.org/officeDocument/2006/relationships/image" Target="../media/image9.png"/></Relationships>
</file>

<file path=ppt/slideLayouts/_rels/slideLayout26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45.xml"/></Relationships>
</file>

<file path=ppt/slideLayouts/_rels/slideLayout26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46.xml"/></Relationships>
</file>

<file path=ppt/slideLayouts/_rels/slideLayout26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47.xml"/></Relationships>
</file>

<file path=ppt/slideLayouts/_rels/slideLayout26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48.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61.xml"/><Relationship Id="rId7"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hemeOverride" Target="../theme/themeOverride25.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4.png"/></Relationships>
</file>

<file path=ppt/slideLayouts/_rels/slideLayout27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49.xml"/></Relationships>
</file>

<file path=ppt/slideLayouts/_rels/slideLayout27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50.xml"/></Relationships>
</file>

<file path=ppt/slideLayouts/_rels/slideLayout27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51.xml"/></Relationships>
</file>

<file path=ppt/slideLayouts/_rels/slideLayout27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52.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555.xml"/><Relationship Id="rId2" Type="http://schemas.openxmlformats.org/officeDocument/2006/relationships/tags" Target="../tags/tag554.xml"/><Relationship Id="rId1" Type="http://schemas.openxmlformats.org/officeDocument/2006/relationships/tags" Target="../tags/tag553.xml"/><Relationship Id="rId5" Type="http://schemas.openxmlformats.org/officeDocument/2006/relationships/image" Target="../media/image6.png"/><Relationship Id="rId4"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558.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image" Target="../media/image6.png"/><Relationship Id="rId5" Type="http://schemas.openxmlformats.org/officeDocument/2006/relationships/slideMaster" Target="../slideMasters/slideMaster9.xml"/><Relationship Id="rId4" Type="http://schemas.openxmlformats.org/officeDocument/2006/relationships/tags" Target="../tags/tag559.xml"/></Relationships>
</file>

<file path=ppt/slideLayouts/_rels/slideLayout27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0.xml"/></Relationships>
</file>

<file path=ppt/slideLayouts/_rels/slideLayout27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1.xml"/></Relationships>
</file>

<file path=ppt/slideLayouts/_rels/slideLayout27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2.xml"/></Relationships>
</file>

<file path=ppt/slideLayouts/_rels/slideLayout27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26.xml"/></Relationships>
</file>

<file path=ppt/slideLayouts/_rels/slideLayout28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4.xml"/></Relationships>
</file>

<file path=ppt/slideLayouts/_rels/slideLayout28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5.xml"/></Relationships>
</file>

<file path=ppt/slideLayouts/_rels/slideLayout28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6.xml"/></Relationships>
</file>

<file path=ppt/slideLayouts/_rels/slideLayout28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67.xml"/></Relationships>
</file>

<file path=ppt/slideLayouts/_rels/slideLayout284.xml.rels><?xml version="1.0" encoding="UTF-8" standalone="yes"?>
<Relationships xmlns="http://schemas.openxmlformats.org/package/2006/relationships"><Relationship Id="rId3" Type="http://schemas.openxmlformats.org/officeDocument/2006/relationships/tags" Target="../tags/tag570.xml"/><Relationship Id="rId2" Type="http://schemas.openxmlformats.org/officeDocument/2006/relationships/tags" Target="../tags/tag569.xml"/><Relationship Id="rId1" Type="http://schemas.openxmlformats.org/officeDocument/2006/relationships/tags" Target="../tags/tag568.xml"/><Relationship Id="rId5" Type="http://schemas.openxmlformats.org/officeDocument/2006/relationships/image" Target="../media/image6.png"/><Relationship Id="rId4"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71.xml"/></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579.xml"/><Relationship Id="rId2" Type="http://schemas.openxmlformats.org/officeDocument/2006/relationships/tags" Target="../tags/tag578.xml"/><Relationship Id="rId1" Type="http://schemas.openxmlformats.org/officeDocument/2006/relationships/themeOverride" Target="../theme/themeOverride214.xml"/><Relationship Id="rId5" Type="http://schemas.openxmlformats.org/officeDocument/2006/relationships/image" Target="../media/image2.png"/><Relationship Id="rId4"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80.xml"/><Relationship Id="rId1" Type="http://schemas.openxmlformats.org/officeDocument/2006/relationships/themeOverride" Target="../theme/themeOverride215.xm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582.xml"/><Relationship Id="rId7" Type="http://schemas.openxmlformats.org/officeDocument/2006/relationships/slideMaster" Target="../slideMasters/slideMaster10.xml"/><Relationship Id="rId2" Type="http://schemas.openxmlformats.org/officeDocument/2006/relationships/tags" Target="../tags/tag581.xml"/><Relationship Id="rId1" Type="http://schemas.openxmlformats.org/officeDocument/2006/relationships/themeOverride" Target="../theme/themeOverride216.xml"/><Relationship Id="rId6" Type="http://schemas.openxmlformats.org/officeDocument/2006/relationships/tags" Target="../tags/tag585.xml"/><Relationship Id="rId5" Type="http://schemas.openxmlformats.org/officeDocument/2006/relationships/tags" Target="../tags/tag584.xml"/><Relationship Id="rId4" Type="http://schemas.openxmlformats.org/officeDocument/2006/relationships/tags" Target="../tags/tag583.xml"/><Relationship Id="rId9" Type="http://schemas.openxmlformats.org/officeDocument/2006/relationships/image" Target="../media/image4.png"/></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21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hemeOverride" Target="../theme/themeOverride27.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86.xml"/><Relationship Id="rId1" Type="http://schemas.openxmlformats.org/officeDocument/2006/relationships/themeOverride" Target="../theme/themeOverride218.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87.xml"/><Relationship Id="rId1" Type="http://schemas.openxmlformats.org/officeDocument/2006/relationships/themeOverride" Target="../theme/themeOverride219.xml"/></Relationships>
</file>

<file path=ppt/slideLayouts/_rels/slideLayout292.xml.rels><?xml version="1.0" encoding="UTF-8" standalone="yes"?>
<Relationships xmlns="http://schemas.openxmlformats.org/package/2006/relationships"><Relationship Id="rId3" Type="http://schemas.openxmlformats.org/officeDocument/2006/relationships/tags" Target="../tags/tag589.xml"/><Relationship Id="rId2" Type="http://schemas.openxmlformats.org/officeDocument/2006/relationships/tags" Target="../tags/tag588.xml"/><Relationship Id="rId1" Type="http://schemas.openxmlformats.org/officeDocument/2006/relationships/themeOverride" Target="../theme/themeOverride220.xml"/><Relationship Id="rId6" Type="http://schemas.openxmlformats.org/officeDocument/2006/relationships/image" Target="../media/image5.png"/><Relationship Id="rId5" Type="http://schemas.openxmlformats.org/officeDocument/2006/relationships/slideMaster" Target="../slideMasters/slideMaster10.xml"/><Relationship Id="rId4" Type="http://schemas.openxmlformats.org/officeDocument/2006/relationships/tags" Target="../tags/tag590.xml"/></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592.xml"/><Relationship Id="rId2" Type="http://schemas.openxmlformats.org/officeDocument/2006/relationships/tags" Target="../tags/tag591.xml"/><Relationship Id="rId1" Type="http://schemas.openxmlformats.org/officeDocument/2006/relationships/themeOverride" Target="../theme/themeOverride221.xml"/><Relationship Id="rId5" Type="http://schemas.openxmlformats.org/officeDocument/2006/relationships/image" Target="../media/image5.png"/><Relationship Id="rId4"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3" Type="http://schemas.openxmlformats.org/officeDocument/2006/relationships/tags" Target="../tags/tag594.xml"/><Relationship Id="rId7" Type="http://schemas.openxmlformats.org/officeDocument/2006/relationships/image" Target="../media/image4.png"/><Relationship Id="rId2" Type="http://schemas.openxmlformats.org/officeDocument/2006/relationships/tags" Target="../tags/tag593.xml"/><Relationship Id="rId1" Type="http://schemas.openxmlformats.org/officeDocument/2006/relationships/themeOverride" Target="../theme/themeOverride222.xml"/><Relationship Id="rId6" Type="http://schemas.openxmlformats.org/officeDocument/2006/relationships/slideMaster" Target="../slideMasters/slideMaster10.xml"/><Relationship Id="rId5" Type="http://schemas.openxmlformats.org/officeDocument/2006/relationships/tags" Target="../tags/tag596.xml"/><Relationship Id="rId4" Type="http://schemas.openxmlformats.org/officeDocument/2006/relationships/tags" Target="../tags/tag595.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7.xml"/><Relationship Id="rId1" Type="http://schemas.openxmlformats.org/officeDocument/2006/relationships/themeOverride" Target="../theme/themeOverride223.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8.xml"/><Relationship Id="rId1" Type="http://schemas.openxmlformats.org/officeDocument/2006/relationships/themeOverride" Target="../theme/themeOverride224.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99.xml"/><Relationship Id="rId1" Type="http://schemas.openxmlformats.org/officeDocument/2006/relationships/themeOverride" Target="../theme/themeOverride225.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00.xml"/><Relationship Id="rId1" Type="http://schemas.openxmlformats.org/officeDocument/2006/relationships/themeOverride" Target="../theme/themeOverride226.xml"/></Relationships>
</file>

<file path=ppt/slideLayouts/_rels/slideLayout299.xml.rels><?xml version="1.0" encoding="UTF-8" standalone="yes"?>
<Relationships xmlns="http://schemas.openxmlformats.org/package/2006/relationships"><Relationship Id="rId3" Type="http://schemas.openxmlformats.org/officeDocument/2006/relationships/tags" Target="../tags/tag602.xml"/><Relationship Id="rId2" Type="http://schemas.openxmlformats.org/officeDocument/2006/relationships/tags" Target="../tags/tag601.xml"/><Relationship Id="rId1" Type="http://schemas.openxmlformats.org/officeDocument/2006/relationships/themeOverride" Target="../theme/themeOverride227.xml"/><Relationship Id="rId6" Type="http://schemas.openxmlformats.org/officeDocument/2006/relationships/image" Target="../media/image5.png"/><Relationship Id="rId5" Type="http://schemas.openxmlformats.org/officeDocument/2006/relationships/slideMaster" Target="../slideMasters/slideMaster10.xml"/><Relationship Id="rId4" Type="http://schemas.openxmlformats.org/officeDocument/2006/relationships/tags" Target="../tags/tag60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1.xml"/><Relationship Id="rId7"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hemeOverride" Target="../theme/themeOverride28.xml"/></Relationships>
</file>

<file path=ppt/slideLayouts/_rels/slideLayout300.xml.rels><?xml version="1.0" encoding="UTF-8" standalone="yes"?>
<Relationships xmlns="http://schemas.openxmlformats.org/package/2006/relationships"><Relationship Id="rId3" Type="http://schemas.openxmlformats.org/officeDocument/2006/relationships/tags" Target="../tags/tag605.xml"/><Relationship Id="rId2" Type="http://schemas.openxmlformats.org/officeDocument/2006/relationships/tags" Target="../tags/tag604.xml"/><Relationship Id="rId1" Type="http://schemas.openxmlformats.org/officeDocument/2006/relationships/themeOverride" Target="../theme/themeOverride228.xml"/><Relationship Id="rId6" Type="http://schemas.openxmlformats.org/officeDocument/2006/relationships/image" Target="../media/image5.png"/><Relationship Id="rId5" Type="http://schemas.openxmlformats.org/officeDocument/2006/relationships/slideMaster" Target="../slideMasters/slideMaster10.xml"/><Relationship Id="rId4" Type="http://schemas.openxmlformats.org/officeDocument/2006/relationships/tags" Target="../tags/tag606.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07.xml"/><Relationship Id="rId1" Type="http://schemas.openxmlformats.org/officeDocument/2006/relationships/themeOverride" Target="../theme/themeOverride229.xml"/></Relationships>
</file>

<file path=ppt/slideLayouts/_rels/slideLayout30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609.xml"/><Relationship Id="rId7" Type="http://schemas.openxmlformats.org/officeDocument/2006/relationships/slideMaster" Target="../slideMasters/slideMaster10.xml"/><Relationship Id="rId2" Type="http://schemas.openxmlformats.org/officeDocument/2006/relationships/tags" Target="../tags/tag608.xml"/><Relationship Id="rId1" Type="http://schemas.openxmlformats.org/officeDocument/2006/relationships/themeOverride" Target="../theme/themeOverride230.xml"/><Relationship Id="rId6" Type="http://schemas.openxmlformats.org/officeDocument/2006/relationships/tags" Target="../tags/tag612.xml"/><Relationship Id="rId5" Type="http://schemas.openxmlformats.org/officeDocument/2006/relationships/tags" Target="../tags/tag611.xml"/><Relationship Id="rId4" Type="http://schemas.openxmlformats.org/officeDocument/2006/relationships/tags" Target="../tags/tag610.xml"/><Relationship Id="rId9" Type="http://schemas.openxmlformats.org/officeDocument/2006/relationships/image" Target="../media/image4.png"/></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614.xml"/><Relationship Id="rId7" Type="http://schemas.openxmlformats.org/officeDocument/2006/relationships/image" Target="../media/image6.png"/><Relationship Id="rId2" Type="http://schemas.openxmlformats.org/officeDocument/2006/relationships/tags" Target="../tags/tag613.xml"/><Relationship Id="rId1" Type="http://schemas.openxmlformats.org/officeDocument/2006/relationships/themeOverride" Target="../theme/themeOverride231.xml"/><Relationship Id="rId6" Type="http://schemas.openxmlformats.org/officeDocument/2006/relationships/slideMaster" Target="../slideMasters/slideMaster10.xml"/><Relationship Id="rId5" Type="http://schemas.openxmlformats.org/officeDocument/2006/relationships/tags" Target="../tags/tag616.xml"/><Relationship Id="rId4" Type="http://schemas.openxmlformats.org/officeDocument/2006/relationships/tags" Target="../tags/tag615.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618.xml"/><Relationship Id="rId7" Type="http://schemas.openxmlformats.org/officeDocument/2006/relationships/image" Target="../media/image6.png"/><Relationship Id="rId2" Type="http://schemas.openxmlformats.org/officeDocument/2006/relationships/tags" Target="../tags/tag617.xml"/><Relationship Id="rId1" Type="http://schemas.openxmlformats.org/officeDocument/2006/relationships/themeOverride" Target="../theme/themeOverride232.xml"/><Relationship Id="rId6" Type="http://schemas.openxmlformats.org/officeDocument/2006/relationships/slideMaster" Target="../slideMasters/slideMaster10.xml"/><Relationship Id="rId5" Type="http://schemas.openxmlformats.org/officeDocument/2006/relationships/tags" Target="../tags/tag620.xml"/><Relationship Id="rId4" Type="http://schemas.openxmlformats.org/officeDocument/2006/relationships/tags" Target="../tags/tag619.xml"/></Relationships>
</file>

<file path=ppt/slideLayouts/_rels/slideLayout3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233.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21.xml"/><Relationship Id="rId1" Type="http://schemas.openxmlformats.org/officeDocument/2006/relationships/themeOverride" Target="../theme/themeOverride234.xml"/></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623.xml"/><Relationship Id="rId2" Type="http://schemas.openxmlformats.org/officeDocument/2006/relationships/tags" Target="../tags/tag622.xml"/><Relationship Id="rId1" Type="http://schemas.openxmlformats.org/officeDocument/2006/relationships/themeOverride" Target="../theme/themeOverride235.xml"/><Relationship Id="rId6" Type="http://schemas.openxmlformats.org/officeDocument/2006/relationships/image" Target="../media/image6.png"/><Relationship Id="rId5" Type="http://schemas.openxmlformats.org/officeDocument/2006/relationships/slideMaster" Target="../slideMasters/slideMaster10.xml"/><Relationship Id="rId4" Type="http://schemas.openxmlformats.org/officeDocument/2006/relationships/tags" Target="../tags/tag6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themeOverride" Target="../theme/themeOverride29.xml"/><Relationship Id="rId6" Type="http://schemas.openxmlformats.org/officeDocument/2006/relationships/image" Target="../media/image5.png"/><Relationship Id="rId5" Type="http://schemas.openxmlformats.org/officeDocument/2006/relationships/slideMaster" Target="../slideMasters/slideMaster2.xml"/><Relationship Id="rId4" Type="http://schemas.openxmlformats.org/officeDocument/2006/relationships/tags" Target="../tags/tag69.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27.xml"/><Relationship Id="rId7" Type="http://schemas.openxmlformats.org/officeDocument/2006/relationships/oleObject" Target="../embeddings/oleObject12.bin"/><Relationship Id="rId2" Type="http://schemas.openxmlformats.org/officeDocument/2006/relationships/vmlDrawing" Target="../drawings/vmlDrawing12.vml"/><Relationship Id="rId1" Type="http://schemas.openxmlformats.org/officeDocument/2006/relationships/themeOverride" Target="../theme/themeOverride236.xml"/><Relationship Id="rId6" Type="http://schemas.openxmlformats.org/officeDocument/2006/relationships/slideMaster" Target="../slideMasters/slideMaster11.xml"/><Relationship Id="rId5" Type="http://schemas.openxmlformats.org/officeDocument/2006/relationships/tags" Target="../tags/tag629.xml"/><Relationship Id="rId4" Type="http://schemas.openxmlformats.org/officeDocument/2006/relationships/tags" Target="../tags/tag628.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hemeOverride" Target="../theme/themeOverride30.xml"/><Relationship Id="rId5" Type="http://schemas.openxmlformats.org/officeDocument/2006/relationships/image" Target="../media/image5.png"/><Relationship Id="rId4"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tags" Target="../tags/tag631.xml"/><Relationship Id="rId2" Type="http://schemas.openxmlformats.org/officeDocument/2006/relationships/tags" Target="../tags/tag630.xml"/><Relationship Id="rId1" Type="http://schemas.openxmlformats.org/officeDocument/2006/relationships/themeOverride" Target="../theme/themeOverride237.xml"/><Relationship Id="rId6" Type="http://schemas.openxmlformats.org/officeDocument/2006/relationships/image" Target="../media/image6.png"/><Relationship Id="rId5" Type="http://schemas.openxmlformats.org/officeDocument/2006/relationships/slideMaster" Target="../slideMasters/slideMaster11.xml"/><Relationship Id="rId4" Type="http://schemas.openxmlformats.org/officeDocument/2006/relationships/tags" Target="../tags/tag632.xml"/></Relationships>
</file>

<file path=ppt/slideLayouts/_rels/slideLayout321.xml.rels><?xml version="1.0" encoding="UTF-8" standalone="yes"?>
<Relationships xmlns="http://schemas.openxmlformats.org/package/2006/relationships"><Relationship Id="rId3" Type="http://schemas.openxmlformats.org/officeDocument/2006/relationships/tags" Target="../tags/tag634.xml"/><Relationship Id="rId2" Type="http://schemas.openxmlformats.org/officeDocument/2006/relationships/tags" Target="../tags/tag633.xml"/><Relationship Id="rId1" Type="http://schemas.openxmlformats.org/officeDocument/2006/relationships/themeOverride" Target="../theme/themeOverride238.xml"/><Relationship Id="rId5" Type="http://schemas.openxmlformats.org/officeDocument/2006/relationships/image" Target="../media/image6.png"/><Relationship Id="rId4"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35.xml"/><Relationship Id="rId1" Type="http://schemas.openxmlformats.org/officeDocument/2006/relationships/themeOverride" Target="../theme/themeOverride239.xml"/></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637.xml"/><Relationship Id="rId2" Type="http://schemas.openxmlformats.org/officeDocument/2006/relationships/tags" Target="../tags/tag636.xml"/><Relationship Id="rId1" Type="http://schemas.openxmlformats.org/officeDocument/2006/relationships/themeOverride" Target="../theme/themeOverride240.xml"/><Relationship Id="rId6" Type="http://schemas.openxmlformats.org/officeDocument/2006/relationships/image" Target="../media/image6.png"/><Relationship Id="rId5" Type="http://schemas.openxmlformats.org/officeDocument/2006/relationships/slideMaster" Target="../slideMasters/slideMaster11.xml"/><Relationship Id="rId4" Type="http://schemas.openxmlformats.org/officeDocument/2006/relationships/tags" Target="../tags/tag638.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639.xml"/><Relationship Id="rId1" Type="http://schemas.openxmlformats.org/officeDocument/2006/relationships/themeOverride" Target="../theme/themeOverride241.xml"/></Relationships>
</file>

<file path=ppt/slideLayouts/_rels/slideLayout32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hemeOverride" Target="../theme/themeOverride242.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themeOverride" Target="../theme/themeOverride243.xml"/><Relationship Id="rId5" Type="http://schemas.openxmlformats.org/officeDocument/2006/relationships/image" Target="../media/image9.png"/><Relationship Id="rId4"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647.xml"/><Relationship Id="rId2" Type="http://schemas.openxmlformats.org/officeDocument/2006/relationships/tags" Target="../tags/tag646.xml"/><Relationship Id="rId1" Type="http://schemas.openxmlformats.org/officeDocument/2006/relationships/themeOverride" Target="../theme/themeOverride244.xml"/><Relationship Id="rId6" Type="http://schemas.openxmlformats.org/officeDocument/2006/relationships/image" Target="../media/image9.png"/><Relationship Id="rId5" Type="http://schemas.openxmlformats.org/officeDocument/2006/relationships/slideMaster" Target="../slideMasters/slideMaster12.xml"/><Relationship Id="rId4" Type="http://schemas.openxmlformats.org/officeDocument/2006/relationships/tags" Target="../tags/tag648.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650.xml"/><Relationship Id="rId2" Type="http://schemas.openxmlformats.org/officeDocument/2006/relationships/tags" Target="../tags/tag649.xml"/><Relationship Id="rId1" Type="http://schemas.openxmlformats.org/officeDocument/2006/relationships/themeOverride" Target="../theme/themeOverride245.xml"/><Relationship Id="rId6" Type="http://schemas.openxmlformats.org/officeDocument/2006/relationships/image" Target="../media/image9.png"/><Relationship Id="rId5" Type="http://schemas.openxmlformats.org/officeDocument/2006/relationships/slideMaster" Target="../slideMasters/slideMaster12.xml"/><Relationship Id="rId4" Type="http://schemas.openxmlformats.org/officeDocument/2006/relationships/tags" Target="../tags/tag651.xml"/></Relationships>
</file>

<file path=ppt/slideLayouts/_rels/slideLayout329.xml.rels><?xml version="1.0" encoding="UTF-8" standalone="yes"?>
<Relationships xmlns="http://schemas.openxmlformats.org/package/2006/relationships"><Relationship Id="rId3" Type="http://schemas.openxmlformats.org/officeDocument/2006/relationships/tags" Target="../tags/tag653.xml"/><Relationship Id="rId2" Type="http://schemas.openxmlformats.org/officeDocument/2006/relationships/tags" Target="../tags/tag652.xml"/><Relationship Id="rId1" Type="http://schemas.openxmlformats.org/officeDocument/2006/relationships/themeOverride" Target="../theme/themeOverride246.xml"/><Relationship Id="rId5" Type="http://schemas.openxmlformats.org/officeDocument/2006/relationships/image" Target="../media/image9.png"/><Relationship Id="rId4"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4.png"/><Relationship Id="rId2" Type="http://schemas.openxmlformats.org/officeDocument/2006/relationships/tags" Target="../tags/tag72.xml"/><Relationship Id="rId1" Type="http://schemas.openxmlformats.org/officeDocument/2006/relationships/themeOverride" Target="../theme/themeOverride31.xml"/><Relationship Id="rId6" Type="http://schemas.openxmlformats.org/officeDocument/2006/relationships/slideMaster" Target="../slideMasters/slideMaster2.xml"/><Relationship Id="rId5" Type="http://schemas.openxmlformats.org/officeDocument/2006/relationships/tags" Target="../tags/tag75.xml"/><Relationship Id="rId4" Type="http://schemas.openxmlformats.org/officeDocument/2006/relationships/tags" Target="../tags/tag74.xml"/></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655.xml"/><Relationship Id="rId2" Type="http://schemas.openxmlformats.org/officeDocument/2006/relationships/tags" Target="../tags/tag654.xml"/><Relationship Id="rId1" Type="http://schemas.openxmlformats.org/officeDocument/2006/relationships/themeOverride" Target="../theme/themeOverride247.xml"/><Relationship Id="rId5" Type="http://schemas.openxmlformats.org/officeDocument/2006/relationships/image" Target="../media/image9.png"/><Relationship Id="rId4"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themeOverride" Target="../theme/themeOverride248.xml"/><Relationship Id="rId5" Type="http://schemas.openxmlformats.org/officeDocument/2006/relationships/image" Target="../media/image9.png"/><Relationship Id="rId4"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659.xml"/><Relationship Id="rId7" Type="http://schemas.openxmlformats.org/officeDocument/2006/relationships/image" Target="../media/image6.png"/><Relationship Id="rId2" Type="http://schemas.openxmlformats.org/officeDocument/2006/relationships/tags" Target="../tags/tag658.xml"/><Relationship Id="rId1" Type="http://schemas.openxmlformats.org/officeDocument/2006/relationships/themeOverride" Target="../theme/themeOverride249.xml"/><Relationship Id="rId6" Type="http://schemas.openxmlformats.org/officeDocument/2006/relationships/slideMaster" Target="../slideMasters/slideMaster12.xml"/><Relationship Id="rId5" Type="http://schemas.openxmlformats.org/officeDocument/2006/relationships/tags" Target="../tags/tag661.xml"/><Relationship Id="rId4" Type="http://schemas.openxmlformats.org/officeDocument/2006/relationships/tags" Target="../tags/tag660.xml"/></Relationships>
</file>

<file path=ppt/slideLayouts/_rels/slideLayout333.xml.rels><?xml version="1.0" encoding="UTF-8" standalone="yes"?>
<Relationships xmlns="http://schemas.openxmlformats.org/package/2006/relationships"><Relationship Id="rId3" Type="http://schemas.openxmlformats.org/officeDocument/2006/relationships/tags" Target="../tags/tag663.xml"/><Relationship Id="rId7" Type="http://schemas.openxmlformats.org/officeDocument/2006/relationships/image" Target="../media/image6.png"/><Relationship Id="rId2" Type="http://schemas.openxmlformats.org/officeDocument/2006/relationships/tags" Target="../tags/tag662.xml"/><Relationship Id="rId1" Type="http://schemas.openxmlformats.org/officeDocument/2006/relationships/themeOverride" Target="../theme/themeOverride250.xml"/><Relationship Id="rId6" Type="http://schemas.openxmlformats.org/officeDocument/2006/relationships/slideMaster" Target="../slideMasters/slideMaster12.xml"/><Relationship Id="rId5" Type="http://schemas.openxmlformats.org/officeDocument/2006/relationships/tags" Target="../tags/tag665.xml"/><Relationship Id="rId4" Type="http://schemas.openxmlformats.org/officeDocument/2006/relationships/tags" Target="../tags/tag664.xml"/></Relationships>
</file>

<file path=ppt/slideLayouts/_rels/slideLayout3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67.xml"/><Relationship Id="rId7" Type="http://schemas.openxmlformats.org/officeDocument/2006/relationships/slideMaster" Target="../slideMasters/slideMaster12.xml"/><Relationship Id="rId2" Type="http://schemas.openxmlformats.org/officeDocument/2006/relationships/tags" Target="../tags/tag666.xml"/><Relationship Id="rId1" Type="http://schemas.openxmlformats.org/officeDocument/2006/relationships/themeOverride" Target="../theme/themeOverride251.xml"/><Relationship Id="rId6" Type="http://schemas.openxmlformats.org/officeDocument/2006/relationships/tags" Target="../tags/tag670.xml"/><Relationship Id="rId5" Type="http://schemas.openxmlformats.org/officeDocument/2006/relationships/tags" Target="../tags/tag669.xml"/><Relationship Id="rId4" Type="http://schemas.openxmlformats.org/officeDocument/2006/relationships/tags" Target="../tags/tag668.xml"/></Relationships>
</file>

<file path=ppt/slideLayouts/_rels/slideLayout335.xml.rels><?xml version="1.0" encoding="UTF-8" standalone="yes"?>
<Relationships xmlns="http://schemas.openxmlformats.org/package/2006/relationships"><Relationship Id="rId3" Type="http://schemas.openxmlformats.org/officeDocument/2006/relationships/tags" Target="../tags/tag672.xml"/><Relationship Id="rId7" Type="http://schemas.openxmlformats.org/officeDocument/2006/relationships/image" Target="../media/image6.png"/><Relationship Id="rId2" Type="http://schemas.openxmlformats.org/officeDocument/2006/relationships/tags" Target="../tags/tag671.xml"/><Relationship Id="rId1" Type="http://schemas.openxmlformats.org/officeDocument/2006/relationships/themeOverride" Target="../theme/themeOverride252.xml"/><Relationship Id="rId6" Type="http://schemas.openxmlformats.org/officeDocument/2006/relationships/slideMaster" Target="../slideMasters/slideMaster12.xml"/><Relationship Id="rId5" Type="http://schemas.openxmlformats.org/officeDocument/2006/relationships/tags" Target="../tags/tag674.xml"/><Relationship Id="rId4" Type="http://schemas.openxmlformats.org/officeDocument/2006/relationships/tags" Target="../tags/tag673.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5.xml"/><Relationship Id="rId1" Type="http://schemas.openxmlformats.org/officeDocument/2006/relationships/themeOverride" Target="../theme/themeOverride253.xml"/></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6.xml"/><Relationship Id="rId1" Type="http://schemas.openxmlformats.org/officeDocument/2006/relationships/themeOverride" Target="../theme/themeOverride254.xml"/></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7.xml"/><Relationship Id="rId1" Type="http://schemas.openxmlformats.org/officeDocument/2006/relationships/themeOverride" Target="../theme/themeOverride255.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8.xml"/><Relationship Id="rId1" Type="http://schemas.openxmlformats.org/officeDocument/2006/relationships/themeOverride" Target="../theme/themeOverride25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hemeOverride" Target="../theme/themeOverride32.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79.xml"/><Relationship Id="rId1" Type="http://schemas.openxmlformats.org/officeDocument/2006/relationships/themeOverride" Target="../theme/themeOverride257.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0.xml"/><Relationship Id="rId1" Type="http://schemas.openxmlformats.org/officeDocument/2006/relationships/themeOverride" Target="../theme/themeOverride258.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81.xml"/><Relationship Id="rId1" Type="http://schemas.openxmlformats.org/officeDocument/2006/relationships/themeOverride" Target="../theme/themeOverride259.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683.xml"/><Relationship Id="rId2" Type="http://schemas.openxmlformats.org/officeDocument/2006/relationships/tags" Target="../tags/tag682.xml"/><Relationship Id="rId1" Type="http://schemas.openxmlformats.org/officeDocument/2006/relationships/themeOverride" Target="../theme/themeOverride260.xml"/><Relationship Id="rId5" Type="http://schemas.openxmlformats.org/officeDocument/2006/relationships/image" Target="../media/image6.png"/><Relationship Id="rId4"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685.xml"/><Relationship Id="rId2" Type="http://schemas.openxmlformats.org/officeDocument/2006/relationships/tags" Target="../tags/tag684.xml"/><Relationship Id="rId1" Type="http://schemas.openxmlformats.org/officeDocument/2006/relationships/themeOverride" Target="../theme/themeOverride261.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686.xml"/></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688.xml"/><Relationship Id="rId2" Type="http://schemas.openxmlformats.org/officeDocument/2006/relationships/tags" Target="../tags/tag687.xml"/><Relationship Id="rId1" Type="http://schemas.openxmlformats.org/officeDocument/2006/relationships/themeOverride" Target="../theme/themeOverride262.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689.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691.xml"/><Relationship Id="rId2" Type="http://schemas.openxmlformats.org/officeDocument/2006/relationships/tags" Target="../tags/tag690.xml"/><Relationship Id="rId1" Type="http://schemas.openxmlformats.org/officeDocument/2006/relationships/themeOverride" Target="../theme/themeOverride263.xml"/><Relationship Id="rId5" Type="http://schemas.openxmlformats.org/officeDocument/2006/relationships/image" Target="../media/image6.png"/><Relationship Id="rId4"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693.xml"/><Relationship Id="rId7" Type="http://schemas.openxmlformats.org/officeDocument/2006/relationships/image" Target="../media/image6.png"/><Relationship Id="rId2" Type="http://schemas.openxmlformats.org/officeDocument/2006/relationships/tags" Target="../tags/tag692.xml"/><Relationship Id="rId1" Type="http://schemas.openxmlformats.org/officeDocument/2006/relationships/themeOverride" Target="../theme/themeOverride264.xml"/><Relationship Id="rId6" Type="http://schemas.openxmlformats.org/officeDocument/2006/relationships/slideMaster" Target="../slideMasters/slideMaster12.xml"/><Relationship Id="rId5" Type="http://schemas.openxmlformats.org/officeDocument/2006/relationships/tags" Target="../tags/tag695.xml"/><Relationship Id="rId4" Type="http://schemas.openxmlformats.org/officeDocument/2006/relationships/tags" Target="../tags/tag694.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96.xml"/><Relationship Id="rId1" Type="http://schemas.openxmlformats.org/officeDocument/2006/relationships/themeOverride" Target="../theme/themeOverride265.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97.xml"/><Relationship Id="rId1" Type="http://schemas.openxmlformats.org/officeDocument/2006/relationships/themeOverride" Target="../theme/themeOverride26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hemeOverride" Target="../theme/themeOverride33.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98.xml"/><Relationship Id="rId1" Type="http://schemas.openxmlformats.org/officeDocument/2006/relationships/themeOverride" Target="../theme/themeOverride267.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99.xml"/><Relationship Id="rId1" Type="http://schemas.openxmlformats.org/officeDocument/2006/relationships/themeOverride" Target="../theme/themeOverride268.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0.xml"/><Relationship Id="rId1" Type="http://schemas.openxmlformats.org/officeDocument/2006/relationships/themeOverride" Target="../theme/themeOverride269.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1.xml"/><Relationship Id="rId1" Type="http://schemas.openxmlformats.org/officeDocument/2006/relationships/themeOverride" Target="../theme/themeOverride270.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2.xml"/><Relationship Id="rId1" Type="http://schemas.openxmlformats.org/officeDocument/2006/relationships/themeOverride" Target="../theme/themeOverride271.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03.xml"/><Relationship Id="rId1" Type="http://schemas.openxmlformats.org/officeDocument/2006/relationships/themeOverride" Target="../theme/themeOverride272.xml"/></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705.xml"/><Relationship Id="rId2" Type="http://schemas.openxmlformats.org/officeDocument/2006/relationships/tags" Target="../tags/tag704.xml"/><Relationship Id="rId1" Type="http://schemas.openxmlformats.org/officeDocument/2006/relationships/themeOverride" Target="../theme/themeOverride273.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706.xml"/></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708.xml"/><Relationship Id="rId2" Type="http://schemas.openxmlformats.org/officeDocument/2006/relationships/tags" Target="../tags/tag707.xml"/><Relationship Id="rId1" Type="http://schemas.openxmlformats.org/officeDocument/2006/relationships/themeOverride" Target="../theme/themeOverride274.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709.xml"/></Relationships>
</file>

<file path=ppt/slideLayouts/_rels/slideLayout358.xml.rels><?xml version="1.0" encoding="UTF-8" standalone="yes"?>
<Relationships xmlns="http://schemas.openxmlformats.org/package/2006/relationships"><Relationship Id="rId3" Type="http://schemas.openxmlformats.org/officeDocument/2006/relationships/tags" Target="../tags/tag711.xml"/><Relationship Id="rId2" Type="http://schemas.openxmlformats.org/officeDocument/2006/relationships/tags" Target="../tags/tag710.xml"/><Relationship Id="rId1" Type="http://schemas.openxmlformats.org/officeDocument/2006/relationships/themeOverride" Target="../theme/themeOverride275.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712.xml"/></Relationships>
</file>

<file path=ppt/slideLayouts/_rels/slideLayout359.xml.rels><?xml version="1.0" encoding="UTF-8" standalone="yes"?>
<Relationships xmlns="http://schemas.openxmlformats.org/package/2006/relationships"><Relationship Id="rId3" Type="http://schemas.openxmlformats.org/officeDocument/2006/relationships/tags" Target="../tags/tag714.xml"/><Relationship Id="rId2" Type="http://schemas.openxmlformats.org/officeDocument/2006/relationships/tags" Target="../tags/tag713.xml"/><Relationship Id="rId1" Type="http://schemas.openxmlformats.org/officeDocument/2006/relationships/themeOverride" Target="../theme/themeOverride276.xml"/><Relationship Id="rId6" Type="http://schemas.openxmlformats.org/officeDocument/2006/relationships/image" Target="../media/image6.png"/><Relationship Id="rId5" Type="http://schemas.openxmlformats.org/officeDocument/2006/relationships/slideMaster" Target="../slideMasters/slideMaster12.xml"/><Relationship Id="rId4" Type="http://schemas.openxmlformats.org/officeDocument/2006/relationships/tags" Target="../tags/tag71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hemeOverride" Target="../theme/themeOverride34.xml"/></Relationships>
</file>

<file path=ppt/slideLayouts/_rels/slideLayout360.xml.rels><?xml version="1.0" encoding="UTF-8" standalone="yes"?>
<Relationships xmlns="http://schemas.openxmlformats.org/package/2006/relationships"><Relationship Id="rId3" Type="http://schemas.openxmlformats.org/officeDocument/2006/relationships/tags" Target="../tags/tag717.xml"/><Relationship Id="rId2" Type="http://schemas.openxmlformats.org/officeDocument/2006/relationships/tags" Target="../tags/tag716.xml"/><Relationship Id="rId1" Type="http://schemas.openxmlformats.org/officeDocument/2006/relationships/themeOverride" Target="../theme/themeOverride277.xml"/><Relationship Id="rId5" Type="http://schemas.openxmlformats.org/officeDocument/2006/relationships/image" Target="../media/image6.png"/><Relationship Id="rId4"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themeOverride" Target="../theme/themeOverride278.xml"/><Relationship Id="rId5" Type="http://schemas.openxmlformats.org/officeDocument/2006/relationships/image" Target="../media/image6.png"/><Relationship Id="rId4"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0.xml"/><Relationship Id="rId1" Type="http://schemas.openxmlformats.org/officeDocument/2006/relationships/themeOverride" Target="../theme/themeOverride279.xml"/><Relationship Id="rId4" Type="http://schemas.openxmlformats.org/officeDocument/2006/relationships/image" Target="../media/image9.png"/></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1.xml"/><Relationship Id="rId1" Type="http://schemas.openxmlformats.org/officeDocument/2006/relationships/themeOverride" Target="../theme/themeOverride280.xml"/><Relationship Id="rId4" Type="http://schemas.openxmlformats.org/officeDocument/2006/relationships/image" Target="../media/image9.png"/></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2.xml"/><Relationship Id="rId1" Type="http://schemas.openxmlformats.org/officeDocument/2006/relationships/themeOverride" Target="../theme/themeOverride281.xml"/><Relationship Id="rId4" Type="http://schemas.openxmlformats.org/officeDocument/2006/relationships/image" Target="../media/image9.png"/></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3.xml"/><Relationship Id="rId1" Type="http://schemas.openxmlformats.org/officeDocument/2006/relationships/themeOverride" Target="../theme/themeOverride282.xml"/><Relationship Id="rId4" Type="http://schemas.openxmlformats.org/officeDocument/2006/relationships/image" Target="../media/image2.png"/></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24.xml"/><Relationship Id="rId1" Type="http://schemas.openxmlformats.org/officeDocument/2006/relationships/themeOverride" Target="../theme/themeOverride283.xml"/></Relationships>
</file>

<file path=ppt/slideLayouts/_rels/slideLayout36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284.xml"/></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731.xml"/><Relationship Id="rId2" Type="http://schemas.openxmlformats.org/officeDocument/2006/relationships/tags" Target="../tags/tag730.xml"/><Relationship Id="rId1" Type="http://schemas.openxmlformats.org/officeDocument/2006/relationships/themeOverride" Target="../theme/themeOverride285.xml"/><Relationship Id="rId5" Type="http://schemas.openxmlformats.org/officeDocument/2006/relationships/image" Target="../media/image9.png"/><Relationship Id="rId4"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733.xml"/><Relationship Id="rId2" Type="http://schemas.openxmlformats.org/officeDocument/2006/relationships/tags" Target="../tags/tag732.xml"/><Relationship Id="rId1" Type="http://schemas.openxmlformats.org/officeDocument/2006/relationships/themeOverride" Target="../theme/themeOverride286.xml"/><Relationship Id="rId6" Type="http://schemas.openxmlformats.org/officeDocument/2006/relationships/image" Target="../media/image9.png"/><Relationship Id="rId5" Type="http://schemas.openxmlformats.org/officeDocument/2006/relationships/slideMaster" Target="../slideMasters/slideMaster13.xml"/><Relationship Id="rId4" Type="http://schemas.openxmlformats.org/officeDocument/2006/relationships/tags" Target="../tags/tag73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hemeOverride" Target="../theme/themeOverride35.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736.xml"/><Relationship Id="rId2" Type="http://schemas.openxmlformats.org/officeDocument/2006/relationships/tags" Target="../tags/tag735.xml"/><Relationship Id="rId1" Type="http://schemas.openxmlformats.org/officeDocument/2006/relationships/themeOverride" Target="../theme/themeOverride287.xml"/><Relationship Id="rId6" Type="http://schemas.openxmlformats.org/officeDocument/2006/relationships/image" Target="../media/image9.png"/><Relationship Id="rId5" Type="http://schemas.openxmlformats.org/officeDocument/2006/relationships/slideMaster" Target="../slideMasters/slideMaster13.xml"/><Relationship Id="rId4" Type="http://schemas.openxmlformats.org/officeDocument/2006/relationships/tags" Target="../tags/tag737.xml"/></Relationships>
</file>

<file path=ppt/slideLayouts/_rels/slideLayout371.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hemeOverride" Target="../theme/themeOverride288.xml"/><Relationship Id="rId5" Type="http://schemas.openxmlformats.org/officeDocument/2006/relationships/image" Target="../media/image9.png"/><Relationship Id="rId4"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741.xml"/><Relationship Id="rId2" Type="http://schemas.openxmlformats.org/officeDocument/2006/relationships/tags" Target="../tags/tag740.xml"/><Relationship Id="rId1" Type="http://schemas.openxmlformats.org/officeDocument/2006/relationships/themeOverride" Target="../theme/themeOverride289.xml"/><Relationship Id="rId5" Type="http://schemas.openxmlformats.org/officeDocument/2006/relationships/image" Target="../media/image9.png"/><Relationship Id="rId4"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743.xml"/><Relationship Id="rId2" Type="http://schemas.openxmlformats.org/officeDocument/2006/relationships/tags" Target="../tags/tag742.xml"/><Relationship Id="rId1" Type="http://schemas.openxmlformats.org/officeDocument/2006/relationships/themeOverride" Target="../theme/themeOverride290.xml"/><Relationship Id="rId5" Type="http://schemas.openxmlformats.org/officeDocument/2006/relationships/image" Target="../media/image9.png"/><Relationship Id="rId4"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745.xml"/><Relationship Id="rId2" Type="http://schemas.openxmlformats.org/officeDocument/2006/relationships/tags" Target="../tags/tag744.xml"/><Relationship Id="rId1" Type="http://schemas.openxmlformats.org/officeDocument/2006/relationships/themeOverride" Target="../theme/themeOverride291.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46.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748.xml"/><Relationship Id="rId7" Type="http://schemas.openxmlformats.org/officeDocument/2006/relationships/image" Target="../media/image6.png"/><Relationship Id="rId2" Type="http://schemas.openxmlformats.org/officeDocument/2006/relationships/tags" Target="../tags/tag747.xml"/><Relationship Id="rId1" Type="http://schemas.openxmlformats.org/officeDocument/2006/relationships/themeOverride" Target="../theme/themeOverride292.xml"/><Relationship Id="rId6" Type="http://schemas.openxmlformats.org/officeDocument/2006/relationships/slideMaster" Target="../slideMasters/slideMaster13.xml"/><Relationship Id="rId5" Type="http://schemas.openxmlformats.org/officeDocument/2006/relationships/tags" Target="../tags/tag750.xml"/><Relationship Id="rId4" Type="http://schemas.openxmlformats.org/officeDocument/2006/relationships/tags" Target="../tags/tag749.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52.xml"/><Relationship Id="rId7" Type="http://schemas.openxmlformats.org/officeDocument/2006/relationships/slideMaster" Target="../slideMasters/slideMaster13.xml"/><Relationship Id="rId2" Type="http://schemas.openxmlformats.org/officeDocument/2006/relationships/tags" Target="../tags/tag751.xml"/><Relationship Id="rId1" Type="http://schemas.openxmlformats.org/officeDocument/2006/relationships/themeOverride" Target="../theme/themeOverride293.xml"/><Relationship Id="rId6" Type="http://schemas.openxmlformats.org/officeDocument/2006/relationships/tags" Target="../tags/tag755.xml"/><Relationship Id="rId5" Type="http://schemas.openxmlformats.org/officeDocument/2006/relationships/tags" Target="../tags/tag754.xml"/><Relationship Id="rId4" Type="http://schemas.openxmlformats.org/officeDocument/2006/relationships/tags" Target="../tags/tag753.xml"/></Relationships>
</file>

<file path=ppt/slideLayouts/_rels/slideLayout377.xml.rels><?xml version="1.0" encoding="UTF-8" standalone="yes"?>
<Relationships xmlns="http://schemas.openxmlformats.org/package/2006/relationships"><Relationship Id="rId3" Type="http://schemas.openxmlformats.org/officeDocument/2006/relationships/tags" Target="../tags/tag757.xml"/><Relationship Id="rId7" Type="http://schemas.openxmlformats.org/officeDocument/2006/relationships/image" Target="../media/image6.png"/><Relationship Id="rId2" Type="http://schemas.openxmlformats.org/officeDocument/2006/relationships/tags" Target="../tags/tag756.xml"/><Relationship Id="rId1" Type="http://schemas.openxmlformats.org/officeDocument/2006/relationships/themeOverride" Target="../theme/themeOverride294.xml"/><Relationship Id="rId6" Type="http://schemas.openxmlformats.org/officeDocument/2006/relationships/slideMaster" Target="../slideMasters/slideMaster13.xml"/><Relationship Id="rId5" Type="http://schemas.openxmlformats.org/officeDocument/2006/relationships/tags" Target="../tags/tag759.xml"/><Relationship Id="rId4" Type="http://schemas.openxmlformats.org/officeDocument/2006/relationships/tags" Target="../tags/tag758.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0.xml"/><Relationship Id="rId1" Type="http://schemas.openxmlformats.org/officeDocument/2006/relationships/themeOverride" Target="../theme/themeOverride295.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1.xml"/><Relationship Id="rId1" Type="http://schemas.openxmlformats.org/officeDocument/2006/relationships/themeOverride" Target="../theme/themeOverride296.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hemeOverride" Target="../theme/themeOverride36.xml"/><Relationship Id="rId6" Type="http://schemas.openxmlformats.org/officeDocument/2006/relationships/image" Target="../media/image5.png"/><Relationship Id="rId5" Type="http://schemas.openxmlformats.org/officeDocument/2006/relationships/slideMaster" Target="../slideMasters/slideMaster2.xml"/><Relationship Id="rId4" Type="http://schemas.openxmlformats.org/officeDocument/2006/relationships/tags" Target="../tags/tag8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2.xml"/><Relationship Id="rId1" Type="http://schemas.openxmlformats.org/officeDocument/2006/relationships/themeOverride" Target="../theme/themeOverride297.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3.xml"/><Relationship Id="rId1" Type="http://schemas.openxmlformats.org/officeDocument/2006/relationships/themeOverride" Target="../theme/themeOverride298.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4.xml"/><Relationship Id="rId1" Type="http://schemas.openxmlformats.org/officeDocument/2006/relationships/themeOverride" Target="../theme/themeOverride299.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5.xml"/><Relationship Id="rId1" Type="http://schemas.openxmlformats.org/officeDocument/2006/relationships/themeOverride" Target="../theme/themeOverride300.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66.xml"/><Relationship Id="rId1" Type="http://schemas.openxmlformats.org/officeDocument/2006/relationships/themeOverride" Target="../theme/themeOverride301.xml"/></Relationships>
</file>

<file path=ppt/slideLayouts/_rels/slideLayout385.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themeOverride" Target="../theme/themeOverride302.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69.xml"/></Relationships>
</file>

<file path=ppt/slideLayouts/_rels/slideLayout386.xml.rels><?xml version="1.0" encoding="UTF-8" standalone="yes"?>
<Relationships xmlns="http://schemas.openxmlformats.org/package/2006/relationships"><Relationship Id="rId3" Type="http://schemas.openxmlformats.org/officeDocument/2006/relationships/tags" Target="../tags/tag771.xml"/><Relationship Id="rId2" Type="http://schemas.openxmlformats.org/officeDocument/2006/relationships/tags" Target="../tags/tag770.xml"/><Relationship Id="rId1" Type="http://schemas.openxmlformats.org/officeDocument/2006/relationships/themeOverride" Target="../theme/themeOverride303.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72.xml"/></Relationships>
</file>

<file path=ppt/slideLayouts/_rels/slideLayout387.xml.rels><?xml version="1.0" encoding="UTF-8" standalone="yes"?>
<Relationships xmlns="http://schemas.openxmlformats.org/package/2006/relationships"><Relationship Id="rId3" Type="http://schemas.openxmlformats.org/officeDocument/2006/relationships/tags" Target="../tags/tag774.xml"/><Relationship Id="rId2" Type="http://schemas.openxmlformats.org/officeDocument/2006/relationships/tags" Target="../tags/tag773.xml"/><Relationship Id="rId1" Type="http://schemas.openxmlformats.org/officeDocument/2006/relationships/themeOverride" Target="../theme/themeOverride304.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75.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777.xml"/><Relationship Id="rId2" Type="http://schemas.openxmlformats.org/officeDocument/2006/relationships/tags" Target="../tags/tag776.xml"/><Relationship Id="rId1" Type="http://schemas.openxmlformats.org/officeDocument/2006/relationships/themeOverride" Target="../theme/themeOverride305.xml"/><Relationship Id="rId5" Type="http://schemas.openxmlformats.org/officeDocument/2006/relationships/image" Target="../media/image6.png"/><Relationship Id="rId4"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779.xml"/><Relationship Id="rId7" Type="http://schemas.openxmlformats.org/officeDocument/2006/relationships/image" Target="../media/image6.png"/><Relationship Id="rId2" Type="http://schemas.openxmlformats.org/officeDocument/2006/relationships/tags" Target="../tags/tag778.xml"/><Relationship Id="rId1" Type="http://schemas.openxmlformats.org/officeDocument/2006/relationships/themeOverride" Target="../theme/themeOverride306.xml"/><Relationship Id="rId6" Type="http://schemas.openxmlformats.org/officeDocument/2006/relationships/slideMaster" Target="../slideMasters/slideMaster13.xml"/><Relationship Id="rId5" Type="http://schemas.openxmlformats.org/officeDocument/2006/relationships/tags" Target="../tags/tag781.xml"/><Relationship Id="rId4" Type="http://schemas.openxmlformats.org/officeDocument/2006/relationships/tags" Target="../tags/tag780.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hemeOverride" Target="../theme/themeOverride37.xml"/><Relationship Id="rId6" Type="http://schemas.openxmlformats.org/officeDocument/2006/relationships/image" Target="../media/image5.png"/><Relationship Id="rId5" Type="http://schemas.openxmlformats.org/officeDocument/2006/relationships/slideMaster" Target="../slideMasters/slideMaster2.xml"/><Relationship Id="rId4" Type="http://schemas.openxmlformats.org/officeDocument/2006/relationships/tags" Target="../tags/tag85.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2.xml"/><Relationship Id="rId1" Type="http://schemas.openxmlformats.org/officeDocument/2006/relationships/themeOverride" Target="../theme/themeOverride307.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3.xml"/><Relationship Id="rId1" Type="http://schemas.openxmlformats.org/officeDocument/2006/relationships/themeOverride" Target="../theme/themeOverride308.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4.xml"/><Relationship Id="rId1" Type="http://schemas.openxmlformats.org/officeDocument/2006/relationships/themeOverride" Target="../theme/themeOverride309.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5.xml"/><Relationship Id="rId1" Type="http://schemas.openxmlformats.org/officeDocument/2006/relationships/themeOverride" Target="../theme/themeOverride310.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6.xml"/><Relationship Id="rId1" Type="http://schemas.openxmlformats.org/officeDocument/2006/relationships/themeOverride" Target="../theme/themeOverride311.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7.xml"/><Relationship Id="rId1" Type="http://schemas.openxmlformats.org/officeDocument/2006/relationships/themeOverride" Target="../theme/themeOverride312.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8.xml"/><Relationship Id="rId1" Type="http://schemas.openxmlformats.org/officeDocument/2006/relationships/themeOverride" Target="../theme/themeOverride313.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789.xml"/><Relationship Id="rId1" Type="http://schemas.openxmlformats.org/officeDocument/2006/relationships/themeOverride" Target="../theme/themeOverride314.xml"/></Relationships>
</file>

<file path=ppt/slideLayouts/_rels/slideLayout398.xml.rels><?xml version="1.0" encoding="UTF-8" standalone="yes"?>
<Relationships xmlns="http://schemas.openxmlformats.org/package/2006/relationships"><Relationship Id="rId3" Type="http://schemas.openxmlformats.org/officeDocument/2006/relationships/tags" Target="../tags/tag791.xml"/><Relationship Id="rId2" Type="http://schemas.openxmlformats.org/officeDocument/2006/relationships/tags" Target="../tags/tag790.xml"/><Relationship Id="rId1" Type="http://schemas.openxmlformats.org/officeDocument/2006/relationships/themeOverride" Target="../theme/themeOverride315.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92.xml"/></Relationships>
</file>

<file path=ppt/slideLayouts/_rels/slideLayout399.xml.rels><?xml version="1.0" encoding="UTF-8" standalone="yes"?>
<Relationships xmlns="http://schemas.openxmlformats.org/package/2006/relationships"><Relationship Id="rId3" Type="http://schemas.openxmlformats.org/officeDocument/2006/relationships/tags" Target="../tags/tag794.xml"/><Relationship Id="rId2" Type="http://schemas.openxmlformats.org/officeDocument/2006/relationships/tags" Target="../tags/tag793.xml"/><Relationship Id="rId1" Type="http://schemas.openxmlformats.org/officeDocument/2006/relationships/themeOverride" Target="../theme/themeOverride316.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9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hemeOverride" Target="../theme/themeOverride38.xml"/></Relationships>
</file>

<file path=ppt/slideLayouts/_rels/slideLayout400.xml.rels><?xml version="1.0" encoding="UTF-8" standalone="yes"?>
<Relationships xmlns="http://schemas.openxmlformats.org/package/2006/relationships"><Relationship Id="rId3" Type="http://schemas.openxmlformats.org/officeDocument/2006/relationships/tags" Target="../tags/tag797.xml"/><Relationship Id="rId2" Type="http://schemas.openxmlformats.org/officeDocument/2006/relationships/tags" Target="../tags/tag796.xml"/><Relationship Id="rId1" Type="http://schemas.openxmlformats.org/officeDocument/2006/relationships/themeOverride" Target="../theme/themeOverride317.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798.xml"/></Relationships>
</file>

<file path=ppt/slideLayouts/_rels/slideLayout401.xml.rels><?xml version="1.0" encoding="UTF-8" standalone="yes"?>
<Relationships xmlns="http://schemas.openxmlformats.org/package/2006/relationships"><Relationship Id="rId3" Type="http://schemas.openxmlformats.org/officeDocument/2006/relationships/tags" Target="../tags/tag800.xml"/><Relationship Id="rId2" Type="http://schemas.openxmlformats.org/officeDocument/2006/relationships/tags" Target="../tags/tag799.xml"/><Relationship Id="rId1" Type="http://schemas.openxmlformats.org/officeDocument/2006/relationships/themeOverride" Target="../theme/themeOverride318.xml"/><Relationship Id="rId6" Type="http://schemas.openxmlformats.org/officeDocument/2006/relationships/image" Target="../media/image6.png"/><Relationship Id="rId5" Type="http://schemas.openxmlformats.org/officeDocument/2006/relationships/slideMaster" Target="../slideMasters/slideMaster13.xml"/><Relationship Id="rId4" Type="http://schemas.openxmlformats.org/officeDocument/2006/relationships/tags" Target="../tags/tag801.xml"/></Relationships>
</file>

<file path=ppt/slideLayouts/_rels/slideLayout402.xml.rels><?xml version="1.0" encoding="UTF-8" standalone="yes"?>
<Relationships xmlns="http://schemas.openxmlformats.org/package/2006/relationships"><Relationship Id="rId3" Type="http://schemas.openxmlformats.org/officeDocument/2006/relationships/tags" Target="../tags/tag803.xml"/><Relationship Id="rId2" Type="http://schemas.openxmlformats.org/officeDocument/2006/relationships/tags" Target="../tags/tag802.xml"/><Relationship Id="rId1" Type="http://schemas.openxmlformats.org/officeDocument/2006/relationships/themeOverride" Target="../theme/themeOverride319.xml"/><Relationship Id="rId5" Type="http://schemas.openxmlformats.org/officeDocument/2006/relationships/image" Target="../media/image6.png"/><Relationship Id="rId4"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3" Type="http://schemas.openxmlformats.org/officeDocument/2006/relationships/tags" Target="../tags/tag805.xml"/><Relationship Id="rId2" Type="http://schemas.openxmlformats.org/officeDocument/2006/relationships/tags" Target="../tags/tag804.xml"/><Relationship Id="rId1" Type="http://schemas.openxmlformats.org/officeDocument/2006/relationships/themeOverride" Target="../theme/themeOverride320.xml"/><Relationship Id="rId5" Type="http://schemas.openxmlformats.org/officeDocument/2006/relationships/image" Target="../media/image6.png"/><Relationship Id="rId4"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6.xml"/><Relationship Id="rId1" Type="http://schemas.openxmlformats.org/officeDocument/2006/relationships/themeOverride" Target="../theme/themeOverride321.xml"/><Relationship Id="rId4" Type="http://schemas.openxmlformats.org/officeDocument/2006/relationships/image" Target="../media/image9.png"/></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7.xml"/><Relationship Id="rId1" Type="http://schemas.openxmlformats.org/officeDocument/2006/relationships/themeOverride" Target="../theme/themeOverride322.xml"/><Relationship Id="rId4" Type="http://schemas.openxmlformats.org/officeDocument/2006/relationships/image" Target="../media/image9.png"/></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8.xml"/><Relationship Id="rId1" Type="http://schemas.openxmlformats.org/officeDocument/2006/relationships/themeOverride" Target="../theme/themeOverride323.xml"/><Relationship Id="rId4" Type="http://schemas.openxmlformats.org/officeDocument/2006/relationships/image" Target="../media/image9.png"/></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09.xml"/><Relationship Id="rId1" Type="http://schemas.openxmlformats.org/officeDocument/2006/relationships/themeOverride" Target="../theme/themeOverride324.xml"/><Relationship Id="rId4" Type="http://schemas.openxmlformats.org/officeDocument/2006/relationships/image" Target="../media/image2.png"/></Relationships>
</file>

<file path=ppt/slideLayouts/_rels/slideLayout4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10.xml"/><Relationship Id="rId1" Type="http://schemas.openxmlformats.org/officeDocument/2006/relationships/themeOverride" Target="../theme/themeOverride325.xml"/></Relationships>
</file>

<file path=ppt/slideLayouts/_rels/slideLayout40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26.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88.xml"/><Relationship Id="rId7"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hemeOverride" Target="../theme/themeOverride39.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9" Type="http://schemas.openxmlformats.org/officeDocument/2006/relationships/image" Target="../media/image4.png"/></Relationships>
</file>

<file path=ppt/slideLayouts/_rels/slideLayout41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27.xml"/></Relationships>
</file>

<file path=ppt/slideLayouts/_rels/slideLayout411.xml.rels><?xml version="1.0" encoding="UTF-8" standalone="yes"?>
<Relationships xmlns="http://schemas.openxmlformats.org/package/2006/relationships"><Relationship Id="rId3" Type="http://schemas.openxmlformats.org/officeDocument/2006/relationships/tags" Target="../tags/tag816.xml"/><Relationship Id="rId2" Type="http://schemas.openxmlformats.org/officeDocument/2006/relationships/tags" Target="../tags/tag815.xml"/><Relationship Id="rId1" Type="http://schemas.openxmlformats.org/officeDocument/2006/relationships/themeOverride" Target="../theme/themeOverride328.xml"/><Relationship Id="rId5" Type="http://schemas.openxmlformats.org/officeDocument/2006/relationships/image" Target="../media/image9.png"/><Relationship Id="rId4"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3" Type="http://schemas.openxmlformats.org/officeDocument/2006/relationships/tags" Target="../tags/tag818.xml"/><Relationship Id="rId2" Type="http://schemas.openxmlformats.org/officeDocument/2006/relationships/tags" Target="../tags/tag817.xml"/><Relationship Id="rId1" Type="http://schemas.openxmlformats.org/officeDocument/2006/relationships/themeOverride" Target="../theme/themeOverride329.xml"/><Relationship Id="rId6" Type="http://schemas.openxmlformats.org/officeDocument/2006/relationships/image" Target="../media/image9.png"/><Relationship Id="rId5" Type="http://schemas.openxmlformats.org/officeDocument/2006/relationships/slideMaster" Target="../slideMasters/slideMaster14.xml"/><Relationship Id="rId4" Type="http://schemas.openxmlformats.org/officeDocument/2006/relationships/tags" Target="../tags/tag819.xml"/></Relationships>
</file>

<file path=ppt/slideLayouts/_rels/slideLayout413.xml.rels><?xml version="1.0" encoding="UTF-8" standalone="yes"?>
<Relationships xmlns="http://schemas.openxmlformats.org/package/2006/relationships"><Relationship Id="rId3" Type="http://schemas.openxmlformats.org/officeDocument/2006/relationships/tags" Target="../tags/tag821.xml"/><Relationship Id="rId2" Type="http://schemas.openxmlformats.org/officeDocument/2006/relationships/tags" Target="../tags/tag820.xml"/><Relationship Id="rId1" Type="http://schemas.openxmlformats.org/officeDocument/2006/relationships/themeOverride" Target="../theme/themeOverride330.xml"/><Relationship Id="rId6" Type="http://schemas.openxmlformats.org/officeDocument/2006/relationships/image" Target="../media/image9.png"/><Relationship Id="rId5" Type="http://schemas.openxmlformats.org/officeDocument/2006/relationships/slideMaster" Target="../slideMasters/slideMaster14.xml"/><Relationship Id="rId4" Type="http://schemas.openxmlformats.org/officeDocument/2006/relationships/tags" Target="../tags/tag822.xml"/></Relationships>
</file>

<file path=ppt/slideLayouts/_rels/slideLayout414.xml.rels><?xml version="1.0" encoding="UTF-8" standalone="yes"?>
<Relationships xmlns="http://schemas.openxmlformats.org/package/2006/relationships"><Relationship Id="rId3" Type="http://schemas.openxmlformats.org/officeDocument/2006/relationships/tags" Target="../tags/tag824.xml"/><Relationship Id="rId2" Type="http://schemas.openxmlformats.org/officeDocument/2006/relationships/tags" Target="../tags/tag823.xml"/><Relationship Id="rId1" Type="http://schemas.openxmlformats.org/officeDocument/2006/relationships/themeOverride" Target="../theme/themeOverride331.xml"/><Relationship Id="rId5" Type="http://schemas.openxmlformats.org/officeDocument/2006/relationships/image" Target="../media/image9.png"/><Relationship Id="rId4"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3" Type="http://schemas.openxmlformats.org/officeDocument/2006/relationships/tags" Target="../tags/tag826.xml"/><Relationship Id="rId2" Type="http://schemas.openxmlformats.org/officeDocument/2006/relationships/tags" Target="../tags/tag825.xml"/><Relationship Id="rId1" Type="http://schemas.openxmlformats.org/officeDocument/2006/relationships/themeOverride" Target="../theme/themeOverride332.xml"/><Relationship Id="rId5" Type="http://schemas.openxmlformats.org/officeDocument/2006/relationships/image" Target="../media/image9.png"/><Relationship Id="rId4"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3" Type="http://schemas.openxmlformats.org/officeDocument/2006/relationships/tags" Target="../tags/tag828.xml"/><Relationship Id="rId2" Type="http://schemas.openxmlformats.org/officeDocument/2006/relationships/tags" Target="../tags/tag827.xml"/><Relationship Id="rId1" Type="http://schemas.openxmlformats.org/officeDocument/2006/relationships/themeOverride" Target="../theme/themeOverride333.xml"/><Relationship Id="rId5" Type="http://schemas.openxmlformats.org/officeDocument/2006/relationships/image" Target="../media/image9.png"/><Relationship Id="rId4"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3" Type="http://schemas.openxmlformats.org/officeDocument/2006/relationships/tags" Target="../tags/tag830.xml"/><Relationship Id="rId7" Type="http://schemas.openxmlformats.org/officeDocument/2006/relationships/image" Target="../media/image6.png"/><Relationship Id="rId2" Type="http://schemas.openxmlformats.org/officeDocument/2006/relationships/tags" Target="../tags/tag829.xml"/><Relationship Id="rId1" Type="http://schemas.openxmlformats.org/officeDocument/2006/relationships/themeOverride" Target="../theme/themeOverride334.xml"/><Relationship Id="rId6" Type="http://schemas.openxmlformats.org/officeDocument/2006/relationships/slideMaster" Target="../slideMasters/slideMaster14.xml"/><Relationship Id="rId5" Type="http://schemas.openxmlformats.org/officeDocument/2006/relationships/tags" Target="../tags/tag832.xml"/><Relationship Id="rId4" Type="http://schemas.openxmlformats.org/officeDocument/2006/relationships/tags" Target="../tags/tag831.xml"/></Relationships>
</file>

<file path=ppt/slideLayouts/_rels/slideLayout418.xml.rels><?xml version="1.0" encoding="UTF-8" standalone="yes"?>
<Relationships xmlns="http://schemas.openxmlformats.org/package/2006/relationships"><Relationship Id="rId3" Type="http://schemas.openxmlformats.org/officeDocument/2006/relationships/tags" Target="../tags/tag834.xml"/><Relationship Id="rId7" Type="http://schemas.openxmlformats.org/officeDocument/2006/relationships/image" Target="../media/image6.png"/><Relationship Id="rId2" Type="http://schemas.openxmlformats.org/officeDocument/2006/relationships/tags" Target="../tags/tag833.xml"/><Relationship Id="rId1" Type="http://schemas.openxmlformats.org/officeDocument/2006/relationships/themeOverride" Target="../theme/themeOverride335.xml"/><Relationship Id="rId6" Type="http://schemas.openxmlformats.org/officeDocument/2006/relationships/slideMaster" Target="../slideMasters/slideMaster14.xml"/><Relationship Id="rId5" Type="http://schemas.openxmlformats.org/officeDocument/2006/relationships/tags" Target="../tags/tag836.xml"/><Relationship Id="rId4" Type="http://schemas.openxmlformats.org/officeDocument/2006/relationships/tags" Target="../tags/tag835.xml"/></Relationships>
</file>

<file path=ppt/slideLayouts/_rels/slideLayout4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38.xml"/><Relationship Id="rId7" Type="http://schemas.openxmlformats.org/officeDocument/2006/relationships/slideMaster" Target="../slideMasters/slideMaster14.xml"/><Relationship Id="rId2" Type="http://schemas.openxmlformats.org/officeDocument/2006/relationships/tags" Target="../tags/tag837.xml"/><Relationship Id="rId1" Type="http://schemas.openxmlformats.org/officeDocument/2006/relationships/themeOverride" Target="../theme/themeOverride336.xml"/><Relationship Id="rId6" Type="http://schemas.openxmlformats.org/officeDocument/2006/relationships/tags" Target="../tags/tag841.xml"/><Relationship Id="rId5" Type="http://schemas.openxmlformats.org/officeDocument/2006/relationships/tags" Target="../tags/tag840.xml"/><Relationship Id="rId4" Type="http://schemas.openxmlformats.org/officeDocument/2006/relationships/tags" Target="../tags/tag83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7.png"/><Relationship Id="rId2" Type="http://schemas.openxmlformats.org/officeDocument/2006/relationships/tags" Target="../tags/tag92.xml"/><Relationship Id="rId1" Type="http://schemas.openxmlformats.org/officeDocument/2006/relationships/themeOverride" Target="../theme/themeOverride40.xml"/><Relationship Id="rId6" Type="http://schemas.openxmlformats.org/officeDocument/2006/relationships/slideMaster" Target="../slideMasters/slideMaster2.xml"/><Relationship Id="rId5" Type="http://schemas.openxmlformats.org/officeDocument/2006/relationships/tags" Target="../tags/tag95.xml"/><Relationship Id="rId4" Type="http://schemas.openxmlformats.org/officeDocument/2006/relationships/tags" Target="../tags/tag94.xml"/></Relationships>
</file>

<file path=ppt/slideLayouts/_rels/slideLayout420.xml.rels><?xml version="1.0" encoding="UTF-8" standalone="yes"?>
<Relationships xmlns="http://schemas.openxmlformats.org/package/2006/relationships"><Relationship Id="rId3" Type="http://schemas.openxmlformats.org/officeDocument/2006/relationships/tags" Target="../tags/tag843.xml"/><Relationship Id="rId7" Type="http://schemas.openxmlformats.org/officeDocument/2006/relationships/image" Target="../media/image6.png"/><Relationship Id="rId2" Type="http://schemas.openxmlformats.org/officeDocument/2006/relationships/tags" Target="../tags/tag842.xml"/><Relationship Id="rId1" Type="http://schemas.openxmlformats.org/officeDocument/2006/relationships/themeOverride" Target="../theme/themeOverride337.xml"/><Relationship Id="rId6" Type="http://schemas.openxmlformats.org/officeDocument/2006/relationships/slideMaster" Target="../slideMasters/slideMaster14.xml"/><Relationship Id="rId5" Type="http://schemas.openxmlformats.org/officeDocument/2006/relationships/tags" Target="../tags/tag845.xml"/><Relationship Id="rId4" Type="http://schemas.openxmlformats.org/officeDocument/2006/relationships/tags" Target="../tags/tag844.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46.xml"/><Relationship Id="rId1" Type="http://schemas.openxmlformats.org/officeDocument/2006/relationships/themeOverride" Target="../theme/themeOverride338.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47.xml"/><Relationship Id="rId1" Type="http://schemas.openxmlformats.org/officeDocument/2006/relationships/themeOverride" Target="../theme/themeOverride339.xml"/></Relationships>
</file>

<file path=ppt/slideLayouts/_rels/slideLayout4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48.xml"/><Relationship Id="rId1" Type="http://schemas.openxmlformats.org/officeDocument/2006/relationships/themeOverride" Target="../theme/themeOverride340.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49.xml"/><Relationship Id="rId1" Type="http://schemas.openxmlformats.org/officeDocument/2006/relationships/themeOverride" Target="../theme/themeOverride341.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0.xml"/><Relationship Id="rId1" Type="http://schemas.openxmlformats.org/officeDocument/2006/relationships/themeOverride" Target="../theme/themeOverride342.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1.xml"/><Relationship Id="rId1" Type="http://schemas.openxmlformats.org/officeDocument/2006/relationships/themeOverride" Target="../theme/themeOverride343.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2.xml"/><Relationship Id="rId1" Type="http://schemas.openxmlformats.org/officeDocument/2006/relationships/themeOverride" Target="../theme/themeOverride344.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53.xml"/><Relationship Id="rId1" Type="http://schemas.openxmlformats.org/officeDocument/2006/relationships/themeOverride" Target="../theme/themeOverride345.xml"/></Relationships>
</file>

<file path=ppt/slideLayouts/_rels/slideLayout429.xml.rels><?xml version="1.0" encoding="UTF-8" standalone="yes"?>
<Relationships xmlns="http://schemas.openxmlformats.org/package/2006/relationships"><Relationship Id="rId3" Type="http://schemas.openxmlformats.org/officeDocument/2006/relationships/tags" Target="../tags/tag855.xml"/><Relationship Id="rId2" Type="http://schemas.openxmlformats.org/officeDocument/2006/relationships/tags" Target="../tags/tag854.xml"/><Relationship Id="rId1" Type="http://schemas.openxmlformats.org/officeDocument/2006/relationships/themeOverride" Target="../theme/themeOverride346.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5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tags" Target="../tags/tag858.xml"/><Relationship Id="rId2" Type="http://schemas.openxmlformats.org/officeDocument/2006/relationships/tags" Target="../tags/tag857.xml"/><Relationship Id="rId1" Type="http://schemas.openxmlformats.org/officeDocument/2006/relationships/themeOverride" Target="../theme/themeOverride347.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59.xml"/></Relationships>
</file>

<file path=ppt/slideLayouts/_rels/slideLayout431.xml.rels><?xml version="1.0" encoding="UTF-8" standalone="yes"?>
<Relationships xmlns="http://schemas.openxmlformats.org/package/2006/relationships"><Relationship Id="rId3" Type="http://schemas.openxmlformats.org/officeDocument/2006/relationships/tags" Target="../tags/tag861.xml"/><Relationship Id="rId2" Type="http://schemas.openxmlformats.org/officeDocument/2006/relationships/tags" Target="../tags/tag860.xml"/><Relationship Id="rId1" Type="http://schemas.openxmlformats.org/officeDocument/2006/relationships/themeOverride" Target="../theme/themeOverride348.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62.xml"/></Relationships>
</file>

<file path=ppt/slideLayouts/_rels/slideLayout432.xml.rels><?xml version="1.0" encoding="UTF-8" standalone="yes"?>
<Relationships xmlns="http://schemas.openxmlformats.org/package/2006/relationships"><Relationship Id="rId3" Type="http://schemas.openxmlformats.org/officeDocument/2006/relationships/tags" Target="../tags/tag864.xml"/><Relationship Id="rId2" Type="http://schemas.openxmlformats.org/officeDocument/2006/relationships/tags" Target="../tags/tag863.xml"/><Relationship Id="rId1" Type="http://schemas.openxmlformats.org/officeDocument/2006/relationships/themeOverride" Target="../theme/themeOverride349.xml"/><Relationship Id="rId5" Type="http://schemas.openxmlformats.org/officeDocument/2006/relationships/image" Target="../media/image6.png"/><Relationship Id="rId4"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3" Type="http://schemas.openxmlformats.org/officeDocument/2006/relationships/tags" Target="../tags/tag866.xml"/><Relationship Id="rId7" Type="http://schemas.openxmlformats.org/officeDocument/2006/relationships/image" Target="../media/image6.png"/><Relationship Id="rId2" Type="http://schemas.openxmlformats.org/officeDocument/2006/relationships/tags" Target="../tags/tag865.xml"/><Relationship Id="rId1" Type="http://schemas.openxmlformats.org/officeDocument/2006/relationships/themeOverride" Target="../theme/themeOverride350.xml"/><Relationship Id="rId6" Type="http://schemas.openxmlformats.org/officeDocument/2006/relationships/slideMaster" Target="../slideMasters/slideMaster14.xml"/><Relationship Id="rId5" Type="http://schemas.openxmlformats.org/officeDocument/2006/relationships/tags" Target="../tags/tag868.xml"/><Relationship Id="rId4" Type="http://schemas.openxmlformats.org/officeDocument/2006/relationships/tags" Target="../tags/tag867.xml"/></Relationships>
</file>

<file path=ppt/slideLayouts/_rels/slideLayout4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69.xml"/><Relationship Id="rId1" Type="http://schemas.openxmlformats.org/officeDocument/2006/relationships/themeOverride" Target="../theme/themeOverride351.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0.xml"/><Relationship Id="rId1" Type="http://schemas.openxmlformats.org/officeDocument/2006/relationships/themeOverride" Target="../theme/themeOverride352.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1.xml"/><Relationship Id="rId1" Type="http://schemas.openxmlformats.org/officeDocument/2006/relationships/themeOverride" Target="../theme/themeOverride353.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2.xml"/><Relationship Id="rId1" Type="http://schemas.openxmlformats.org/officeDocument/2006/relationships/themeOverride" Target="../theme/themeOverride354.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3.xml"/><Relationship Id="rId1" Type="http://schemas.openxmlformats.org/officeDocument/2006/relationships/themeOverride" Target="../theme/themeOverride355.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4.xml"/><Relationship Id="rId1" Type="http://schemas.openxmlformats.org/officeDocument/2006/relationships/themeOverride" Target="../theme/themeOverride35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hemeOverride" Target="../theme/themeOverride41.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5.xml"/><Relationship Id="rId1" Type="http://schemas.openxmlformats.org/officeDocument/2006/relationships/themeOverride" Target="../theme/themeOverride357.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76.xml"/><Relationship Id="rId1" Type="http://schemas.openxmlformats.org/officeDocument/2006/relationships/themeOverride" Target="../theme/themeOverride358.xml"/></Relationships>
</file>

<file path=ppt/slideLayouts/_rels/slideLayout442.xml.rels><?xml version="1.0" encoding="UTF-8" standalone="yes"?>
<Relationships xmlns="http://schemas.openxmlformats.org/package/2006/relationships"><Relationship Id="rId3" Type="http://schemas.openxmlformats.org/officeDocument/2006/relationships/tags" Target="../tags/tag878.xml"/><Relationship Id="rId2" Type="http://schemas.openxmlformats.org/officeDocument/2006/relationships/tags" Target="../tags/tag877.xml"/><Relationship Id="rId1" Type="http://schemas.openxmlformats.org/officeDocument/2006/relationships/themeOverride" Target="../theme/themeOverride359.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79.xml"/></Relationships>
</file>

<file path=ppt/slideLayouts/_rels/slideLayout443.xml.rels><?xml version="1.0" encoding="UTF-8" standalone="yes"?>
<Relationships xmlns="http://schemas.openxmlformats.org/package/2006/relationships"><Relationship Id="rId3" Type="http://schemas.openxmlformats.org/officeDocument/2006/relationships/tags" Target="../tags/tag881.xml"/><Relationship Id="rId2" Type="http://schemas.openxmlformats.org/officeDocument/2006/relationships/tags" Target="../tags/tag880.xml"/><Relationship Id="rId1" Type="http://schemas.openxmlformats.org/officeDocument/2006/relationships/themeOverride" Target="../theme/themeOverride360.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82.xml"/></Relationships>
</file>

<file path=ppt/slideLayouts/_rels/slideLayout444.xml.rels><?xml version="1.0" encoding="UTF-8" standalone="yes"?>
<Relationships xmlns="http://schemas.openxmlformats.org/package/2006/relationships"><Relationship Id="rId3" Type="http://schemas.openxmlformats.org/officeDocument/2006/relationships/tags" Target="../tags/tag884.xml"/><Relationship Id="rId2" Type="http://schemas.openxmlformats.org/officeDocument/2006/relationships/tags" Target="../tags/tag883.xml"/><Relationship Id="rId1" Type="http://schemas.openxmlformats.org/officeDocument/2006/relationships/themeOverride" Target="../theme/themeOverride361.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85.xml"/></Relationships>
</file>

<file path=ppt/slideLayouts/_rels/slideLayout445.xml.rels><?xml version="1.0" encoding="UTF-8" standalone="yes"?>
<Relationships xmlns="http://schemas.openxmlformats.org/package/2006/relationships"><Relationship Id="rId3" Type="http://schemas.openxmlformats.org/officeDocument/2006/relationships/tags" Target="../tags/tag887.xml"/><Relationship Id="rId2" Type="http://schemas.openxmlformats.org/officeDocument/2006/relationships/tags" Target="../tags/tag886.xml"/><Relationship Id="rId1" Type="http://schemas.openxmlformats.org/officeDocument/2006/relationships/themeOverride" Target="../theme/themeOverride362.xml"/><Relationship Id="rId6" Type="http://schemas.openxmlformats.org/officeDocument/2006/relationships/image" Target="../media/image6.png"/><Relationship Id="rId5" Type="http://schemas.openxmlformats.org/officeDocument/2006/relationships/slideMaster" Target="../slideMasters/slideMaster14.xml"/><Relationship Id="rId4" Type="http://schemas.openxmlformats.org/officeDocument/2006/relationships/tags" Target="../tags/tag888.xml"/></Relationships>
</file>

<file path=ppt/slideLayouts/_rels/slideLayout446.xml.rels><?xml version="1.0" encoding="UTF-8" standalone="yes"?>
<Relationships xmlns="http://schemas.openxmlformats.org/package/2006/relationships"><Relationship Id="rId3" Type="http://schemas.openxmlformats.org/officeDocument/2006/relationships/tags" Target="../tags/tag890.xml"/><Relationship Id="rId2" Type="http://schemas.openxmlformats.org/officeDocument/2006/relationships/tags" Target="../tags/tag889.xml"/><Relationship Id="rId1" Type="http://schemas.openxmlformats.org/officeDocument/2006/relationships/themeOverride" Target="../theme/themeOverride363.xml"/><Relationship Id="rId5" Type="http://schemas.openxmlformats.org/officeDocument/2006/relationships/image" Target="../media/image6.png"/><Relationship Id="rId4"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3" Type="http://schemas.openxmlformats.org/officeDocument/2006/relationships/tags" Target="../tags/tag892.xml"/><Relationship Id="rId2" Type="http://schemas.openxmlformats.org/officeDocument/2006/relationships/tags" Target="../tags/tag891.xml"/><Relationship Id="rId1" Type="http://schemas.openxmlformats.org/officeDocument/2006/relationships/themeOverride" Target="../theme/themeOverride364.xml"/><Relationship Id="rId5" Type="http://schemas.openxmlformats.org/officeDocument/2006/relationships/image" Target="../media/image6.png"/><Relationship Id="rId4"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3.xml"/><Relationship Id="rId1" Type="http://schemas.openxmlformats.org/officeDocument/2006/relationships/themeOverride" Target="../theme/themeOverride365.xml"/><Relationship Id="rId4" Type="http://schemas.openxmlformats.org/officeDocument/2006/relationships/image" Target="../media/image9.png"/></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4.xml"/><Relationship Id="rId1" Type="http://schemas.openxmlformats.org/officeDocument/2006/relationships/themeOverride" Target="../theme/themeOverride366.xml"/><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hemeOverride" Target="../theme/themeOverride42.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5.xml"/><Relationship Id="rId1" Type="http://schemas.openxmlformats.org/officeDocument/2006/relationships/themeOverride" Target="../theme/themeOverride367.xml"/><Relationship Id="rId4" Type="http://schemas.openxmlformats.org/officeDocument/2006/relationships/image" Target="../media/image9.png"/></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6.xml"/><Relationship Id="rId1" Type="http://schemas.openxmlformats.org/officeDocument/2006/relationships/themeOverride" Target="../theme/themeOverride368.xml"/><Relationship Id="rId4" Type="http://schemas.openxmlformats.org/officeDocument/2006/relationships/image" Target="../media/image2.png"/></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897.xml"/><Relationship Id="rId1" Type="http://schemas.openxmlformats.org/officeDocument/2006/relationships/themeOverride" Target="../theme/themeOverride369.xml"/></Relationships>
</file>

<file path=ppt/slideLayouts/_rels/slideLayout45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370.xml"/></Relationships>
</file>

<file path=ppt/slideLayouts/_rels/slideLayout454.xml.rels><?xml version="1.0" encoding="UTF-8" standalone="yes"?>
<Relationships xmlns="http://schemas.openxmlformats.org/package/2006/relationships"><Relationship Id="rId3" Type="http://schemas.openxmlformats.org/officeDocument/2006/relationships/tags" Target="../tags/tag899.xml"/><Relationship Id="rId7" Type="http://schemas.openxmlformats.org/officeDocument/2006/relationships/image" Target="../media/image4.png"/><Relationship Id="rId2" Type="http://schemas.openxmlformats.org/officeDocument/2006/relationships/tags" Target="../tags/tag898.xml"/><Relationship Id="rId1" Type="http://schemas.openxmlformats.org/officeDocument/2006/relationships/themeOverride" Target="../theme/themeOverride371.xml"/><Relationship Id="rId6" Type="http://schemas.openxmlformats.org/officeDocument/2006/relationships/image" Target="../media/image13.jpeg"/><Relationship Id="rId5" Type="http://schemas.openxmlformats.org/officeDocument/2006/relationships/slideMaster" Target="../slideMasters/slideMaster14.xml"/><Relationship Id="rId4" Type="http://schemas.openxmlformats.org/officeDocument/2006/relationships/tags" Target="../tags/tag900.xml"/></Relationships>
</file>

<file path=ppt/slideLayouts/_rels/slideLayout45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372.xml"/></Relationships>
</file>

<file path=ppt/slideLayouts/_rels/slideLayout4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07.xml"/><Relationship Id="rId1" Type="http://schemas.openxmlformats.org/officeDocument/2006/relationships/tags" Target="../tags/tag906.xml"/><Relationship Id="rId4" Type="http://schemas.openxmlformats.org/officeDocument/2006/relationships/image" Target="../media/image9.png"/></Relationships>
</file>

<file path=ppt/slideLayouts/_rels/slideLayout457.xml.rels><?xml version="1.0" encoding="UTF-8" standalone="yes"?>
<Relationships xmlns="http://schemas.openxmlformats.org/package/2006/relationships"><Relationship Id="rId3" Type="http://schemas.openxmlformats.org/officeDocument/2006/relationships/tags" Target="../tags/tag910.xml"/><Relationship Id="rId2" Type="http://schemas.openxmlformats.org/officeDocument/2006/relationships/tags" Target="../tags/tag909.xml"/><Relationship Id="rId1" Type="http://schemas.openxmlformats.org/officeDocument/2006/relationships/tags" Target="../tags/tag908.xml"/><Relationship Id="rId5" Type="http://schemas.openxmlformats.org/officeDocument/2006/relationships/image" Target="../media/image9.png"/><Relationship Id="rId4"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tags" Target="../tags/tag913.xml"/><Relationship Id="rId2" Type="http://schemas.openxmlformats.org/officeDocument/2006/relationships/tags" Target="../tags/tag912.xml"/><Relationship Id="rId1" Type="http://schemas.openxmlformats.org/officeDocument/2006/relationships/tags" Target="../tags/tag911.xml"/><Relationship Id="rId5" Type="http://schemas.openxmlformats.org/officeDocument/2006/relationships/image" Target="../media/image9.png"/><Relationship Id="rId4"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15.xml"/><Relationship Id="rId1" Type="http://schemas.openxmlformats.org/officeDocument/2006/relationships/tags" Target="../tags/tag914.xml"/><Relationship Id="rId4" Type="http://schemas.openxmlformats.org/officeDocument/2006/relationships/image" Target="../media/image9.png"/></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8.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17.xml"/><Relationship Id="rId1" Type="http://schemas.openxmlformats.org/officeDocument/2006/relationships/tags" Target="../tags/tag916.xml"/><Relationship Id="rId4" Type="http://schemas.openxmlformats.org/officeDocument/2006/relationships/image" Target="../media/image9.png"/></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19.xml"/><Relationship Id="rId1" Type="http://schemas.openxmlformats.org/officeDocument/2006/relationships/tags" Target="../tags/tag918.xml"/><Relationship Id="rId4" Type="http://schemas.openxmlformats.org/officeDocument/2006/relationships/image" Target="../media/image9.png"/></Relationships>
</file>

<file path=ppt/slideLayouts/_rels/slideLayout462.xml.rels><?xml version="1.0" encoding="UTF-8" standalone="yes"?>
<Relationships xmlns="http://schemas.openxmlformats.org/package/2006/relationships"><Relationship Id="rId3" Type="http://schemas.openxmlformats.org/officeDocument/2006/relationships/tags" Target="../tags/tag922.xml"/><Relationship Id="rId2" Type="http://schemas.openxmlformats.org/officeDocument/2006/relationships/tags" Target="../tags/tag921.xml"/><Relationship Id="rId1" Type="http://schemas.openxmlformats.org/officeDocument/2006/relationships/tags" Target="../tags/tag920.xml"/><Relationship Id="rId6" Type="http://schemas.openxmlformats.org/officeDocument/2006/relationships/image" Target="../media/image5.png"/><Relationship Id="rId5" Type="http://schemas.openxmlformats.org/officeDocument/2006/relationships/slideMaster" Target="../slideMasters/slideMaster15.xml"/><Relationship Id="rId4" Type="http://schemas.openxmlformats.org/officeDocument/2006/relationships/tags" Target="../tags/tag923.xml"/></Relationships>
</file>

<file path=ppt/slideLayouts/_rels/slideLayout463.xml.rels><?xml version="1.0" encoding="UTF-8" standalone="yes"?>
<Relationships xmlns="http://schemas.openxmlformats.org/package/2006/relationships"><Relationship Id="rId3" Type="http://schemas.openxmlformats.org/officeDocument/2006/relationships/tags" Target="../tags/tag926.xml"/><Relationship Id="rId2" Type="http://schemas.openxmlformats.org/officeDocument/2006/relationships/tags" Target="../tags/tag925.xml"/><Relationship Id="rId1" Type="http://schemas.openxmlformats.org/officeDocument/2006/relationships/tags" Target="../tags/tag924.xml"/><Relationship Id="rId6" Type="http://schemas.openxmlformats.org/officeDocument/2006/relationships/image" Target="../media/image5.png"/><Relationship Id="rId5" Type="http://schemas.openxmlformats.org/officeDocument/2006/relationships/slideMaster" Target="../slideMasters/slideMaster15.xml"/><Relationship Id="rId4" Type="http://schemas.openxmlformats.org/officeDocument/2006/relationships/tags" Target="../tags/tag927.xml"/></Relationships>
</file>

<file path=ppt/slideLayouts/_rels/slideLayout464.xml.rels><?xml version="1.0" encoding="UTF-8" standalone="yes"?>
<Relationships xmlns="http://schemas.openxmlformats.org/package/2006/relationships"><Relationship Id="rId3" Type="http://schemas.openxmlformats.org/officeDocument/2006/relationships/tags" Target="../tags/tag930.xml"/><Relationship Id="rId7" Type="http://schemas.openxmlformats.org/officeDocument/2006/relationships/image" Target="../media/image5.png"/><Relationship Id="rId2" Type="http://schemas.openxmlformats.org/officeDocument/2006/relationships/tags" Target="../tags/tag929.xml"/><Relationship Id="rId1" Type="http://schemas.openxmlformats.org/officeDocument/2006/relationships/tags" Target="../tags/tag928.xml"/><Relationship Id="rId6" Type="http://schemas.openxmlformats.org/officeDocument/2006/relationships/slideMaster" Target="../slideMasters/slideMaster15.xml"/><Relationship Id="rId5" Type="http://schemas.openxmlformats.org/officeDocument/2006/relationships/tags" Target="../tags/tag932.xml"/><Relationship Id="rId4" Type="http://schemas.openxmlformats.org/officeDocument/2006/relationships/tags" Target="../tags/tag931.xml"/></Relationships>
</file>

<file path=ppt/slideLayouts/_rels/slideLayout465.xml.rels><?xml version="1.0" encoding="UTF-8" standalone="yes"?>
<Relationships xmlns="http://schemas.openxmlformats.org/package/2006/relationships"><Relationship Id="rId3" Type="http://schemas.openxmlformats.org/officeDocument/2006/relationships/tags" Target="../tags/tag935.xml"/><Relationship Id="rId2" Type="http://schemas.openxmlformats.org/officeDocument/2006/relationships/tags" Target="../tags/tag934.xml"/><Relationship Id="rId1" Type="http://schemas.openxmlformats.org/officeDocument/2006/relationships/tags" Target="../tags/tag933.xml"/><Relationship Id="rId6" Type="http://schemas.openxmlformats.org/officeDocument/2006/relationships/image" Target="../media/image5.png"/><Relationship Id="rId5" Type="http://schemas.openxmlformats.org/officeDocument/2006/relationships/slideMaster" Target="../slideMasters/slideMaster15.xml"/><Relationship Id="rId4" Type="http://schemas.openxmlformats.org/officeDocument/2006/relationships/tags" Target="../tags/tag936.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37.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38.xml"/></Relationships>
</file>

<file path=ppt/slideLayouts/_rels/slideLayout46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39.xml"/></Relationships>
</file>

<file path=ppt/slideLayouts/_rels/slideLayout46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40.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hemeOverride" Target="../theme/themeOverride43.xml"/><Relationship Id="rId5" Type="http://schemas.openxmlformats.org/officeDocument/2006/relationships/image" Target="../media/image2.png"/><Relationship Id="rId4"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41.xml"/></Relationships>
</file>

<file path=ppt/slideLayouts/_rels/slideLayout47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42.xml"/></Relationships>
</file>

<file path=ppt/slideLayouts/_rels/slideLayout47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43.xml"/></Relationships>
</file>

<file path=ppt/slideLayouts/_rels/slideLayout47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44.xml"/></Relationships>
</file>

<file path=ppt/slideLayouts/_rels/slideLayout474.xml.rels><?xml version="1.0" encoding="UTF-8" standalone="yes"?>
<Relationships xmlns="http://schemas.openxmlformats.org/package/2006/relationships"><Relationship Id="rId3" Type="http://schemas.openxmlformats.org/officeDocument/2006/relationships/tags" Target="../tags/tag947.xml"/><Relationship Id="rId2" Type="http://schemas.openxmlformats.org/officeDocument/2006/relationships/tags" Target="../tags/tag946.xml"/><Relationship Id="rId1" Type="http://schemas.openxmlformats.org/officeDocument/2006/relationships/tags" Target="../tags/tag945.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3" Type="http://schemas.openxmlformats.org/officeDocument/2006/relationships/tags" Target="../tags/tag950.xml"/><Relationship Id="rId2" Type="http://schemas.openxmlformats.org/officeDocument/2006/relationships/tags" Target="../tags/tag949.xml"/><Relationship Id="rId1" Type="http://schemas.openxmlformats.org/officeDocument/2006/relationships/tags" Target="../tags/tag948.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76.xml.rels><?xml version="1.0" encoding="UTF-8" standalone="yes"?>
<Relationships xmlns="http://schemas.openxmlformats.org/package/2006/relationships"><Relationship Id="rId3" Type="http://schemas.openxmlformats.org/officeDocument/2006/relationships/tags" Target="../tags/tag953.xml"/><Relationship Id="rId2" Type="http://schemas.openxmlformats.org/officeDocument/2006/relationships/tags" Target="../tags/tag952.xml"/><Relationship Id="rId1" Type="http://schemas.openxmlformats.org/officeDocument/2006/relationships/tags" Target="../tags/tag951.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55.xml"/><Relationship Id="rId1" Type="http://schemas.openxmlformats.org/officeDocument/2006/relationships/tags" Target="../tags/tag954.xml"/><Relationship Id="rId4" Type="http://schemas.openxmlformats.org/officeDocument/2006/relationships/image" Target="../media/image5.png"/></Relationships>
</file>

<file path=ppt/slideLayouts/_rels/slideLayout478.xml.rels><?xml version="1.0" encoding="UTF-8" standalone="yes"?>
<Relationships xmlns="http://schemas.openxmlformats.org/package/2006/relationships"><Relationship Id="rId3" Type="http://schemas.openxmlformats.org/officeDocument/2006/relationships/tags" Target="../tags/tag958.xml"/><Relationship Id="rId2" Type="http://schemas.openxmlformats.org/officeDocument/2006/relationships/tags" Target="../tags/tag957.xml"/><Relationship Id="rId1" Type="http://schemas.openxmlformats.org/officeDocument/2006/relationships/tags" Target="../tags/tag956.xml"/><Relationship Id="rId6" Type="http://schemas.openxmlformats.org/officeDocument/2006/relationships/image" Target="../media/image5.png"/><Relationship Id="rId5" Type="http://schemas.openxmlformats.org/officeDocument/2006/relationships/slideMaster" Target="../slideMasters/slideMaster15.xml"/><Relationship Id="rId4" Type="http://schemas.openxmlformats.org/officeDocument/2006/relationships/tags" Target="../tags/tag959.xml"/></Relationships>
</file>

<file path=ppt/slideLayouts/_rels/slideLayout47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0.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hemeOverride" Target="../theme/themeOverride44.xml"/></Relationships>
</file>

<file path=ppt/slideLayouts/_rels/slideLayout48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1.xml"/></Relationships>
</file>

<file path=ppt/slideLayouts/_rels/slideLayout48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2.xml"/></Relationships>
</file>

<file path=ppt/slideLayouts/_rels/slideLayout48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3.xml"/></Relationships>
</file>

<file path=ppt/slideLayouts/_rels/slideLayout48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4.xml"/></Relationships>
</file>

<file path=ppt/slideLayouts/_rels/slideLayout48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5.xml"/></Relationships>
</file>

<file path=ppt/slideLayouts/_rels/slideLayout48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6.xml"/></Relationships>
</file>

<file path=ppt/slideLayouts/_rels/slideLayout48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67.xml"/></Relationships>
</file>

<file path=ppt/slideLayouts/_rels/slideLayout487.xml.rels><?xml version="1.0" encoding="UTF-8" standalone="yes"?>
<Relationships xmlns="http://schemas.openxmlformats.org/package/2006/relationships"><Relationship Id="rId3" Type="http://schemas.openxmlformats.org/officeDocument/2006/relationships/tags" Target="../tags/tag970.xml"/><Relationship Id="rId2" Type="http://schemas.openxmlformats.org/officeDocument/2006/relationships/tags" Target="../tags/tag969.xml"/><Relationship Id="rId1" Type="http://schemas.openxmlformats.org/officeDocument/2006/relationships/tags" Target="../tags/tag968.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88.xml.rels><?xml version="1.0" encoding="UTF-8" standalone="yes"?>
<Relationships xmlns="http://schemas.openxmlformats.org/package/2006/relationships"><Relationship Id="rId3" Type="http://schemas.openxmlformats.org/officeDocument/2006/relationships/tags" Target="../tags/tag973.xml"/><Relationship Id="rId2" Type="http://schemas.openxmlformats.org/officeDocument/2006/relationships/tags" Target="../tags/tag972.xml"/><Relationship Id="rId1" Type="http://schemas.openxmlformats.org/officeDocument/2006/relationships/tags" Target="../tags/tag971.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89.xml.rels><?xml version="1.0" encoding="UTF-8" standalone="yes"?>
<Relationships xmlns="http://schemas.openxmlformats.org/package/2006/relationships"><Relationship Id="rId3" Type="http://schemas.openxmlformats.org/officeDocument/2006/relationships/tags" Target="../tags/tag976.xml"/><Relationship Id="rId2" Type="http://schemas.openxmlformats.org/officeDocument/2006/relationships/tags" Target="../tags/tag975.xml"/><Relationship Id="rId1" Type="http://schemas.openxmlformats.org/officeDocument/2006/relationships/tags" Target="../tags/tag974.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08.xml"/><Relationship Id="rId7"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hemeOverride" Target="../theme/themeOverride45.xml"/><Relationship Id="rId6" Type="http://schemas.openxmlformats.org/officeDocument/2006/relationships/tags" Target="../tags/tag111.xml"/><Relationship Id="rId5" Type="http://schemas.openxmlformats.org/officeDocument/2006/relationships/tags" Target="../tags/tag110.xml"/><Relationship Id="rId4" Type="http://schemas.openxmlformats.org/officeDocument/2006/relationships/tags" Target="../tags/tag109.xml"/><Relationship Id="rId9" Type="http://schemas.openxmlformats.org/officeDocument/2006/relationships/image" Target="../media/image4.png"/></Relationships>
</file>

<file path=ppt/slideLayouts/_rels/slideLayout490.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tags" Target="../tags/tag977.xml"/><Relationship Id="rId5" Type="http://schemas.openxmlformats.org/officeDocument/2006/relationships/image" Target="../media/image5.png"/><Relationship Id="rId4" Type="http://schemas.openxmlformats.org/officeDocument/2006/relationships/slideMaster" Target="../slideMasters/slideMaster15.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81.xml"/><Relationship Id="rId1" Type="http://schemas.openxmlformats.org/officeDocument/2006/relationships/tags" Target="../tags/tag980.xml"/><Relationship Id="rId4" Type="http://schemas.openxmlformats.org/officeDocument/2006/relationships/image" Target="../media/image5.png"/></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83.xml"/><Relationship Id="rId1" Type="http://schemas.openxmlformats.org/officeDocument/2006/relationships/tags" Target="../tags/tag982.xml"/><Relationship Id="rId4" Type="http://schemas.openxmlformats.org/officeDocument/2006/relationships/image" Target="../media/image5.png"/></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5.xml"/><Relationship Id="rId1" Type="http://schemas.openxmlformats.org/officeDocument/2006/relationships/tags" Target="../tags/tag984.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5.xml"/><Relationship Id="rId1" Type="http://schemas.openxmlformats.org/officeDocument/2006/relationships/tags" Target="../tags/tag985.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5.xml"/><Relationship Id="rId1" Type="http://schemas.openxmlformats.org/officeDocument/2006/relationships/tags" Target="../tags/tag986.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5.xml"/><Relationship Id="rId1" Type="http://schemas.openxmlformats.org/officeDocument/2006/relationships/tags" Target="../tags/tag987.xml"/></Relationships>
</file>

<file path=ppt/slideLayouts/_rels/slideLayout49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98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5.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46.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hemeOverride" Target="../theme/themeOverride47.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hemeOverride" Target="../theme/themeOverride48.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hemeOverride" Target="../theme/themeOverride49.xml"/><Relationship Id="rId6" Type="http://schemas.openxmlformats.org/officeDocument/2006/relationships/image" Target="../media/image5.png"/><Relationship Id="rId5" Type="http://schemas.openxmlformats.org/officeDocument/2006/relationships/slideMaster" Target="../slideMasters/slideMaster3.xml"/><Relationship Id="rId4" Type="http://schemas.openxmlformats.org/officeDocument/2006/relationships/tags" Target="../tags/tag11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18.xml"/><Relationship Id="rId2" Type="http://schemas.openxmlformats.org/officeDocument/2006/relationships/tags" Target="../tags/tag117.xml"/><Relationship Id="rId1" Type="http://schemas.openxmlformats.org/officeDocument/2006/relationships/themeOverride" Target="../theme/themeOverride50.xml"/><Relationship Id="rId5" Type="http://schemas.openxmlformats.org/officeDocument/2006/relationships/image" Target="../media/image5.png"/><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4.png"/><Relationship Id="rId2" Type="http://schemas.openxmlformats.org/officeDocument/2006/relationships/tags" Target="../tags/tag119.xml"/><Relationship Id="rId1" Type="http://schemas.openxmlformats.org/officeDocument/2006/relationships/themeOverride" Target="../theme/themeOverride51.xml"/><Relationship Id="rId6" Type="http://schemas.openxmlformats.org/officeDocument/2006/relationships/slideMaster" Target="../slideMasters/slideMaster3.xml"/><Relationship Id="rId5" Type="http://schemas.openxmlformats.org/officeDocument/2006/relationships/tags" Target="../tags/tag122.xml"/><Relationship Id="rId4" Type="http://schemas.openxmlformats.org/officeDocument/2006/relationships/tags" Target="../tags/tag12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hemeOverride" Target="../theme/themeOverride5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hemeOverride" Target="../theme/themeOverride5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hemeOverride" Target="../theme/themeOverride5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hemeOverride" Target="../theme/themeOverride5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6.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hemeOverride" Target="../theme/themeOverride56.xml"/><Relationship Id="rId6" Type="http://schemas.openxmlformats.org/officeDocument/2006/relationships/image" Target="../media/image5.png"/><Relationship Id="rId5" Type="http://schemas.openxmlformats.org/officeDocument/2006/relationships/slideMaster" Target="../slideMasters/slideMaster3.xml"/><Relationship Id="rId4" Type="http://schemas.openxmlformats.org/officeDocument/2006/relationships/tags" Target="../tags/tag12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hemeOverride" Target="../theme/themeOverride57.xml"/><Relationship Id="rId6" Type="http://schemas.openxmlformats.org/officeDocument/2006/relationships/image" Target="../media/image5.png"/><Relationship Id="rId5" Type="http://schemas.openxmlformats.org/officeDocument/2006/relationships/slideMaster" Target="../slideMasters/slideMaster3.xml"/><Relationship Id="rId4" Type="http://schemas.openxmlformats.org/officeDocument/2006/relationships/tags" Target="../tags/tag13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hemeOverride" Target="../theme/themeOverride5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5.xml"/><Relationship Id="rId7"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hemeOverride" Target="../theme/themeOverride59.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 Id="rId9"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7.png"/><Relationship Id="rId2" Type="http://schemas.openxmlformats.org/officeDocument/2006/relationships/tags" Target="../tags/tag139.xml"/><Relationship Id="rId1" Type="http://schemas.openxmlformats.org/officeDocument/2006/relationships/themeOverride" Target="../theme/themeOverride60.xml"/><Relationship Id="rId6" Type="http://schemas.openxmlformats.org/officeDocument/2006/relationships/slideMaster" Target="../slideMasters/slideMaster3.xml"/><Relationship Id="rId5" Type="http://schemas.openxmlformats.org/officeDocument/2006/relationships/tags" Target="../tags/tag142.xml"/><Relationship Id="rId4" Type="http://schemas.openxmlformats.org/officeDocument/2006/relationships/tags" Target="../tags/tag14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themeOverride" Target="../theme/themeOverride6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4.xml"/><Relationship Id="rId1" Type="http://schemas.openxmlformats.org/officeDocument/2006/relationships/themeOverride" Target="../theme/themeOverride6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5.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themeOverride" Target="../theme/themeOverride63.xml"/><Relationship Id="rId6" Type="http://schemas.openxmlformats.org/officeDocument/2006/relationships/image" Target="../media/image6.png"/><Relationship Id="rId5" Type="http://schemas.openxmlformats.org/officeDocument/2006/relationships/slideMaster" Target="../slideMasters/slideMaster3.xml"/><Relationship Id="rId4" Type="http://schemas.openxmlformats.org/officeDocument/2006/relationships/tags" Target="../tags/tag14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7.xml"/><Relationship Id="rId6" Type="http://schemas.openxmlformats.org/officeDocument/2006/relationships/image" Target="../media/image5.pn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 Id="rId4"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5" Type="http://schemas.openxmlformats.org/officeDocument/2006/relationships/image" Target="../media/image9.png"/><Relationship Id="rId4"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 Id="rId4" Type="http://schemas.openxmlformats.org/officeDocument/2006/relationships/image" Target="../media/image9.png"/></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 Id="rId4" Type="http://schemas.openxmlformats.org/officeDocument/2006/relationships/image" Target="../media/image10.png"/></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10.png"/><Relationship Id="rId4"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hemeOverride" Target="../theme/themeOverride8.xml"/><Relationship Id="rId5" Type="http://schemas.openxmlformats.org/officeDocument/2006/relationships/image" Target="../media/image5.png"/><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8.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0.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 Id="rId4" Type="http://schemas.openxmlformats.org/officeDocument/2006/relationships/image" Target="../media/image10.png"/></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10.png"/><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png"/><Relationship Id="rId2" Type="http://schemas.openxmlformats.org/officeDocument/2006/relationships/tags" Target="../tags/tag22.xml"/><Relationship Id="rId1" Type="http://schemas.openxmlformats.org/officeDocument/2006/relationships/themeOverride" Target="../theme/themeOverride9.xml"/><Relationship Id="rId6" Type="http://schemas.openxmlformats.org/officeDocument/2006/relationships/slideMaster" Target="../slideMasters/slideMaster1.xml"/><Relationship Id="rId5" Type="http://schemas.openxmlformats.org/officeDocument/2006/relationships/tags" Target="../tags/tag25.xml"/><Relationship Id="rId4" Type="http://schemas.openxmlformats.org/officeDocument/2006/relationships/tags" Target="../tags/tag24.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image" Target="../media/image10.png"/></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9.xml"/><Relationship Id="rId1" Type="http://schemas.openxmlformats.org/officeDocument/2006/relationships/tags" Target="../tags/tag188.xml"/><Relationship Id="rId4" Type="http://schemas.openxmlformats.org/officeDocument/2006/relationships/image" Target="../media/image10.png"/></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92.xml"/><Relationship Id="rId2" Type="http://schemas.openxmlformats.org/officeDocument/2006/relationships/tags" Target="../tags/tag191.xml"/><Relationship Id="rId1" Type="http://schemas.openxmlformats.org/officeDocument/2006/relationships/tags" Target="../tags/tag190.xml"/><Relationship Id="rId5" Type="http://schemas.openxmlformats.org/officeDocument/2006/relationships/image" Target="../media/image10.png"/><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3.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4.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5.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6.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7.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8.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28188089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912286" y="692151"/>
            <a:ext cx="470366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57486247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400">
                <a:solidFill>
                  <a:schemeClr val="bg1"/>
                </a:solidFill>
                <a:latin typeface="SwissReSans" panose="020B060402020202020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770295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Image with Circle" preserve="1" userDrawn="1">
  <p:cSld name="Im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xmlns="" id="{D2AB1016-26D3-4BF9-9498-94FA233BE64F}"/>
              </a:ext>
            </a:extLst>
          </p:cNvPr>
          <p:cNvSpPr>
            <a:spLocks noGrp="1"/>
          </p:cNvSpPr>
          <p:nvPr>
            <p:ph type="pic" sz="quarter" idx="14" hasCustomPrompt="1"/>
          </p:nvPr>
        </p:nvSpPr>
        <p:spPr bwMode="gray">
          <a:xfrm>
            <a:off x="0" y="0"/>
            <a:ext cx="12192000" cy="6858000"/>
          </a:xfrm>
          <a:solidFill>
            <a:srgbClr val="D1DCD6"/>
          </a:solidFill>
        </p:spPr>
        <p:txBody>
          <a:bodyPr lIns="0" tIns="648000" rIns="1476000" anchor="ctr"/>
          <a:lstStyle>
            <a:lvl1pPr marL="0" indent="0" algn="ctr">
              <a:buFontTx/>
              <a:buNone/>
              <a:defRPr sz="1200">
                <a:solidFill>
                  <a:srgbClr val="A8BAB2"/>
                </a:solidFill>
                <a:latin typeface="SwissReSans" pitchFamily="34" charset="0"/>
              </a:defRPr>
            </a:lvl1pPr>
          </a:lstStyle>
          <a:p>
            <a:r>
              <a:rPr lang="en-US" noProof="1"/>
              <a:t>Select image from </a:t>
            </a:r>
            <a:br>
              <a:rPr lang="en-US" noProof="1"/>
            </a:br>
            <a:r>
              <a:rPr lang="en-US" noProof="1"/>
              <a:t>the Brandic menu</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6239552" y="1430988"/>
            <a:ext cx="5328032" cy="3996024"/>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tabLst/>
              <a:defRPr sz="2000">
                <a:solidFill>
                  <a:schemeClr val="bg1"/>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19457495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xmlns="" id="{D2AB1016-26D3-4BF9-9498-94FA233BE64F}"/>
              </a:ext>
            </a:extLst>
          </p:cNvPr>
          <p:cNvSpPr>
            <a:spLocks noGrp="1"/>
          </p:cNvSpPr>
          <p:nvPr>
            <p:ph type="pic" sz="quarter" idx="14" hasCustomPrompt="1"/>
          </p:nvPr>
        </p:nvSpPr>
        <p:spPr bwMode="gray">
          <a:xfrm>
            <a:off x="0" y="0"/>
            <a:ext cx="12192000" cy="6858000"/>
          </a:xfrm>
        </p:spPr>
        <p:txBody>
          <a:bodyPr lIns="0" tIns="3024000" anchor="ctr"/>
          <a:lstStyle>
            <a:lvl1pPr algn="ctr">
              <a:buFontTx/>
              <a:buNone/>
              <a:defRPr sz="1200">
                <a:solidFill>
                  <a:srgbClr val="A8BAB2"/>
                </a:solidFill>
                <a:latin typeface="SwissReSans" pitchFamily="34" charset="0"/>
              </a:defRPr>
            </a:lvl1pPr>
          </a:lstStyle>
          <a:p>
            <a:r>
              <a:rPr lang="en-US" noProof="1"/>
              <a:t>Select optional image from the Brandic menu</a:t>
            </a: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8301958" y="2210130"/>
            <a:ext cx="3250321" cy="2437741"/>
          </a:xfrm>
          <a:prstGeom prst="ellipse">
            <a:avLst/>
          </a:prstGeom>
          <a:solidFill>
            <a:srgbClr val="FFFFFF"/>
          </a:solidFill>
        </p:spPr>
        <p:txBody>
          <a:bodyPr anchor="ctr"/>
          <a:lstStyle>
            <a:lvl1pPr marL="0" indent="0" algn="ctr">
              <a:spcBef>
                <a:spcPts val="0"/>
              </a:spcBef>
              <a:buFontTx/>
              <a:buNone/>
              <a:defRPr sz="1600">
                <a:solidFill>
                  <a:schemeClr val="tx2"/>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5" name="Textplatzhalter 4">
            <a:extLst>
              <a:ext uri="{FF2B5EF4-FFF2-40B4-BE49-F238E27FC236}">
                <a16:creationId xmlns:a16="http://schemas.microsoft.com/office/drawing/2014/main" xmlns="" id="{543A593E-D7E6-484E-B6C5-60D51D4CF9C1}"/>
              </a:ext>
            </a:extLst>
          </p:cNvPr>
          <p:cNvSpPr>
            <a:spLocks noGrp="1"/>
          </p:cNvSpPr>
          <p:nvPr>
            <p:ph type="body" sz="quarter" idx="15"/>
          </p:nvPr>
        </p:nvSpPr>
        <p:spPr bwMode="gray">
          <a:xfrm>
            <a:off x="4607122" y="2210130"/>
            <a:ext cx="3250321" cy="2437741"/>
          </a:xfrm>
          <a:prstGeom prst="ellipse">
            <a:avLst/>
          </a:prstGeom>
          <a:solidFill>
            <a:srgbClr val="FFFFFF"/>
          </a:solidFill>
        </p:spPr>
        <p:txBody>
          <a:bodyPr anchor="ctr"/>
          <a:lstStyle>
            <a:lvl1pPr marL="0" indent="0" algn="ctr">
              <a:spcBef>
                <a:spcPts val="0"/>
              </a:spcBef>
              <a:buFontTx/>
              <a:buNone/>
              <a:defRPr sz="1600">
                <a:solidFill>
                  <a:schemeClr val="tx2"/>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6" name="Textplatzhalter 4">
            <a:extLst>
              <a:ext uri="{FF2B5EF4-FFF2-40B4-BE49-F238E27FC236}">
                <a16:creationId xmlns:a16="http://schemas.microsoft.com/office/drawing/2014/main" xmlns="" id="{955498A0-D81A-4C31-BE1E-141A52AC2EAB}"/>
              </a:ext>
            </a:extLst>
          </p:cNvPr>
          <p:cNvSpPr>
            <a:spLocks noGrp="1"/>
          </p:cNvSpPr>
          <p:nvPr>
            <p:ph type="body" sz="quarter" idx="16"/>
          </p:nvPr>
        </p:nvSpPr>
        <p:spPr bwMode="gray">
          <a:xfrm>
            <a:off x="912285" y="2210130"/>
            <a:ext cx="3250321" cy="2437741"/>
          </a:xfrm>
          <a:prstGeom prst="ellipse">
            <a:avLst/>
          </a:prstGeom>
          <a:solidFill>
            <a:srgbClr val="FFFFFF"/>
          </a:solidFill>
        </p:spPr>
        <p:txBody>
          <a:bodyPr anchor="ctr"/>
          <a:lstStyle>
            <a:lvl1pPr marL="0" indent="0" algn="ctr">
              <a:spcBef>
                <a:spcPts val="0"/>
              </a:spcBef>
              <a:buFontTx/>
              <a:buNone/>
              <a:defRPr sz="1600">
                <a:solidFill>
                  <a:schemeClr val="tx2"/>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3" name="Picture 2">
            <a:extLst>
              <a:ext uri="{FF2B5EF4-FFF2-40B4-BE49-F238E27FC236}">
                <a16:creationId xmlns:a16="http://schemas.microsoft.com/office/drawing/2014/main" xmlns="" id="{69A62CD8-4C12-4640-9106-5A107A0CFD8D}"/>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7024693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US" noProof="0"/>
              <a:t>Enter team name here</a:t>
            </a:r>
          </a:p>
        </p:txBody>
      </p:sp>
      <p:sp>
        <p:nvSpPr>
          <p:cNvPr id="9" name="Date Placeholder 8"/>
          <p:cNvSpPr>
            <a:spLocks noGrp="1"/>
          </p:cNvSpPr>
          <p:nvPr>
            <p:ph type="dt" sz="half" idx="10"/>
          </p:nvPr>
        </p:nvSpPr>
        <p:spPr/>
        <p:txBody>
          <a:bodyPr/>
          <a:lstStyle/>
          <a:p>
            <a:endParaRPr lang="en-US" noProof="0"/>
          </a:p>
        </p:txBody>
      </p:sp>
      <p:sp>
        <p:nvSpPr>
          <p:cNvPr id="10" name="Footer Placeholder 9"/>
          <p:cNvSpPr>
            <a:spLocks noGrp="1"/>
          </p:cNvSpPr>
          <p:nvPr>
            <p:ph type="ftr" sz="quarter" idx="11"/>
          </p:nvPr>
        </p:nvSpPr>
        <p:spPr/>
        <p:txBody>
          <a:bodyPr/>
          <a:lstStyle/>
          <a:p>
            <a:endParaRPr lang="en-US" noProof="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US" noProof="0" smtClean="0"/>
              <a:pPr/>
              <a:t>‹#›</a:t>
            </a:fld>
            <a:endParaRPr lang="en-US"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US" noProof="0"/>
              <a:t>Click to add text, for example team mission and/or capabilities, roles and responsibilities, other info.</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2"/>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7A7C7F90-3D41-4F6B-8B0A-35950B50C05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265953079"/>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US" noProof="0"/>
              <a:t>Enter team name here</a:t>
            </a:r>
          </a:p>
        </p:txBody>
      </p:sp>
      <p:sp>
        <p:nvSpPr>
          <p:cNvPr id="9" name="Date Placeholder 8"/>
          <p:cNvSpPr>
            <a:spLocks noGrp="1"/>
          </p:cNvSpPr>
          <p:nvPr>
            <p:ph type="dt" sz="half" idx="10"/>
          </p:nvPr>
        </p:nvSpPr>
        <p:spPr/>
        <p:txBody>
          <a:bodyPr/>
          <a:lstStyle/>
          <a:p>
            <a:endParaRPr lang="en-US" noProof="0"/>
          </a:p>
        </p:txBody>
      </p:sp>
      <p:sp>
        <p:nvSpPr>
          <p:cNvPr id="10" name="Footer Placeholder 9"/>
          <p:cNvSpPr>
            <a:spLocks noGrp="1"/>
          </p:cNvSpPr>
          <p:nvPr>
            <p:ph type="ftr" sz="quarter" idx="11"/>
          </p:nvPr>
        </p:nvSpPr>
        <p:spPr/>
        <p:txBody>
          <a:bodyPr/>
          <a:lstStyle/>
          <a:p>
            <a:endParaRPr lang="en-US" noProof="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US" noProof="0" smtClean="0"/>
              <a:pPr/>
              <a:t>‹#›</a:t>
            </a:fld>
            <a:endParaRPr lang="en-US"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US" noProof="0"/>
              <a:t>Click to add text, for example team mission and/or capabilities, roles and responsibilities, other info.</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2"/>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9434923E-4CCD-4A60-BC1E-6D4B8D6F96B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4232844237"/>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812800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latin typeface="SwissReSans" pitchFamily="34" charset="0"/>
            </a:endParaRPr>
          </a:p>
        </p:txBody>
      </p:sp>
      <p:sp>
        <p:nvSpPr>
          <p:cNvPr id="8" name="Title 7"/>
          <p:cNvSpPr>
            <a:spLocks noGrp="1"/>
          </p:cNvSpPr>
          <p:nvPr>
            <p:ph type="title"/>
          </p:nvPr>
        </p:nvSpPr>
        <p:spPr bwMode="gray">
          <a:xfrm>
            <a:off x="8639584" y="692151"/>
            <a:ext cx="2928000" cy="692647"/>
          </a:xfrm>
        </p:spPr>
        <p:txBody>
          <a:bodyPr/>
          <a:lstStyle>
            <a:lvl1pPr>
              <a:defRPr>
                <a:solidFill>
                  <a:srgbClr val="FFFFFF"/>
                </a:solidFill>
              </a:defRPr>
            </a:lvl1pPr>
          </a:lstStyle>
          <a:p>
            <a:r>
              <a:rPr lang="en-US" noProof="0"/>
              <a:t>Click to edit Master title style</a:t>
            </a:r>
          </a:p>
        </p:txBody>
      </p:sp>
      <p:sp>
        <p:nvSpPr>
          <p:cNvPr id="9" name="Date Placeholder 8"/>
          <p:cNvSpPr>
            <a:spLocks noGrp="1"/>
          </p:cNvSpPr>
          <p:nvPr>
            <p:ph type="dt" sz="half" idx="10"/>
          </p:nvPr>
        </p:nvSpPr>
        <p:spPr/>
        <p:txBody>
          <a:bodyPr/>
          <a:lstStyle/>
          <a:p>
            <a:endParaRPr lang="en-US" noProof="0"/>
          </a:p>
        </p:txBody>
      </p:sp>
      <p:sp>
        <p:nvSpPr>
          <p:cNvPr id="10" name="Footer Placeholder 9"/>
          <p:cNvSpPr>
            <a:spLocks noGrp="1"/>
          </p:cNvSpPr>
          <p:nvPr>
            <p:ph type="ftr" sz="quarter" idx="11"/>
          </p:nvPr>
        </p:nvSpPr>
        <p:spPr/>
        <p:txBody>
          <a:bodyPr/>
          <a:lstStyle/>
          <a:p>
            <a:endParaRPr lang="en-US" noProof="0"/>
          </a:p>
        </p:txBody>
      </p:sp>
      <p:sp>
        <p:nvSpPr>
          <p:cNvPr id="3" name="Foliennummernplatzhalter 2">
            <a:extLst>
              <a:ext uri="{FF2B5EF4-FFF2-40B4-BE49-F238E27FC236}">
                <a16:creationId xmlns:a16="http://schemas.microsoft.com/office/drawing/2014/main" xmlns="" id="{4CE711AC-A224-46B0-AC0B-BA77EA9ACB70}"/>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60" name="Picture Placeholder 7">
            <a:extLst>
              <a:ext uri="{FF2B5EF4-FFF2-40B4-BE49-F238E27FC236}">
                <a16:creationId xmlns:a16="http://schemas.microsoft.com/office/drawing/2014/main" xmlns="" id="{E2EEC6B7-0D35-418B-A5CC-FF794532E860}"/>
              </a:ext>
            </a:extLst>
          </p:cNvPr>
          <p:cNvSpPr>
            <a:spLocks noGrp="1"/>
          </p:cNvSpPr>
          <p:nvPr>
            <p:ph type="pic" sz="quarter" idx="13"/>
          </p:nvPr>
        </p:nvSpPr>
        <p:spPr bwMode="gray">
          <a:xfrm>
            <a:off x="0" y="0"/>
            <a:ext cx="8128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pic>
        <p:nvPicPr>
          <p:cNvPr id="5" name="Picture 4">
            <a:extLst>
              <a:ext uri="{FF2B5EF4-FFF2-40B4-BE49-F238E27FC236}">
                <a16:creationId xmlns:a16="http://schemas.microsoft.com/office/drawing/2014/main" xmlns="" id="{81C8D988-99EB-426E-BA6D-801E6CC4CEB5}"/>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97317927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812800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latin typeface="SwissReSans" pitchFamily="34" charset="0"/>
            </a:endParaRPr>
          </a:p>
        </p:txBody>
      </p:sp>
      <p:sp>
        <p:nvSpPr>
          <p:cNvPr id="8" name="Title 7"/>
          <p:cNvSpPr>
            <a:spLocks noGrp="1"/>
          </p:cNvSpPr>
          <p:nvPr>
            <p:ph type="title"/>
          </p:nvPr>
        </p:nvSpPr>
        <p:spPr bwMode="gray">
          <a:xfrm>
            <a:off x="8639584" y="692151"/>
            <a:ext cx="2928000" cy="692647"/>
          </a:xfrm>
        </p:spPr>
        <p:txBody>
          <a:bodyPr/>
          <a:lstStyle>
            <a:lvl1pPr>
              <a:defRPr>
                <a:solidFill>
                  <a:srgbClr val="FFFFFF"/>
                </a:solidFill>
              </a:defRPr>
            </a:lvl1pPr>
          </a:lstStyle>
          <a:p>
            <a:r>
              <a:rPr lang="en-US" noProof="0"/>
              <a:t>Click to edit Master title style</a:t>
            </a:r>
          </a:p>
        </p:txBody>
      </p:sp>
      <p:sp>
        <p:nvSpPr>
          <p:cNvPr id="9" name="Date Placeholder 8"/>
          <p:cNvSpPr>
            <a:spLocks noGrp="1"/>
          </p:cNvSpPr>
          <p:nvPr>
            <p:ph type="dt" sz="half" idx="10"/>
          </p:nvPr>
        </p:nvSpPr>
        <p:spPr/>
        <p:txBody>
          <a:bodyPr/>
          <a:lstStyle/>
          <a:p>
            <a:endParaRPr lang="en-US" noProof="0"/>
          </a:p>
        </p:txBody>
      </p:sp>
      <p:sp>
        <p:nvSpPr>
          <p:cNvPr id="10" name="Footer Placeholder 9"/>
          <p:cNvSpPr>
            <a:spLocks noGrp="1"/>
          </p:cNvSpPr>
          <p:nvPr>
            <p:ph type="ftr" sz="quarter" idx="11"/>
          </p:nvPr>
        </p:nvSpPr>
        <p:spPr/>
        <p:txBody>
          <a:bodyPr/>
          <a:lstStyle/>
          <a:p>
            <a:endParaRPr lang="en-US" noProof="0"/>
          </a:p>
        </p:txBody>
      </p:sp>
      <p:sp>
        <p:nvSpPr>
          <p:cNvPr id="3" name="Foliennummernplatzhalter 2">
            <a:extLst>
              <a:ext uri="{FF2B5EF4-FFF2-40B4-BE49-F238E27FC236}">
                <a16:creationId xmlns:a16="http://schemas.microsoft.com/office/drawing/2014/main" xmlns="" id="{4CE711AC-A224-46B0-AC0B-BA77EA9ACB70}"/>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1" name="Text Placeholder 4">
            <a:extLst>
              <a:ext uri="{FF2B5EF4-FFF2-40B4-BE49-F238E27FC236}">
                <a16:creationId xmlns:a16="http://schemas.microsoft.com/office/drawing/2014/main" xmlns="" id="{1DA944B2-4864-488E-8C1D-2216382B34BB}"/>
              </a:ext>
            </a:extLst>
          </p:cNvPr>
          <p:cNvSpPr>
            <a:spLocks noGrp="1"/>
          </p:cNvSpPr>
          <p:nvPr>
            <p:ph type="body" sz="quarter" idx="13"/>
          </p:nvPr>
        </p:nvSpPr>
        <p:spPr>
          <a:xfrm>
            <a:off x="912285" y="1491135"/>
            <a:ext cx="5855791" cy="4530254"/>
          </a:xfrm>
        </p:spPr>
        <p:txBody>
          <a:bodyPr/>
          <a:lstStyle>
            <a:lvl1pPr marL="0" indent="0">
              <a:buFontTx/>
              <a:buNone/>
              <a:defRPr sz="3600">
                <a:solidFill>
                  <a:schemeClr val="bg2"/>
                </a:solidFill>
                <a:latin typeface="+mj-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5" name="Picture 4">
            <a:extLst>
              <a:ext uri="{FF2B5EF4-FFF2-40B4-BE49-F238E27FC236}">
                <a16:creationId xmlns:a16="http://schemas.microsoft.com/office/drawing/2014/main" xmlns="" id="{45B5ED7D-6EBE-4D4F-9187-0F93008C4840}"/>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338261625"/>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912284" y="2628878"/>
            <a:ext cx="10655301" cy="692647"/>
          </a:xfrm>
        </p:spPr>
        <p:txBody>
          <a:bodyPr/>
          <a:lstStyle>
            <a:lvl1pPr>
              <a:defRPr sz="3600">
                <a:solidFill>
                  <a:schemeClr val="bg1"/>
                </a:solidFill>
              </a:defRPr>
            </a:lvl1pPr>
          </a:lstStyle>
          <a:p>
            <a:r>
              <a:rPr lang="en-US"/>
              <a:t>Click to edit Master title style</a:t>
            </a:r>
            <a:endParaRPr lang="en-GB"/>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911424" y="3992103"/>
            <a:ext cx="3189197" cy="200055"/>
          </a:xfrm>
        </p:spPr>
        <p:txBody>
          <a:bodyPr anchor="t">
            <a:noAutofit/>
          </a:bodyPr>
          <a:lstStyle>
            <a:lvl1pPr marL="0" indent="0">
              <a:spcBef>
                <a:spcPts val="0"/>
              </a:spcBef>
              <a:buFontTx/>
              <a:buNone/>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912283" y="3621791"/>
            <a:ext cx="3188339" cy="138499"/>
          </a:xfrm>
        </p:spPr>
        <p:txBody>
          <a:bodyPr anchor="t">
            <a:noAutofit/>
          </a:bodyPr>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911424" y="4266391"/>
            <a:ext cx="3189197" cy="859669"/>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92103"/>
            <a:ext cx="3189197" cy="200055"/>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66391"/>
            <a:ext cx="3189197" cy="859669"/>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644906" y="3992103"/>
            <a:ext cx="3189197" cy="200055"/>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644906" y="4266391"/>
            <a:ext cx="3189197" cy="859669"/>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911424" y="5378734"/>
            <a:ext cx="3189197" cy="138499"/>
          </a:xfrm>
        </p:spPr>
        <p:txBody>
          <a:bodyPr anchor="t">
            <a:noAutofit/>
          </a:bodyPr>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23" name="Picture Placeholder 9">
            <a:extLst>
              <a:ext uri="{FF2B5EF4-FFF2-40B4-BE49-F238E27FC236}">
                <a16:creationId xmlns:a16="http://schemas.microsoft.com/office/drawing/2014/main" xmlns="" id="{66618CE3-4136-49CA-BD21-2942868DCA7B}"/>
              </a:ext>
            </a:extLst>
          </p:cNvPr>
          <p:cNvSpPr>
            <a:spLocks noGrp="1"/>
          </p:cNvSpPr>
          <p:nvPr>
            <p:ph type="pic" sz="quarter" idx="23" hasCustomPrompt="1"/>
          </p:nvPr>
        </p:nvSpPr>
        <p:spPr>
          <a:xfrm>
            <a:off x="911424" y="5697388"/>
            <a:ext cx="432000" cy="324000"/>
          </a:xfrm>
        </p:spPr>
        <p:txBody>
          <a:bodyPr/>
          <a:lstStyle>
            <a:lvl1pPr marL="0" indent="0">
              <a:buNone/>
              <a:defRPr sz="800">
                <a:solidFill>
                  <a:schemeClr val="bg1"/>
                </a:solidFill>
              </a:defRPr>
            </a:lvl1pPr>
          </a:lstStyle>
          <a:p>
            <a:r>
              <a:rPr lang="de-CH"/>
              <a:t> </a:t>
            </a:r>
          </a:p>
        </p:txBody>
      </p:sp>
      <p:sp>
        <p:nvSpPr>
          <p:cNvPr id="24" name="Picture Placeholder 9">
            <a:extLst>
              <a:ext uri="{FF2B5EF4-FFF2-40B4-BE49-F238E27FC236}">
                <a16:creationId xmlns:a16="http://schemas.microsoft.com/office/drawing/2014/main" xmlns="" id="{264D44FB-72F1-48C4-9D2D-0E335F0CF1FF}"/>
              </a:ext>
            </a:extLst>
          </p:cNvPr>
          <p:cNvSpPr>
            <a:spLocks noGrp="1"/>
          </p:cNvSpPr>
          <p:nvPr>
            <p:ph type="pic" sz="quarter" idx="24" hasCustomPrompt="1"/>
          </p:nvPr>
        </p:nvSpPr>
        <p:spPr>
          <a:xfrm>
            <a:off x="1535424" y="5697388"/>
            <a:ext cx="432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F3DF31D6-9681-4D19-9168-E54E027E28AA}"/>
              </a:ext>
            </a:extLst>
          </p:cNvPr>
          <p:cNvSpPr>
            <a:spLocks noGrp="1"/>
          </p:cNvSpPr>
          <p:nvPr>
            <p:ph type="pic" sz="quarter" idx="25" hasCustomPrompt="1"/>
          </p:nvPr>
        </p:nvSpPr>
        <p:spPr>
          <a:xfrm>
            <a:off x="2159424" y="5697388"/>
            <a:ext cx="432000" cy="324000"/>
          </a:xfrm>
        </p:spPr>
        <p:txBody>
          <a:bodyPr/>
          <a:lstStyle>
            <a:lvl1pPr marL="0" indent="0">
              <a:buNone/>
              <a:defRPr sz="800">
                <a:solidFill>
                  <a:schemeClr val="bg1"/>
                </a:solidFill>
              </a:defRPr>
            </a:lvl1pPr>
          </a:lstStyle>
          <a:p>
            <a:r>
              <a:rPr lang="de-CH"/>
              <a:t> </a:t>
            </a:r>
          </a:p>
        </p:txBody>
      </p:sp>
      <p:sp>
        <p:nvSpPr>
          <p:cNvPr id="26" name="Picture Placeholder 9">
            <a:extLst>
              <a:ext uri="{FF2B5EF4-FFF2-40B4-BE49-F238E27FC236}">
                <a16:creationId xmlns:a16="http://schemas.microsoft.com/office/drawing/2014/main" xmlns="" id="{16ACD4A3-AB98-47E1-8DAA-27E52F101726}"/>
              </a:ext>
            </a:extLst>
          </p:cNvPr>
          <p:cNvSpPr>
            <a:spLocks noGrp="1"/>
          </p:cNvSpPr>
          <p:nvPr>
            <p:ph type="pic" sz="quarter" idx="26" hasCustomPrompt="1"/>
          </p:nvPr>
        </p:nvSpPr>
        <p:spPr>
          <a:xfrm>
            <a:off x="2783424" y="5697388"/>
            <a:ext cx="432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D18D1B1C-344A-410B-8483-AA4054A4920A}"/>
              </a:ext>
            </a:extLst>
          </p:cNvPr>
          <p:cNvSpPr>
            <a:spLocks noGrp="1"/>
          </p:cNvSpPr>
          <p:nvPr>
            <p:ph type="pic" sz="quarter" idx="27" hasCustomPrompt="1"/>
          </p:nvPr>
        </p:nvSpPr>
        <p:spPr>
          <a:xfrm>
            <a:off x="3407424" y="5697388"/>
            <a:ext cx="432000" cy="324000"/>
          </a:xfrm>
        </p:spPr>
        <p:txBody>
          <a:bodyPr/>
          <a:lstStyle>
            <a:lvl1pPr marL="0" indent="0">
              <a:buNone/>
              <a:defRPr sz="800">
                <a:solidFill>
                  <a:schemeClr val="bg1"/>
                </a:solidFill>
              </a:defRPr>
            </a:lvl1pPr>
          </a:lstStyle>
          <a:p>
            <a:r>
              <a:rPr lang="de-CH"/>
              <a:t> </a:t>
            </a:r>
          </a:p>
        </p:txBody>
      </p:sp>
      <p:pic>
        <p:nvPicPr>
          <p:cNvPr id="4" name="Picture 3">
            <a:extLst>
              <a:ext uri="{FF2B5EF4-FFF2-40B4-BE49-F238E27FC236}">
                <a16:creationId xmlns:a16="http://schemas.microsoft.com/office/drawing/2014/main" xmlns="" id="{56BE3E0E-C27B-4D87-A572-00A4D9A47E1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1190645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911424" y="1999087"/>
            <a:ext cx="3189197" cy="266728"/>
          </a:xfrm>
        </p:spPr>
        <p:txBody>
          <a:bodyPr anchor="t">
            <a:noAutofit/>
          </a:bodyPr>
          <a:lstStyle>
            <a:lvl1pPr marL="0" indent="0">
              <a:spcBef>
                <a:spcPts val="0"/>
              </a:spcBef>
              <a:buFontTx/>
              <a:buNone/>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912283" y="1628776"/>
            <a:ext cx="3188339" cy="138499"/>
          </a:xfrm>
        </p:spPr>
        <p:txBody>
          <a:bodyPr anchor="t">
            <a:noAutofit/>
          </a:bodyPr>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911424" y="2303604"/>
            <a:ext cx="3189197" cy="981357"/>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99087"/>
            <a:ext cx="3189197" cy="266728"/>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303604"/>
            <a:ext cx="3189197" cy="981357"/>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644906" y="1999087"/>
            <a:ext cx="3189197" cy="266728"/>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644906" y="2303604"/>
            <a:ext cx="3189197" cy="981357"/>
          </a:xfrm>
        </p:spPr>
        <p:txBody>
          <a:bodyPr anchor="t">
            <a:noAutofit/>
          </a:bodyPr>
          <a:lstStyle>
            <a:lvl1pPr marL="0" indent="0">
              <a:spcBef>
                <a:spcPts val="0"/>
              </a:spcBef>
              <a:buFontTx/>
              <a:buNone/>
              <a:defRPr sz="13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911424" y="3573841"/>
            <a:ext cx="3189197" cy="138499"/>
          </a:xfrm>
        </p:spPr>
        <p:txBody>
          <a:bodyPr anchor="t">
            <a:noAutofit/>
          </a:bodyPr>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23" name="Picture Placeholder 9">
            <a:extLst>
              <a:ext uri="{FF2B5EF4-FFF2-40B4-BE49-F238E27FC236}">
                <a16:creationId xmlns:a16="http://schemas.microsoft.com/office/drawing/2014/main" xmlns="" id="{F9162822-1C73-4A47-89BA-AC1C9EC45095}"/>
              </a:ext>
            </a:extLst>
          </p:cNvPr>
          <p:cNvSpPr>
            <a:spLocks noGrp="1"/>
          </p:cNvSpPr>
          <p:nvPr>
            <p:ph type="pic" sz="quarter" idx="23" hasCustomPrompt="1"/>
          </p:nvPr>
        </p:nvSpPr>
        <p:spPr>
          <a:xfrm>
            <a:off x="912284" y="3876577"/>
            <a:ext cx="432000" cy="324000"/>
          </a:xfrm>
        </p:spPr>
        <p:txBody>
          <a:bodyPr/>
          <a:lstStyle>
            <a:lvl1pPr marL="0" indent="0">
              <a:buNone/>
              <a:defRPr sz="800">
                <a:solidFill>
                  <a:schemeClr val="bg1"/>
                </a:solidFill>
              </a:defRPr>
            </a:lvl1pPr>
          </a:lstStyle>
          <a:p>
            <a:r>
              <a:rPr lang="de-CH"/>
              <a:t> </a:t>
            </a:r>
          </a:p>
        </p:txBody>
      </p:sp>
      <p:sp>
        <p:nvSpPr>
          <p:cNvPr id="24" name="Picture Placeholder 9">
            <a:extLst>
              <a:ext uri="{FF2B5EF4-FFF2-40B4-BE49-F238E27FC236}">
                <a16:creationId xmlns:a16="http://schemas.microsoft.com/office/drawing/2014/main" xmlns="" id="{4C178218-C149-458E-AD29-369CCB4EBE08}"/>
              </a:ext>
            </a:extLst>
          </p:cNvPr>
          <p:cNvSpPr>
            <a:spLocks noGrp="1"/>
          </p:cNvSpPr>
          <p:nvPr>
            <p:ph type="pic" sz="quarter" idx="24" hasCustomPrompt="1"/>
          </p:nvPr>
        </p:nvSpPr>
        <p:spPr>
          <a:xfrm>
            <a:off x="1536284" y="3876577"/>
            <a:ext cx="432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41219F3D-BC1F-4F3D-B8A5-8CD84C6A1717}"/>
              </a:ext>
            </a:extLst>
          </p:cNvPr>
          <p:cNvSpPr>
            <a:spLocks noGrp="1"/>
          </p:cNvSpPr>
          <p:nvPr>
            <p:ph type="pic" sz="quarter" idx="25" hasCustomPrompt="1"/>
          </p:nvPr>
        </p:nvSpPr>
        <p:spPr>
          <a:xfrm>
            <a:off x="2160284" y="3876577"/>
            <a:ext cx="432000" cy="324000"/>
          </a:xfrm>
        </p:spPr>
        <p:txBody>
          <a:bodyPr/>
          <a:lstStyle>
            <a:lvl1pPr marL="0" indent="0">
              <a:buNone/>
              <a:defRPr sz="800">
                <a:solidFill>
                  <a:schemeClr val="bg1"/>
                </a:solidFill>
              </a:defRPr>
            </a:lvl1pPr>
          </a:lstStyle>
          <a:p>
            <a:r>
              <a:rPr lang="de-CH"/>
              <a:t> </a:t>
            </a:r>
          </a:p>
        </p:txBody>
      </p:sp>
      <p:sp>
        <p:nvSpPr>
          <p:cNvPr id="26" name="Picture Placeholder 9">
            <a:extLst>
              <a:ext uri="{FF2B5EF4-FFF2-40B4-BE49-F238E27FC236}">
                <a16:creationId xmlns:a16="http://schemas.microsoft.com/office/drawing/2014/main" xmlns="" id="{86A4EA51-51D8-483B-BAB1-D42F1C1D5BFF}"/>
              </a:ext>
            </a:extLst>
          </p:cNvPr>
          <p:cNvSpPr>
            <a:spLocks noGrp="1"/>
          </p:cNvSpPr>
          <p:nvPr>
            <p:ph type="pic" sz="quarter" idx="26" hasCustomPrompt="1"/>
          </p:nvPr>
        </p:nvSpPr>
        <p:spPr>
          <a:xfrm>
            <a:off x="2784284" y="3876577"/>
            <a:ext cx="432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5A76C50D-A2C1-441F-A698-02878A8CC1F9}"/>
              </a:ext>
            </a:extLst>
          </p:cNvPr>
          <p:cNvSpPr>
            <a:spLocks noGrp="1"/>
          </p:cNvSpPr>
          <p:nvPr>
            <p:ph type="pic" sz="quarter" idx="27" hasCustomPrompt="1"/>
          </p:nvPr>
        </p:nvSpPr>
        <p:spPr>
          <a:xfrm>
            <a:off x="3408284" y="3876577"/>
            <a:ext cx="432000" cy="324000"/>
          </a:xfrm>
        </p:spPr>
        <p:txBody>
          <a:bodyPr/>
          <a:lstStyle>
            <a:lvl1pPr marL="0" indent="0">
              <a:buNone/>
              <a:defRPr sz="800">
                <a:solidFill>
                  <a:schemeClr val="bg1"/>
                </a:solidFill>
              </a:defRPr>
            </a:lvl1pPr>
          </a:lstStyle>
          <a:p>
            <a:r>
              <a:rPr lang="de-CH"/>
              <a:t> </a:t>
            </a:r>
          </a:p>
        </p:txBody>
      </p:sp>
      <p:pic>
        <p:nvPicPr>
          <p:cNvPr id="3" name="Picture 2">
            <a:extLst>
              <a:ext uri="{FF2B5EF4-FFF2-40B4-BE49-F238E27FC236}">
                <a16:creationId xmlns:a16="http://schemas.microsoft.com/office/drawing/2014/main" xmlns="" id="{4B6A442D-305A-42B1-9418-4922DBEC909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8849554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912284" y="1556794"/>
            <a:ext cx="10655301" cy="692647"/>
          </a:xfrm>
        </p:spPr>
        <p:txBody>
          <a:bodyPr/>
          <a:lstStyle>
            <a:lvl1pPr>
              <a:defRPr sz="3600">
                <a:solidFill>
                  <a:schemeClr val="bg1"/>
                </a:solidFill>
              </a:defRPr>
            </a:lvl1pPr>
          </a:lstStyle>
          <a:p>
            <a:r>
              <a:rPr lang="en-US"/>
              <a:t>Click to edit Master title style</a:t>
            </a:r>
            <a:endParaRPr lang="en-GB"/>
          </a:p>
        </p:txBody>
      </p:sp>
      <p:sp>
        <p:nvSpPr>
          <p:cNvPr id="26" name="Text Placeholder 4">
            <a:extLst>
              <a:ext uri="{FF2B5EF4-FFF2-40B4-BE49-F238E27FC236}">
                <a16:creationId xmlns:a16="http://schemas.microsoft.com/office/drawing/2014/main" xmlns="" id="{BC6935B0-33E1-48F0-A2D3-422E6EB3D707}"/>
              </a:ext>
            </a:extLst>
          </p:cNvPr>
          <p:cNvSpPr>
            <a:spLocks noGrp="1"/>
          </p:cNvSpPr>
          <p:nvPr>
            <p:ph type="body" sz="quarter" idx="15" hasCustomPrompt="1"/>
          </p:nvPr>
        </p:nvSpPr>
        <p:spPr>
          <a:xfrm>
            <a:off x="907191" y="5493631"/>
            <a:ext cx="2093973" cy="138499"/>
          </a:xfrm>
        </p:spPr>
        <p:txBody>
          <a:bodyPr anchor="t">
            <a:noAutofit/>
          </a:bodyPr>
          <a:lstStyle>
            <a:lvl1pPr marL="0" indent="0">
              <a:spcBef>
                <a:spcPts val="0"/>
              </a:spcBef>
              <a:buFontTx/>
              <a:buNone/>
              <a:defRPr sz="900" b="1">
                <a:solidFill>
                  <a:srgbClr val="FFFFFF"/>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27" name="Text Placeholder 4">
            <a:extLst>
              <a:ext uri="{FF2B5EF4-FFF2-40B4-BE49-F238E27FC236}">
                <a16:creationId xmlns:a16="http://schemas.microsoft.com/office/drawing/2014/main" xmlns="" id="{1C84709E-D2F8-4BEC-B52C-D8701A916964}"/>
              </a:ext>
            </a:extLst>
          </p:cNvPr>
          <p:cNvSpPr>
            <a:spLocks noGrp="1"/>
          </p:cNvSpPr>
          <p:nvPr>
            <p:ph type="body" sz="quarter" idx="16"/>
          </p:nvPr>
        </p:nvSpPr>
        <p:spPr>
          <a:xfrm>
            <a:off x="907194" y="4247346"/>
            <a:ext cx="6648813" cy="184666"/>
          </a:xfrm>
        </p:spPr>
        <p:txBody>
          <a:bodyPr anchor="t">
            <a:noAutofit/>
          </a:bodyPr>
          <a:lstStyle>
            <a:lvl1pPr marL="0" indent="0">
              <a:spcBef>
                <a:spcPts val="0"/>
              </a:spcBef>
              <a:buFontTx/>
              <a:buNone/>
              <a:defRPr sz="1200">
                <a:solidFill>
                  <a:srgbClr val="FFFFFF"/>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xmlns="" id="{7DC113E1-0777-4EB0-86C3-E1778C2CBE3D}"/>
              </a:ext>
            </a:extLst>
          </p:cNvPr>
          <p:cNvSpPr>
            <a:spLocks noGrp="1"/>
          </p:cNvSpPr>
          <p:nvPr>
            <p:ph type="body" sz="quarter" idx="17" hasCustomPrompt="1"/>
          </p:nvPr>
        </p:nvSpPr>
        <p:spPr>
          <a:xfrm>
            <a:off x="907191" y="5633977"/>
            <a:ext cx="2093973" cy="473820"/>
          </a:xfrm>
        </p:spPr>
        <p:txBody>
          <a:bodyPr anchor="t">
            <a:noAutofit/>
          </a:bodyPr>
          <a:lstStyle>
            <a:lvl1pPr marL="0" indent="0">
              <a:spcBef>
                <a:spcPts val="0"/>
              </a:spcBef>
              <a:buFontTx/>
              <a:buNone/>
              <a:defRPr sz="900">
                <a:solidFill>
                  <a:srgbClr val="FFFFFF"/>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9" name="Text Placeholder 4">
            <a:extLst>
              <a:ext uri="{FF2B5EF4-FFF2-40B4-BE49-F238E27FC236}">
                <a16:creationId xmlns:a16="http://schemas.microsoft.com/office/drawing/2014/main" xmlns="" id="{E144D284-8080-4A0C-9E1A-6678F683CE36}"/>
              </a:ext>
            </a:extLst>
          </p:cNvPr>
          <p:cNvSpPr>
            <a:spLocks noGrp="1"/>
          </p:cNvSpPr>
          <p:nvPr>
            <p:ph type="body" sz="quarter" idx="18" hasCustomPrompt="1"/>
          </p:nvPr>
        </p:nvSpPr>
        <p:spPr>
          <a:xfrm>
            <a:off x="5641441" y="5493631"/>
            <a:ext cx="2093973" cy="1384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rgbClr val="FFFFFF"/>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30" name="Text Placeholder 4">
            <a:extLst>
              <a:ext uri="{FF2B5EF4-FFF2-40B4-BE49-F238E27FC236}">
                <a16:creationId xmlns:a16="http://schemas.microsoft.com/office/drawing/2014/main" xmlns="" id="{7E8F10E6-AFC0-4C8B-B6A7-D8CBCE27C80F}"/>
              </a:ext>
            </a:extLst>
          </p:cNvPr>
          <p:cNvSpPr>
            <a:spLocks noGrp="1"/>
          </p:cNvSpPr>
          <p:nvPr>
            <p:ph type="body" sz="quarter" idx="19" hasCustomPrompt="1"/>
          </p:nvPr>
        </p:nvSpPr>
        <p:spPr>
          <a:xfrm>
            <a:off x="5641441" y="5633977"/>
            <a:ext cx="2093973" cy="473820"/>
          </a:xfrm>
        </p:spPr>
        <p:txBody>
          <a:bodyPr anchor="t">
            <a:noAutofit/>
          </a:bodyPr>
          <a:lstStyle>
            <a:lvl1pPr marL="0" indent="0">
              <a:spcBef>
                <a:spcPts val="0"/>
              </a:spcBef>
              <a:buFontTx/>
              <a:buNone/>
              <a:defRPr sz="900">
                <a:solidFill>
                  <a:srgbClr val="FFFFFF"/>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31" name="Text Placeholder 4">
            <a:extLst>
              <a:ext uri="{FF2B5EF4-FFF2-40B4-BE49-F238E27FC236}">
                <a16:creationId xmlns:a16="http://schemas.microsoft.com/office/drawing/2014/main" xmlns="" id="{49033ED0-C327-40C9-A334-A83E22A3F1AB}"/>
              </a:ext>
            </a:extLst>
          </p:cNvPr>
          <p:cNvSpPr>
            <a:spLocks noGrp="1"/>
          </p:cNvSpPr>
          <p:nvPr>
            <p:ph type="body" sz="quarter" idx="20" hasCustomPrompt="1"/>
          </p:nvPr>
        </p:nvSpPr>
        <p:spPr>
          <a:xfrm>
            <a:off x="3274316" y="5493631"/>
            <a:ext cx="2093973" cy="1384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rgbClr val="FFFFFF"/>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32" name="Text Placeholder 4">
            <a:extLst>
              <a:ext uri="{FF2B5EF4-FFF2-40B4-BE49-F238E27FC236}">
                <a16:creationId xmlns:a16="http://schemas.microsoft.com/office/drawing/2014/main" xmlns="" id="{E91BADE4-63A4-442D-A53E-5A8B07570B44}"/>
              </a:ext>
            </a:extLst>
          </p:cNvPr>
          <p:cNvSpPr>
            <a:spLocks noGrp="1"/>
          </p:cNvSpPr>
          <p:nvPr>
            <p:ph type="body" sz="quarter" idx="21" hasCustomPrompt="1"/>
          </p:nvPr>
        </p:nvSpPr>
        <p:spPr>
          <a:xfrm>
            <a:off x="3274316" y="5633977"/>
            <a:ext cx="2093973" cy="473820"/>
          </a:xfrm>
        </p:spPr>
        <p:txBody>
          <a:bodyPr anchor="t">
            <a:noAutofit/>
          </a:bodyPr>
          <a:lstStyle>
            <a:lvl1pPr marL="0" indent="0">
              <a:spcBef>
                <a:spcPts val="0"/>
              </a:spcBef>
              <a:buFontTx/>
              <a:buNone/>
              <a:defRPr sz="900">
                <a:solidFill>
                  <a:srgbClr val="FFFFFF"/>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33" name="Text Placeholder 4">
            <a:extLst>
              <a:ext uri="{FF2B5EF4-FFF2-40B4-BE49-F238E27FC236}">
                <a16:creationId xmlns:a16="http://schemas.microsoft.com/office/drawing/2014/main" xmlns="" id="{8BA6594B-C39E-486E-B97F-B40A07B3F6B8}"/>
              </a:ext>
            </a:extLst>
          </p:cNvPr>
          <p:cNvSpPr>
            <a:spLocks noGrp="1"/>
          </p:cNvSpPr>
          <p:nvPr>
            <p:ph type="body" sz="quarter" idx="22"/>
          </p:nvPr>
        </p:nvSpPr>
        <p:spPr>
          <a:xfrm>
            <a:off x="8328173" y="4270489"/>
            <a:ext cx="3239411" cy="184666"/>
          </a:xfrm>
        </p:spPr>
        <p:txBody>
          <a:bodyPr anchor="t">
            <a:noAutofit/>
          </a:bodyPr>
          <a:lstStyle>
            <a:lvl1pPr marL="0" indent="0">
              <a:spcBef>
                <a:spcPts val="0"/>
              </a:spcBef>
              <a:buFontTx/>
              <a:buNone/>
              <a:defRPr sz="1200">
                <a:solidFill>
                  <a:srgbClr val="FFFFFF"/>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34" name="Picture Placeholder 3">
            <a:extLst>
              <a:ext uri="{FF2B5EF4-FFF2-40B4-BE49-F238E27FC236}">
                <a16:creationId xmlns:a16="http://schemas.microsoft.com/office/drawing/2014/main" xmlns="" id="{EF2DF1A5-96E5-463F-A34D-3E8AD0ADA114}"/>
              </a:ext>
            </a:extLst>
          </p:cNvPr>
          <p:cNvSpPr>
            <a:spLocks noGrp="1"/>
          </p:cNvSpPr>
          <p:nvPr>
            <p:ph type="pic" sz="quarter" idx="23" hasCustomPrompt="1"/>
          </p:nvPr>
        </p:nvSpPr>
        <p:spPr bwMode="gray">
          <a:xfrm>
            <a:off x="907192" y="4617216"/>
            <a:ext cx="1008000" cy="756000"/>
          </a:xfrm>
          <a:prstGeom prst="ellipse">
            <a:avLst/>
          </a:prstGeom>
        </p:spPr>
        <p:txBody>
          <a:bodyPr tIns="360000" anchor="ctr" anchorCtr="0"/>
          <a:lstStyle>
            <a:lvl1pPr marL="0" indent="0" algn="ctr">
              <a:buNone/>
              <a:defRPr sz="675">
                <a:solidFill>
                  <a:srgbClr val="FFFFFF"/>
                </a:solidFill>
              </a:defRPr>
            </a:lvl1pPr>
          </a:lstStyle>
          <a:p>
            <a:r>
              <a:rPr lang="en-US" noProof="0"/>
              <a:t>Add picture</a:t>
            </a:r>
          </a:p>
        </p:txBody>
      </p:sp>
      <p:sp>
        <p:nvSpPr>
          <p:cNvPr id="35" name="Picture Placeholder 3">
            <a:extLst>
              <a:ext uri="{FF2B5EF4-FFF2-40B4-BE49-F238E27FC236}">
                <a16:creationId xmlns:a16="http://schemas.microsoft.com/office/drawing/2014/main" xmlns="" id="{19D79AC9-D901-4D03-BF95-FCB70A7F4FAB}"/>
              </a:ext>
            </a:extLst>
          </p:cNvPr>
          <p:cNvSpPr>
            <a:spLocks noGrp="1"/>
          </p:cNvSpPr>
          <p:nvPr>
            <p:ph type="pic" sz="quarter" idx="24" hasCustomPrompt="1"/>
          </p:nvPr>
        </p:nvSpPr>
        <p:spPr bwMode="gray">
          <a:xfrm>
            <a:off x="3274316" y="4617216"/>
            <a:ext cx="1008000" cy="756000"/>
          </a:xfrm>
          <a:prstGeom prst="ellipse">
            <a:avLst/>
          </a:prstGeom>
        </p:spPr>
        <p:txBody>
          <a:bodyPr tIns="360000" anchor="ctr" anchorCtr="0"/>
          <a:lstStyle>
            <a:lvl1pPr marL="0" indent="0" algn="ctr">
              <a:buNone/>
              <a:defRPr sz="675">
                <a:solidFill>
                  <a:srgbClr val="FFFFFF"/>
                </a:solidFill>
              </a:defRPr>
            </a:lvl1pPr>
          </a:lstStyle>
          <a:p>
            <a:r>
              <a:rPr lang="en-US" noProof="0"/>
              <a:t>Add picture</a:t>
            </a:r>
          </a:p>
        </p:txBody>
      </p:sp>
      <p:sp>
        <p:nvSpPr>
          <p:cNvPr id="36" name="Picture Placeholder 3">
            <a:extLst>
              <a:ext uri="{FF2B5EF4-FFF2-40B4-BE49-F238E27FC236}">
                <a16:creationId xmlns:a16="http://schemas.microsoft.com/office/drawing/2014/main" xmlns="" id="{CE93ACF4-DCFD-434A-87F4-1F9E027AA7D4}"/>
              </a:ext>
            </a:extLst>
          </p:cNvPr>
          <p:cNvSpPr>
            <a:spLocks noGrp="1"/>
          </p:cNvSpPr>
          <p:nvPr>
            <p:ph type="pic" sz="quarter" idx="25" hasCustomPrompt="1"/>
          </p:nvPr>
        </p:nvSpPr>
        <p:spPr bwMode="gray">
          <a:xfrm>
            <a:off x="5641440" y="4617216"/>
            <a:ext cx="1008000" cy="756000"/>
          </a:xfrm>
          <a:prstGeom prst="ellipse">
            <a:avLst/>
          </a:prstGeom>
        </p:spPr>
        <p:txBody>
          <a:bodyPr tIns="360000" anchor="ctr" anchorCtr="0"/>
          <a:lstStyle>
            <a:lvl1pPr marL="0" indent="0" algn="ctr">
              <a:buNone/>
              <a:defRPr sz="675">
                <a:solidFill>
                  <a:srgbClr val="FFFFFF"/>
                </a:solidFill>
              </a:defRPr>
            </a:lvl1pPr>
          </a:lstStyle>
          <a:p>
            <a:r>
              <a:rPr lang="en-US" noProof="0"/>
              <a:t>Add picture</a:t>
            </a:r>
          </a:p>
        </p:txBody>
      </p:sp>
      <p:cxnSp>
        <p:nvCxnSpPr>
          <p:cNvPr id="37" name="Straight Connector 36">
            <a:extLst>
              <a:ext uri="{FF2B5EF4-FFF2-40B4-BE49-F238E27FC236}">
                <a16:creationId xmlns:a16="http://schemas.microsoft.com/office/drawing/2014/main" xmlns="" id="{8EDA55D4-1F76-4CD8-87FA-3B1AED91D557}"/>
              </a:ext>
            </a:extLst>
          </p:cNvPr>
          <p:cNvCxnSpPr>
            <a:cxnSpLocks/>
          </p:cNvCxnSpPr>
          <p:nvPr userDrawn="1"/>
        </p:nvCxnSpPr>
        <p:spPr>
          <a:xfrm>
            <a:off x="8124789" y="4315062"/>
            <a:ext cx="0" cy="171512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8" name="Picture Placeholder 9">
            <a:extLst>
              <a:ext uri="{FF2B5EF4-FFF2-40B4-BE49-F238E27FC236}">
                <a16:creationId xmlns:a16="http://schemas.microsoft.com/office/drawing/2014/main" xmlns="" id="{8C6246E7-1067-40C7-9825-6CFF78336FCD}"/>
              </a:ext>
            </a:extLst>
          </p:cNvPr>
          <p:cNvSpPr>
            <a:spLocks noGrp="1"/>
          </p:cNvSpPr>
          <p:nvPr>
            <p:ph type="pic" sz="quarter" idx="26" hasCustomPrompt="1"/>
          </p:nvPr>
        </p:nvSpPr>
        <p:spPr>
          <a:xfrm>
            <a:off x="8328173" y="4630917"/>
            <a:ext cx="432000" cy="324000"/>
          </a:xfrm>
        </p:spPr>
        <p:txBody>
          <a:bodyPr/>
          <a:lstStyle>
            <a:lvl1pPr marL="0" indent="0">
              <a:buNone/>
              <a:defRPr sz="800">
                <a:solidFill>
                  <a:srgbClr val="FFFFFF"/>
                </a:solidFill>
              </a:defRPr>
            </a:lvl1pPr>
          </a:lstStyle>
          <a:p>
            <a:r>
              <a:rPr lang="de-CH"/>
              <a:t> </a:t>
            </a:r>
          </a:p>
        </p:txBody>
      </p:sp>
      <p:sp>
        <p:nvSpPr>
          <p:cNvPr id="39" name="Picture Placeholder 9">
            <a:extLst>
              <a:ext uri="{FF2B5EF4-FFF2-40B4-BE49-F238E27FC236}">
                <a16:creationId xmlns:a16="http://schemas.microsoft.com/office/drawing/2014/main" xmlns="" id="{2EC2C2E5-45DC-4AF1-8BB8-D3EFDCCFBE38}"/>
              </a:ext>
            </a:extLst>
          </p:cNvPr>
          <p:cNvSpPr>
            <a:spLocks noGrp="1"/>
          </p:cNvSpPr>
          <p:nvPr>
            <p:ph type="pic" sz="quarter" idx="27" hasCustomPrompt="1"/>
          </p:nvPr>
        </p:nvSpPr>
        <p:spPr>
          <a:xfrm>
            <a:off x="8952173" y="4630917"/>
            <a:ext cx="432000" cy="324000"/>
          </a:xfrm>
        </p:spPr>
        <p:txBody>
          <a:bodyPr/>
          <a:lstStyle>
            <a:lvl1pPr marL="0" indent="0">
              <a:buNone/>
              <a:defRPr sz="800">
                <a:solidFill>
                  <a:srgbClr val="FFFFFF"/>
                </a:solidFill>
              </a:defRPr>
            </a:lvl1pPr>
          </a:lstStyle>
          <a:p>
            <a:r>
              <a:rPr lang="de-CH"/>
              <a:t> </a:t>
            </a:r>
          </a:p>
        </p:txBody>
      </p:sp>
      <p:sp>
        <p:nvSpPr>
          <p:cNvPr id="40" name="Picture Placeholder 9">
            <a:extLst>
              <a:ext uri="{FF2B5EF4-FFF2-40B4-BE49-F238E27FC236}">
                <a16:creationId xmlns:a16="http://schemas.microsoft.com/office/drawing/2014/main" xmlns="" id="{B81BB23E-ED13-4A6F-81E8-C4D643E51091}"/>
              </a:ext>
            </a:extLst>
          </p:cNvPr>
          <p:cNvSpPr>
            <a:spLocks noGrp="1"/>
          </p:cNvSpPr>
          <p:nvPr>
            <p:ph type="pic" sz="quarter" idx="28" hasCustomPrompt="1"/>
          </p:nvPr>
        </p:nvSpPr>
        <p:spPr>
          <a:xfrm>
            <a:off x="9576173" y="4630917"/>
            <a:ext cx="432000" cy="324000"/>
          </a:xfrm>
        </p:spPr>
        <p:txBody>
          <a:bodyPr/>
          <a:lstStyle>
            <a:lvl1pPr marL="0" indent="0">
              <a:buNone/>
              <a:defRPr sz="800">
                <a:solidFill>
                  <a:srgbClr val="FFFFFF"/>
                </a:solidFill>
              </a:defRPr>
            </a:lvl1pPr>
          </a:lstStyle>
          <a:p>
            <a:r>
              <a:rPr lang="de-CH"/>
              <a:t> </a:t>
            </a:r>
          </a:p>
        </p:txBody>
      </p:sp>
      <p:sp>
        <p:nvSpPr>
          <p:cNvPr id="41" name="Picture Placeholder 9">
            <a:extLst>
              <a:ext uri="{FF2B5EF4-FFF2-40B4-BE49-F238E27FC236}">
                <a16:creationId xmlns:a16="http://schemas.microsoft.com/office/drawing/2014/main" xmlns="" id="{B2CF9ED9-43DA-45E7-87DC-923AFC45440B}"/>
              </a:ext>
            </a:extLst>
          </p:cNvPr>
          <p:cNvSpPr>
            <a:spLocks noGrp="1"/>
          </p:cNvSpPr>
          <p:nvPr>
            <p:ph type="pic" sz="quarter" idx="29" hasCustomPrompt="1"/>
          </p:nvPr>
        </p:nvSpPr>
        <p:spPr>
          <a:xfrm>
            <a:off x="10200173" y="4630917"/>
            <a:ext cx="432000" cy="324000"/>
          </a:xfrm>
        </p:spPr>
        <p:txBody>
          <a:bodyPr/>
          <a:lstStyle>
            <a:lvl1pPr marL="0" indent="0">
              <a:buNone/>
              <a:defRPr sz="800">
                <a:solidFill>
                  <a:srgbClr val="FFFFFF"/>
                </a:solidFill>
              </a:defRPr>
            </a:lvl1pPr>
          </a:lstStyle>
          <a:p>
            <a:r>
              <a:rPr lang="de-CH"/>
              <a:t> </a:t>
            </a:r>
          </a:p>
        </p:txBody>
      </p:sp>
      <p:sp>
        <p:nvSpPr>
          <p:cNvPr id="42" name="Picture Placeholder 9">
            <a:extLst>
              <a:ext uri="{FF2B5EF4-FFF2-40B4-BE49-F238E27FC236}">
                <a16:creationId xmlns:a16="http://schemas.microsoft.com/office/drawing/2014/main" xmlns="" id="{F770DBF2-5F74-4ED0-98D2-43C2B16169DB}"/>
              </a:ext>
            </a:extLst>
          </p:cNvPr>
          <p:cNvSpPr>
            <a:spLocks noGrp="1"/>
          </p:cNvSpPr>
          <p:nvPr>
            <p:ph type="pic" sz="quarter" idx="30" hasCustomPrompt="1"/>
          </p:nvPr>
        </p:nvSpPr>
        <p:spPr>
          <a:xfrm>
            <a:off x="10824173" y="4630917"/>
            <a:ext cx="432000" cy="324000"/>
          </a:xfrm>
        </p:spPr>
        <p:txBody>
          <a:bodyPr/>
          <a:lstStyle>
            <a:lvl1pPr marL="0" indent="0">
              <a:buNone/>
              <a:defRPr sz="800">
                <a:solidFill>
                  <a:srgbClr val="FFFFFF"/>
                </a:solidFill>
              </a:defRPr>
            </a:lvl1pPr>
          </a:lstStyle>
          <a:p>
            <a:r>
              <a:rPr lang="de-CH"/>
              <a:t> </a:t>
            </a:r>
          </a:p>
        </p:txBody>
      </p:sp>
      <p:pic>
        <p:nvPicPr>
          <p:cNvPr id="4" name="Picture 3">
            <a:extLst>
              <a:ext uri="{FF2B5EF4-FFF2-40B4-BE49-F238E27FC236}">
                <a16:creationId xmlns:a16="http://schemas.microsoft.com/office/drawing/2014/main" xmlns="" id="{8CCB85A5-BDAD-4BD2-BCE5-2EC8790D6DD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808182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7289790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bg>
      <p:bgPr>
        <a:solidFill>
          <a:schemeClr val="bg1"/>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chemeClr val="tx1"/>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912284" y="1556794"/>
            <a:ext cx="10655301" cy="692647"/>
          </a:xfrm>
        </p:spPr>
        <p:txBody>
          <a:bodyPr/>
          <a:lstStyle>
            <a:lvl1pPr>
              <a:defRPr sz="3600">
                <a:solidFill>
                  <a:schemeClr val="tx2"/>
                </a:solidFill>
              </a:defRPr>
            </a:lvl1pPr>
          </a:lstStyle>
          <a:p>
            <a:r>
              <a:rPr lang="en-US"/>
              <a:t>Click to edit Master title style</a:t>
            </a:r>
            <a:endParaRPr lang="en-GB"/>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907191" y="5493631"/>
            <a:ext cx="2093973" cy="138499"/>
          </a:xfrm>
        </p:spPr>
        <p:txBody>
          <a:bodyPr anchor="t">
            <a:noAutofit/>
          </a:bodyPr>
          <a:lstStyle>
            <a:lvl1pPr marL="0" indent="0">
              <a:spcBef>
                <a:spcPts val="0"/>
              </a:spcBef>
              <a:buFontTx/>
              <a:buNone/>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907194" y="4247346"/>
            <a:ext cx="6648813" cy="184666"/>
          </a:xfrm>
        </p:spPr>
        <p:txBody>
          <a:bodyPr anchor="t">
            <a:noAutofit/>
          </a:bodyPr>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907191" y="5633977"/>
            <a:ext cx="2093973" cy="473820"/>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641441" y="5493631"/>
            <a:ext cx="2093973" cy="1384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641441" y="5633977"/>
            <a:ext cx="2093973" cy="473820"/>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274316" y="5493631"/>
            <a:ext cx="2093973" cy="1384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274316" y="5633977"/>
            <a:ext cx="2093973" cy="473820"/>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270489"/>
            <a:ext cx="3239411" cy="184666"/>
          </a:xfrm>
        </p:spPr>
        <p:txBody>
          <a:bodyPr anchor="t">
            <a:noAutofit/>
          </a:bodyPr>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US"/>
              <a:t>Click to edit Master text styles</a:t>
            </a:r>
          </a:p>
        </p:txBody>
      </p: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907192" y="4617216"/>
            <a:ext cx="1008000" cy="756000"/>
          </a:xfrm>
          <a:prstGeom prst="ellipse">
            <a:avLst/>
          </a:prstGeom>
        </p:spPr>
        <p:txBody>
          <a:bodyPr tIns="360000" anchor="ctr" anchorCtr="0"/>
          <a:lstStyle>
            <a:lvl1pPr marL="0" indent="0" algn="ctr">
              <a:buNone/>
              <a:defRPr sz="675">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274316" y="4617216"/>
            <a:ext cx="1008000" cy="756000"/>
          </a:xfrm>
          <a:prstGeom prst="ellipse">
            <a:avLst/>
          </a:prstGeom>
        </p:spPr>
        <p:txBody>
          <a:bodyPr tIns="360000" anchor="ctr" anchorCtr="0"/>
          <a:lstStyle>
            <a:lvl1pPr marL="0" indent="0" algn="ctr">
              <a:buNone/>
              <a:defRPr sz="675">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641440" y="4617216"/>
            <a:ext cx="1008000" cy="756000"/>
          </a:xfrm>
          <a:prstGeom prst="ellipse">
            <a:avLst/>
          </a:prstGeom>
        </p:spPr>
        <p:txBody>
          <a:bodyPr tIns="360000" anchor="ctr" anchorCtr="0"/>
          <a:lstStyle>
            <a:lvl1pPr marL="0" indent="0" algn="ctr">
              <a:buNone/>
              <a:defRPr sz="675">
                <a:solidFill>
                  <a:srgbClr val="A8BAB2"/>
                </a:solidFill>
              </a:defRPr>
            </a:lvl1pPr>
          </a:lstStyle>
          <a:p>
            <a:r>
              <a:rPr lang="en-US" noProof="0"/>
              <a:t>Add picture</a:t>
            </a:r>
          </a:p>
        </p:txBody>
      </p:sp>
      <p:cxnSp>
        <p:nvCxnSpPr>
          <p:cNvPr id="25" name="Straight Connector 24">
            <a:extLst>
              <a:ext uri="{FF2B5EF4-FFF2-40B4-BE49-F238E27FC236}">
                <a16:creationId xmlns:a16="http://schemas.microsoft.com/office/drawing/2014/main" xmlns="" id="{7DA822BD-510B-43CA-9F3F-95CB997016CF}"/>
              </a:ext>
            </a:extLst>
          </p:cNvPr>
          <p:cNvCxnSpPr>
            <a:cxnSpLocks/>
          </p:cNvCxnSpPr>
          <p:nvPr userDrawn="1"/>
        </p:nvCxnSpPr>
        <p:spPr>
          <a:xfrm>
            <a:off x="8124789" y="4315062"/>
            <a:ext cx="0" cy="171512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Picture Placeholder 9">
            <a:extLst>
              <a:ext uri="{FF2B5EF4-FFF2-40B4-BE49-F238E27FC236}">
                <a16:creationId xmlns:a16="http://schemas.microsoft.com/office/drawing/2014/main" xmlns="" id="{9D826773-7D8C-444C-8B14-E48BF7B5C28F}"/>
              </a:ext>
            </a:extLst>
          </p:cNvPr>
          <p:cNvSpPr>
            <a:spLocks noGrp="1"/>
          </p:cNvSpPr>
          <p:nvPr>
            <p:ph type="pic" sz="quarter" idx="26" hasCustomPrompt="1"/>
          </p:nvPr>
        </p:nvSpPr>
        <p:spPr>
          <a:xfrm>
            <a:off x="8328173" y="4630917"/>
            <a:ext cx="432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556FFE84-B766-4C90-8D0F-6695C861DC86}"/>
              </a:ext>
            </a:extLst>
          </p:cNvPr>
          <p:cNvSpPr>
            <a:spLocks noGrp="1"/>
          </p:cNvSpPr>
          <p:nvPr>
            <p:ph type="pic" sz="quarter" idx="27" hasCustomPrompt="1"/>
          </p:nvPr>
        </p:nvSpPr>
        <p:spPr>
          <a:xfrm>
            <a:off x="8952173" y="4630917"/>
            <a:ext cx="432000" cy="324000"/>
          </a:xfrm>
        </p:spPr>
        <p:txBody>
          <a:bodyPr/>
          <a:lstStyle>
            <a:lvl1pPr marL="0" indent="0">
              <a:buNone/>
              <a:defRPr sz="800">
                <a:solidFill>
                  <a:schemeClr val="bg1"/>
                </a:solidFill>
              </a:defRPr>
            </a:lvl1pPr>
          </a:lstStyle>
          <a:p>
            <a:r>
              <a:rPr lang="de-CH"/>
              <a:t> </a:t>
            </a:r>
          </a:p>
        </p:txBody>
      </p:sp>
      <p:sp>
        <p:nvSpPr>
          <p:cNvPr id="28" name="Picture Placeholder 9">
            <a:extLst>
              <a:ext uri="{FF2B5EF4-FFF2-40B4-BE49-F238E27FC236}">
                <a16:creationId xmlns:a16="http://schemas.microsoft.com/office/drawing/2014/main" xmlns="" id="{D48CF1A2-79AF-45CF-AA85-07D91EE40ED9}"/>
              </a:ext>
            </a:extLst>
          </p:cNvPr>
          <p:cNvSpPr>
            <a:spLocks noGrp="1"/>
          </p:cNvSpPr>
          <p:nvPr>
            <p:ph type="pic" sz="quarter" idx="28" hasCustomPrompt="1"/>
          </p:nvPr>
        </p:nvSpPr>
        <p:spPr>
          <a:xfrm>
            <a:off x="9576173" y="4630917"/>
            <a:ext cx="432000" cy="324000"/>
          </a:xfrm>
        </p:spPr>
        <p:txBody>
          <a:bodyPr/>
          <a:lstStyle>
            <a:lvl1pPr marL="0" indent="0">
              <a:buNone/>
              <a:defRPr sz="800">
                <a:solidFill>
                  <a:schemeClr val="bg1"/>
                </a:solidFill>
              </a:defRPr>
            </a:lvl1pPr>
          </a:lstStyle>
          <a:p>
            <a:r>
              <a:rPr lang="de-CH"/>
              <a:t> </a:t>
            </a:r>
          </a:p>
        </p:txBody>
      </p:sp>
      <p:sp>
        <p:nvSpPr>
          <p:cNvPr id="29" name="Picture Placeholder 9">
            <a:extLst>
              <a:ext uri="{FF2B5EF4-FFF2-40B4-BE49-F238E27FC236}">
                <a16:creationId xmlns:a16="http://schemas.microsoft.com/office/drawing/2014/main" xmlns="" id="{97CBE848-6DC6-4C15-9D2B-20914B4F54E8}"/>
              </a:ext>
            </a:extLst>
          </p:cNvPr>
          <p:cNvSpPr>
            <a:spLocks noGrp="1"/>
          </p:cNvSpPr>
          <p:nvPr>
            <p:ph type="pic" sz="quarter" idx="29" hasCustomPrompt="1"/>
          </p:nvPr>
        </p:nvSpPr>
        <p:spPr>
          <a:xfrm>
            <a:off x="10200173" y="4630917"/>
            <a:ext cx="432000" cy="324000"/>
          </a:xfrm>
        </p:spPr>
        <p:txBody>
          <a:bodyPr/>
          <a:lstStyle>
            <a:lvl1pPr marL="0" indent="0">
              <a:buNone/>
              <a:defRPr sz="800">
                <a:solidFill>
                  <a:schemeClr val="bg1"/>
                </a:solidFill>
              </a:defRPr>
            </a:lvl1pPr>
          </a:lstStyle>
          <a:p>
            <a:r>
              <a:rPr lang="de-CH"/>
              <a:t> </a:t>
            </a:r>
          </a:p>
        </p:txBody>
      </p:sp>
      <p:sp>
        <p:nvSpPr>
          <p:cNvPr id="30" name="Picture Placeholder 9">
            <a:extLst>
              <a:ext uri="{FF2B5EF4-FFF2-40B4-BE49-F238E27FC236}">
                <a16:creationId xmlns:a16="http://schemas.microsoft.com/office/drawing/2014/main" xmlns="" id="{D6B79FF8-231C-4D0E-8F1B-7AF3EB14A30B}"/>
              </a:ext>
            </a:extLst>
          </p:cNvPr>
          <p:cNvSpPr>
            <a:spLocks noGrp="1"/>
          </p:cNvSpPr>
          <p:nvPr>
            <p:ph type="pic" sz="quarter" idx="30" hasCustomPrompt="1"/>
          </p:nvPr>
        </p:nvSpPr>
        <p:spPr>
          <a:xfrm>
            <a:off x="10824173" y="4630917"/>
            <a:ext cx="432000" cy="324000"/>
          </a:xfrm>
        </p:spPr>
        <p:txBody>
          <a:bodyPr/>
          <a:lstStyle>
            <a:lvl1pPr marL="0" indent="0">
              <a:buNone/>
              <a:defRPr sz="800">
                <a:solidFill>
                  <a:schemeClr val="bg1"/>
                </a:solidFill>
              </a:defRPr>
            </a:lvl1pPr>
          </a:lstStyle>
          <a:p>
            <a:r>
              <a:rPr lang="de-CH"/>
              <a:t> </a:t>
            </a:r>
          </a:p>
        </p:txBody>
      </p:sp>
      <p:pic>
        <p:nvPicPr>
          <p:cNvPr id="4" name="Picture 3">
            <a:extLst>
              <a:ext uri="{FF2B5EF4-FFF2-40B4-BE49-F238E27FC236}">
                <a16:creationId xmlns:a16="http://schemas.microsoft.com/office/drawing/2014/main" xmlns="" id="{0BB98CFA-BB90-4B3D-9384-F32B04FF94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22167973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19027477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42742611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218161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912285" y="1628775"/>
            <a:ext cx="969621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912285" y="3573016"/>
            <a:ext cx="969621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7" name="Picture 6"/>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344106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10824010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42185584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2679175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noProof="0"/>
          </a:p>
        </p:txBody>
      </p:sp>
      <p:sp>
        <p:nvSpPr>
          <p:cNvPr id="6" name="Footer Placeholder 5"/>
          <p:cNvSpPr>
            <a:spLocks noGrp="1"/>
          </p:cNvSpPr>
          <p:nvPr>
            <p:ph type="ftr" sz="quarter" idx="11"/>
          </p:nvPr>
        </p:nvSpPr>
        <p:spPr/>
        <p:txBody>
          <a:bodyPr/>
          <a:lstStyle/>
          <a:p>
            <a:endParaRPr lang="en-GB" noProof="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noProof="0" smtClean="0"/>
              <a:pPr/>
              <a:t>‹#›</a:t>
            </a:fld>
            <a:endParaRPr lang="en-GB"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FFFFFF"/>
              </a:solidFill>
              <a:latin typeface="SwissReSans" pitchFamily="34" charset="0"/>
              <a:ea typeface="+mn-ea"/>
              <a:cs typeface="+mn-cs"/>
            </a:endParaRP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6528241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GB" noProof="1"/>
              <a:t>Click to browse for an own image. </a:t>
            </a:r>
            <a:br>
              <a:rPr lang="en-GB" noProof="1"/>
            </a:br>
            <a:r>
              <a:rPr lang="en-GB" noProof="1"/>
              <a:t>Be careful to avoid an image that clashes </a:t>
            </a:r>
            <a:br>
              <a:rPr lang="en-GB" noProof="1"/>
            </a:br>
            <a:r>
              <a:rPr lang="en-GB"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6374376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6636746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00580650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912286" y="692151"/>
            <a:ext cx="470366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0746444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8853230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384983194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2046387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420839622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727276543"/>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185643878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912285" y="1628775"/>
            <a:ext cx="969621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a:p>
        </p:txBody>
      </p:sp>
      <p:sp>
        <p:nvSpPr>
          <p:cNvPr id="9" name="Text Placeholder 9"/>
          <p:cNvSpPr>
            <a:spLocks noGrp="1"/>
          </p:cNvSpPr>
          <p:nvPr>
            <p:ph type="body" sz="quarter" idx="13"/>
          </p:nvPr>
        </p:nvSpPr>
        <p:spPr>
          <a:xfrm>
            <a:off x="912285" y="3573016"/>
            <a:ext cx="969621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Click to edit Master text styles</a:t>
            </a:r>
          </a:p>
        </p:txBody>
      </p:sp>
      <p:sp>
        <p:nvSpPr>
          <p:cNvPr id="10"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717817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matchingName="Section Header - Gradient"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Financial Statements | May 2020 | Reinsurance IFRS 17 Implementation</a:t>
            </a:r>
          </a:p>
        </p:txBody>
      </p:sp>
      <p:pic>
        <p:nvPicPr>
          <p:cNvPr id="6" name="Picture 5">
            <a:extLst>
              <a:ext uri="{FF2B5EF4-FFF2-40B4-BE49-F238E27FC236}">
                <a16:creationId xmlns:a16="http://schemas.microsoft.com/office/drawing/2014/main" xmlns="" id="{27C768EE-EB03-4977-94AD-4A1E67B35100}"/>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211770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36396978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2D5DF7-747C-4ED2-9D65-953D3BFFEB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90A0090-8FF9-4642-9AFA-808CAA035B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C6866ADD-3A9D-41D5-B066-E1C0F3ECCC58}"/>
              </a:ext>
            </a:extLst>
          </p:cNvPr>
          <p:cNvSpPr>
            <a:spLocks noGrp="1"/>
          </p:cNvSpPr>
          <p:nvPr>
            <p:ph type="dt" sz="half" idx="10"/>
          </p:nvPr>
        </p:nvSpPr>
        <p:spPr/>
        <p:txBody>
          <a:bodyPr/>
          <a:lstStyle/>
          <a:p>
            <a:fld id="{4E4BE869-1650-4E31-85F2-6D10A05E7C7D}" type="datetimeFigureOut">
              <a:rPr lang="en-GB" smtClean="0"/>
              <a:t>26/08/2021</a:t>
            </a:fld>
            <a:endParaRPr lang="en-GB"/>
          </a:p>
        </p:txBody>
      </p:sp>
      <p:sp>
        <p:nvSpPr>
          <p:cNvPr id="5" name="Footer Placeholder 4">
            <a:extLst>
              <a:ext uri="{FF2B5EF4-FFF2-40B4-BE49-F238E27FC236}">
                <a16:creationId xmlns:a16="http://schemas.microsoft.com/office/drawing/2014/main" xmlns="" id="{3B7B6645-B01F-4C27-94E9-26B819563C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91F44189-FC4F-48C4-A882-2BE5719C4755}"/>
              </a:ext>
            </a:extLst>
          </p:cNvPr>
          <p:cNvSpPr>
            <a:spLocks noGrp="1"/>
          </p:cNvSpPr>
          <p:nvPr>
            <p:ph type="sldNum" sz="quarter" idx="12"/>
          </p:nvPr>
        </p:nvSpPr>
        <p:spPr/>
        <p:txBody>
          <a:bodyPr/>
          <a:lstStyle/>
          <a:p>
            <a:fld id="{A5D15DC4-C496-4666-BEAA-92D9A2BE7764}" type="slidenum">
              <a:rPr lang="en-GB" smtClean="0"/>
              <a:t>‹#›</a:t>
            </a:fld>
            <a:endParaRPr lang="en-GB"/>
          </a:p>
        </p:txBody>
      </p:sp>
    </p:spTree>
    <p:extLst>
      <p:ext uri="{BB962C8B-B14F-4D97-AF65-F5344CB8AC3E}">
        <p14:creationId xmlns:p14="http://schemas.microsoft.com/office/powerpoint/2010/main" val="915920556"/>
      </p:ext>
    </p:extLst>
  </p:cSld>
  <p:clrMapOvr>
    <a:masterClrMapping/>
  </p:clrMapOvr>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Text and small Image"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867329080"/>
      </p:ext>
    </p:extLst>
  </p:cSld>
  <p:clrMapOvr>
    <a:masterClrMapping/>
  </p:clrMapOvr>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1778798527"/>
      </p:ext>
    </p:extLst>
  </p:cSld>
  <p:clrMapOvr>
    <a:masterClrMapping/>
  </p:clrMapOvr>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Image and Three Columns"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de-DE"/>
              <a:t>Bild durch Klicken auf Symbol hinzufügen</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de-DE"/>
              <a:t>Mastertitelformat bearbeiten</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Tree>
    <p:extLst>
      <p:ext uri="{BB962C8B-B14F-4D97-AF65-F5344CB8AC3E}">
        <p14:creationId xmlns:p14="http://schemas.microsoft.com/office/powerpoint/2010/main" val="9948549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126254196"/>
      </p:ext>
    </p:extLst>
  </p:cSld>
  <p:clrMapOvr>
    <a:masterClrMapping/>
  </p:clrMapOvr>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924284161"/>
      </p:ext>
    </p:extLst>
  </p:cSld>
  <p:clrMapOvr>
    <a:masterClrMapping/>
  </p:clrMapOvr>
  <p:hf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516424081"/>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396209277"/>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753176180"/>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037687113"/>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46046592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886916418"/>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8" y="1558252"/>
            <a:ext cx="6693893" cy="4607598"/>
          </a:xfrm>
        </p:spPr>
        <p:txBody>
          <a:bodyPr wrap="none" anchor="t" anchorCtr="0">
            <a:noAutofit/>
          </a:bodyPr>
          <a:lstStyle>
            <a:lvl1pPr marL="0" indent="0">
              <a:lnSpc>
                <a:spcPct val="100000"/>
              </a:lnSpc>
              <a:spcBef>
                <a:spcPts val="0"/>
              </a:spcBef>
              <a:buFontTx/>
              <a:buNone/>
              <a:defRPr sz="262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005569295"/>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1"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108897544"/>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566975618"/>
      </p:ext>
    </p:extLst>
  </p:cSld>
  <p:clrMapOvr>
    <a:masterClrMapping/>
  </p:clrMapOvr>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8"/>
            <a:ext cx="11017251"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399944047"/>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083904460"/>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756779565"/>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8"/>
            <a:ext cx="11017251"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8"/>
            <a:ext cx="10585251" cy="3960513"/>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460074449"/>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501312493"/>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7"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1" y="1844774"/>
            <a:ext cx="4884899" cy="395427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46087614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114296234"/>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20777731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466190424"/>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359324808"/>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7"/>
            <a:ext cx="6480795" cy="3528417"/>
          </a:xfrm>
        </p:spPr>
        <p:txBody>
          <a:bodyPr anchor="ctr"/>
          <a:lstStyle>
            <a:lvl1pPr marL="0" indent="0">
              <a:spcBef>
                <a:spcPts val="0"/>
              </a:spcBef>
              <a:buFontTx/>
              <a:buNone/>
              <a:defRPr sz="3750">
                <a:solidFill>
                  <a:schemeClr val="bg1"/>
                </a:solidFill>
                <a:latin typeface="SwissReSans Light" panose="020B0504020202020204" pitchFamily="3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630635147"/>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1" y="0"/>
            <a:ext cx="6102351"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2" name="Picture Placeholder 7"/>
          <p:cNvSpPr>
            <a:spLocks noGrp="1"/>
          </p:cNvSpPr>
          <p:nvPr>
            <p:ph type="pic" sz="quarter" idx="13" hasCustomPrompt="1"/>
          </p:nvPr>
        </p:nvSpPr>
        <p:spPr bwMode="gray">
          <a:xfrm>
            <a:off x="6102349" y="0"/>
            <a:ext cx="6089651"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6" y="692152"/>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63686395"/>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900">
                <a:solidFill>
                  <a:srgbClr val="A8BAB2"/>
                </a:solidFill>
                <a:latin typeface="SwissReSans"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354663099"/>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695122309"/>
      </p:ext>
    </p:extLst>
  </p:cSld>
  <p:clrMapOvr>
    <a:masterClrMapping/>
  </p:clrMapOvr>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940582207"/>
      </p:ext>
    </p:extLst>
  </p:cSld>
  <p:clrMapOvr>
    <a:masterClrMapping/>
  </p:clrMapOvr>
  <p:hf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2817824079"/>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9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6"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50321626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23634690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2545091001"/>
      </p:ext>
    </p:extLst>
  </p:cSld>
  <p:clrMapOvr>
    <a:masterClrMapping/>
  </p:clrMapOvr>
  <p:hf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1381181579"/>
      </p:ext>
    </p:extLst>
  </p:cSld>
  <p:clrMapOvr>
    <a:masterClrMapping/>
  </p:clrMapOvr>
  <p:hf hdr="0" ftr="0" dt="0"/>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612075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1500">
                <a:solidFill>
                  <a:srgbClr val="FFFFFF"/>
                </a:solidFill>
                <a:latin typeface="+mn-lt"/>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953156631"/>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720087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050">
                <a:solidFill>
                  <a:schemeClr val="bg1"/>
                </a:solidFill>
                <a:latin typeface="+mn-lt"/>
              </a:defRPr>
            </a:lvl1pPr>
            <a:lvl2pPr marL="136922" indent="0" algn="l">
              <a:buFontTx/>
              <a:buNone/>
              <a:defRPr sz="1200">
                <a:solidFill>
                  <a:schemeClr val="bg1"/>
                </a:solidFill>
              </a:defRPr>
            </a:lvl2pPr>
            <a:lvl3pPr marL="333375" indent="0" algn="l">
              <a:buFontTx/>
              <a:buNone/>
              <a:defRPr sz="1200">
                <a:solidFill>
                  <a:schemeClr val="bg1"/>
                </a:solidFill>
              </a:defRPr>
            </a:lvl3pPr>
            <a:lvl4pPr marL="536972" indent="0" algn="l">
              <a:buFontTx/>
              <a:buNone/>
              <a:defRPr sz="1200">
                <a:solidFill>
                  <a:schemeClr val="bg1"/>
                </a:solidFill>
              </a:defRPr>
            </a:lvl4pPr>
            <a:lvl5pPr marL="739379" indent="0" algn="l">
              <a:buFontTx/>
              <a:buNone/>
              <a:defRPr sz="12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2649165446"/>
      </p:ext>
    </p:extLst>
  </p:cSld>
  <p:clrMapOvr>
    <a:masterClrMapping/>
  </p:clrMapOvr>
  <p:hf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617846906"/>
      </p:ext>
    </p:extLst>
  </p:cSld>
  <p:clrMapOvr>
    <a:masterClrMapping/>
  </p:clrMapOvr>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1"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686829076"/>
      </p:ext>
    </p:extLst>
  </p:cSld>
  <p:clrMapOvr>
    <a:masterClrMapping/>
  </p:clrMapOvr>
  <p:hf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05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7"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7"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29"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29"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7"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7"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29"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29"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539681180"/>
      </p:ext>
    </p:extLst>
  </p:cSld>
  <p:clrMapOvr>
    <a:masterClrMapping/>
  </p:clrMapOvr>
  <p:hf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8"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8"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5"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5"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8"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8"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5"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5"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8"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8"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5"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5"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330625990"/>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1" y="0"/>
            <a:ext cx="8115300"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46246736"/>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3750">
                <a:solidFill>
                  <a:schemeClr val="bg2"/>
                </a:solidFill>
                <a:latin typeface="SwissReSans Light"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13155769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912285" y="1628775"/>
            <a:ext cx="969621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a:p>
        </p:txBody>
      </p:sp>
      <p:sp>
        <p:nvSpPr>
          <p:cNvPr id="9" name="Text Placeholder 9"/>
          <p:cNvSpPr>
            <a:spLocks noGrp="1"/>
          </p:cNvSpPr>
          <p:nvPr>
            <p:ph type="body" sz="quarter" idx="13"/>
          </p:nvPr>
        </p:nvSpPr>
        <p:spPr>
          <a:xfrm>
            <a:off x="912285" y="3573016"/>
            <a:ext cx="969621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Click to edit Master text styles</a:t>
            </a:r>
          </a:p>
        </p:txBody>
      </p:sp>
      <p:sp>
        <p:nvSpPr>
          <p:cNvPr id="10"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4022867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8"/>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7"/>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2"/>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6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581463288"/>
      </p:ext>
    </p:extLst>
  </p:cSld>
  <p:clrMapOvr>
    <a:masterClrMapping/>
  </p:clrMapOvr>
  <p:hf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6"/>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6"/>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6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6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6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500412463"/>
      </p:ext>
    </p:extLst>
  </p:cSld>
  <p:clrMapOvr>
    <a:masterClrMapping/>
  </p:clrMapOvr>
  <p:hf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244474663"/>
      </p:ext>
    </p:extLst>
  </p:cSld>
  <p:clrMapOvr>
    <a:masterClrMapping/>
  </p:clrMapOvr>
  <p:hf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4248306346"/>
      </p:ext>
    </p:extLst>
  </p:cSld>
  <p:clrMapOvr>
    <a:masterClrMapping/>
  </p:clrMapOvr>
  <p:hf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3171954602"/>
      </p:ext>
    </p:extLst>
  </p:cSld>
  <p:clrMapOvr>
    <a:masterClrMapping/>
  </p:clrMapOvr>
  <p:hf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3" name="Rectangle 2"/>
          <p:cNvSpPr/>
          <p:nvPr userDrawn="1"/>
        </p:nvSpPr>
        <p:spPr>
          <a:xfrm>
            <a:off x="11396292" y="6447649"/>
            <a:ext cx="325730" cy="230832"/>
          </a:xfrm>
          <a:prstGeom prst="rect">
            <a:avLst/>
          </a:prstGeom>
        </p:spPr>
        <p:txBody>
          <a:bodyPr wrap="none">
            <a:spAutoFit/>
          </a:bodyPr>
          <a:lstStyle/>
          <a:p>
            <a:fld id="{5E4D2043-7E31-4A53-BD33-72A88E682172}" type="slidenum">
              <a:rPr lang="en-GB" sz="900" smtClean="0"/>
              <a:pPr/>
              <a:t>‹#›</a:t>
            </a:fld>
            <a:endParaRPr lang="en-GB" sz="900"/>
          </a:p>
        </p:txBody>
      </p:sp>
    </p:spTree>
    <p:extLst>
      <p:ext uri="{BB962C8B-B14F-4D97-AF65-F5344CB8AC3E}">
        <p14:creationId xmlns:p14="http://schemas.microsoft.com/office/powerpoint/2010/main" val="412056014"/>
      </p:ext>
    </p:extLst>
  </p:cSld>
  <p:clrMapOvr>
    <a:masterClrMapping/>
  </p:clrMapOvr>
  <p:hf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414402662"/>
      </p:ext>
    </p:extLst>
  </p:cSld>
  <p:clrMapOvr>
    <a:masterClrMapping/>
  </p:clrMapOvr>
  <p:hf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768192782"/>
      </p:ext>
    </p:extLst>
  </p:cSld>
  <p:clrMapOvr>
    <a:masterClrMapping/>
  </p:clrMapOvr>
  <p:hf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476286772"/>
      </p:ext>
    </p:extLst>
  </p:cSld>
  <p:clrMapOvr>
    <a:masterClrMapping/>
  </p:clrMapOvr>
  <p:hf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1838471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2D5DF7-747C-4ED2-9D65-953D3BFFEB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90A0090-8FF9-4642-9AFA-808CAA035B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C6866ADD-3A9D-41D5-B066-E1C0F3ECCC58}"/>
              </a:ext>
            </a:extLst>
          </p:cNvPr>
          <p:cNvSpPr>
            <a:spLocks noGrp="1"/>
          </p:cNvSpPr>
          <p:nvPr>
            <p:ph type="dt" sz="half" idx="10"/>
          </p:nvPr>
        </p:nvSpPr>
        <p:spPr/>
        <p:txBody>
          <a:bodyPr/>
          <a:lstStyle/>
          <a:p>
            <a:fld id="{4E4BE869-1650-4E31-85F2-6D10A05E7C7D}" type="datetimeFigureOut">
              <a:rPr lang="en-GB" smtClean="0"/>
              <a:t>26/08/2021</a:t>
            </a:fld>
            <a:endParaRPr lang="en-GB"/>
          </a:p>
        </p:txBody>
      </p:sp>
      <p:sp>
        <p:nvSpPr>
          <p:cNvPr id="5" name="Footer Placeholder 4">
            <a:extLst>
              <a:ext uri="{FF2B5EF4-FFF2-40B4-BE49-F238E27FC236}">
                <a16:creationId xmlns:a16="http://schemas.microsoft.com/office/drawing/2014/main" xmlns="" id="{3B7B6645-B01F-4C27-94E9-26B819563C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91F44189-FC4F-48C4-A882-2BE5719C4755}"/>
              </a:ext>
            </a:extLst>
          </p:cNvPr>
          <p:cNvSpPr>
            <a:spLocks noGrp="1"/>
          </p:cNvSpPr>
          <p:nvPr>
            <p:ph type="sldNum" sz="quarter" idx="12"/>
          </p:nvPr>
        </p:nvSpPr>
        <p:spPr/>
        <p:txBody>
          <a:bodyPr/>
          <a:lstStyle/>
          <a:p>
            <a:fld id="{A5D15DC4-C496-4666-BEAA-92D9A2BE7764}" type="slidenum">
              <a:rPr lang="en-GB" smtClean="0"/>
              <a:t>‹#›</a:t>
            </a:fld>
            <a:endParaRPr lang="en-GB"/>
          </a:p>
        </p:txBody>
      </p:sp>
    </p:spTree>
    <p:extLst>
      <p:ext uri="{BB962C8B-B14F-4D97-AF65-F5344CB8AC3E}">
        <p14:creationId xmlns:p14="http://schemas.microsoft.com/office/powerpoint/2010/main" val="37223284"/>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337299302"/>
      </p:ext>
    </p:extLst>
  </p:cSld>
  <p:clrMapOvr>
    <a:masterClrMapping/>
  </p:clrMapOvr>
  <p:hf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419352230"/>
      </p:ext>
    </p:extLst>
  </p:cSld>
  <p:clrMapOvr>
    <a:masterClrMapping/>
  </p:clrMapOvr>
  <p:hf hdr="0" ft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290391911"/>
      </p:ext>
    </p:extLst>
  </p:cSld>
  <p:clrMapOvr>
    <a:masterClrMapping/>
  </p:clrMapOvr>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8" y="1558252"/>
            <a:ext cx="6693893" cy="4607598"/>
          </a:xfrm>
        </p:spPr>
        <p:txBody>
          <a:bodyPr wrap="none" anchor="t" anchorCtr="0">
            <a:noAutofit/>
          </a:bodyPr>
          <a:lstStyle>
            <a:lvl1pPr marL="0" indent="0">
              <a:lnSpc>
                <a:spcPct val="100000"/>
              </a:lnSpc>
              <a:spcBef>
                <a:spcPts val="0"/>
              </a:spcBef>
              <a:buFontTx/>
              <a:buNone/>
              <a:defRPr sz="262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94756711"/>
      </p:ext>
    </p:extLst>
  </p:cSld>
  <p:clrMapOvr>
    <a:masterClrMapping/>
  </p:clrMapOvr>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1"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421412079"/>
      </p:ext>
    </p:extLst>
  </p:cSld>
  <p:clrMapOvr>
    <a:masterClrMapping/>
  </p:clrMapOvr>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241847478"/>
      </p:ext>
    </p:extLst>
  </p:cSld>
  <p:clrMapOvr>
    <a:masterClrMapping/>
  </p:clrMapOvr>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8"/>
            <a:ext cx="11017251"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763851513"/>
      </p:ext>
    </p:extLst>
  </p:cSld>
  <p:clrMapOvr>
    <a:masterClrMapping/>
  </p:clrMapOvr>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734296882"/>
      </p:ext>
    </p:extLst>
  </p:cSld>
  <p:clrMapOvr>
    <a:masterClrMapping/>
  </p:clrMapOvr>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075406683"/>
      </p:ext>
    </p:extLst>
  </p:cSld>
  <p:clrMapOvr>
    <a:masterClrMapping/>
  </p:clrMapOvr>
  <p:hf hdr="0" ftr="0" dt="0"/>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8"/>
            <a:ext cx="11017251"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8"/>
            <a:ext cx="10585251" cy="3960513"/>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884757890"/>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ext and small Image"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845810022"/>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410834282"/>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7"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1" y="1844774"/>
            <a:ext cx="4884899" cy="395427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358465232"/>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24614610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59880602"/>
      </p:ext>
    </p:extLst>
  </p:cSld>
  <p:clrMapOvr>
    <a:masterClrMapping/>
  </p:clrMapOvr>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016649437"/>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7"/>
            <a:ext cx="6480795" cy="3528417"/>
          </a:xfrm>
        </p:spPr>
        <p:txBody>
          <a:bodyPr anchor="ctr"/>
          <a:lstStyle>
            <a:lvl1pPr marL="0" indent="0">
              <a:spcBef>
                <a:spcPts val="0"/>
              </a:spcBef>
              <a:buFontTx/>
              <a:buNone/>
              <a:defRPr sz="3750">
                <a:solidFill>
                  <a:schemeClr val="bg1"/>
                </a:solidFill>
                <a:latin typeface="SwissReSans Light" panose="020B0504020202020204" pitchFamily="3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925366945"/>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1" y="0"/>
            <a:ext cx="6102351"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2" name="Picture Placeholder 7"/>
          <p:cNvSpPr>
            <a:spLocks noGrp="1"/>
          </p:cNvSpPr>
          <p:nvPr>
            <p:ph type="pic" sz="quarter" idx="13" hasCustomPrompt="1"/>
          </p:nvPr>
        </p:nvSpPr>
        <p:spPr bwMode="gray">
          <a:xfrm>
            <a:off x="6102349" y="0"/>
            <a:ext cx="6089651"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6" y="692152"/>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94906921"/>
      </p:ext>
    </p:extLst>
  </p:cSld>
  <p:clrMapOvr>
    <a:masterClrMapping/>
  </p:clrMapOvr>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900">
                <a:solidFill>
                  <a:srgbClr val="A8BAB2"/>
                </a:solidFill>
                <a:latin typeface="SwissReSans"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2051716"/>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050619314"/>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52294574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6733746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2620243071"/>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2455960212"/>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9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6"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770393439"/>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396316188"/>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648328957"/>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612075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1500">
                <a:solidFill>
                  <a:srgbClr val="FFFFFF"/>
                </a:solidFill>
                <a:latin typeface="+mn-lt"/>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2128083084"/>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720087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050">
                <a:solidFill>
                  <a:schemeClr val="bg1"/>
                </a:solidFill>
                <a:latin typeface="+mn-lt"/>
              </a:defRPr>
            </a:lvl1pPr>
            <a:lvl2pPr marL="136922" indent="0" algn="l">
              <a:buFontTx/>
              <a:buNone/>
              <a:defRPr sz="1200">
                <a:solidFill>
                  <a:schemeClr val="bg1"/>
                </a:solidFill>
              </a:defRPr>
            </a:lvl2pPr>
            <a:lvl3pPr marL="333375" indent="0" algn="l">
              <a:buFontTx/>
              <a:buNone/>
              <a:defRPr sz="1200">
                <a:solidFill>
                  <a:schemeClr val="bg1"/>
                </a:solidFill>
              </a:defRPr>
            </a:lvl3pPr>
            <a:lvl4pPr marL="536972" indent="0" algn="l">
              <a:buFontTx/>
              <a:buNone/>
              <a:defRPr sz="1200">
                <a:solidFill>
                  <a:schemeClr val="bg1"/>
                </a:solidFill>
              </a:defRPr>
            </a:lvl4pPr>
            <a:lvl5pPr marL="739379" indent="0" algn="l">
              <a:buFontTx/>
              <a:buNone/>
              <a:defRPr sz="12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743450144"/>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770600285"/>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1"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614443059"/>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05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7"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7"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29"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29"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7"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7"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29"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29"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65538601"/>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8"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8"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5"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5"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8"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8"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5"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5"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8"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8"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5"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5"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526949146"/>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Image and Three Columns"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de-DE"/>
              <a:t>Bild durch Klicken auf Symbol hinzufügen</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de-DE"/>
              <a:t>Mastertitelformat bearbeiten</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Tree>
    <p:extLst>
      <p:ext uri="{BB962C8B-B14F-4D97-AF65-F5344CB8AC3E}">
        <p14:creationId xmlns:p14="http://schemas.microsoft.com/office/powerpoint/2010/main" val="13671530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1" y="0"/>
            <a:ext cx="8115300"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324483128"/>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3750">
                <a:solidFill>
                  <a:schemeClr val="bg2"/>
                </a:solidFill>
                <a:latin typeface="SwissReSans Light"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232975608"/>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8"/>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7"/>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2"/>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6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07258791"/>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6"/>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6"/>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6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6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6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528990719"/>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359284109"/>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686331464"/>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4053436728"/>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27104" y="673088"/>
            <a:ext cx="10655299" cy="692647"/>
          </a:xfrm>
        </p:spPr>
        <p:txBody>
          <a:bodyPr/>
          <a:lstStyle/>
          <a:p>
            <a:r>
              <a:rPr lang="en-GB"/>
              <a:t>Click to edit Master title style</a:t>
            </a:r>
          </a:p>
        </p:txBody>
      </p:sp>
      <p:sp>
        <p:nvSpPr>
          <p:cNvPr id="3" name="Content Placeholder 2"/>
          <p:cNvSpPr>
            <a:spLocks noGrp="1"/>
          </p:cNvSpPr>
          <p:nvPr>
            <p:ph idx="1"/>
          </p:nvPr>
        </p:nvSpPr>
        <p:spPr bwMode="gray">
          <a:xfrm>
            <a:off x="609601" y="1425600"/>
            <a:ext cx="10972800" cy="470001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5" name="Rectangle 4"/>
          <p:cNvSpPr/>
          <p:nvPr userDrawn="1"/>
        </p:nvSpPr>
        <p:spPr>
          <a:xfrm>
            <a:off x="11395425" y="6368715"/>
            <a:ext cx="576835" cy="230832"/>
          </a:xfrm>
          <a:prstGeom prst="rect">
            <a:avLst/>
          </a:prstGeom>
        </p:spPr>
        <p:txBody>
          <a:bodyPr wrap="square">
            <a:spAutoFit/>
          </a:bodyPr>
          <a:lstStyle/>
          <a:p>
            <a:fld id="{5E4D2043-7E31-4A53-BD33-72A88E682172}" type="slidenum">
              <a:rPr lang="en-GB" sz="900" smtClean="0"/>
              <a:pPr/>
              <a:t>‹#›</a:t>
            </a:fld>
            <a:endParaRPr lang="en-GB" sz="900"/>
          </a:p>
        </p:txBody>
      </p:sp>
    </p:spTree>
    <p:extLst>
      <p:ext uri="{BB962C8B-B14F-4D97-AF65-F5344CB8AC3E}">
        <p14:creationId xmlns:p14="http://schemas.microsoft.com/office/powerpoint/2010/main" val="3299227465"/>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3" name="Rectangle 2"/>
          <p:cNvSpPr/>
          <p:nvPr userDrawn="1"/>
        </p:nvSpPr>
        <p:spPr>
          <a:xfrm>
            <a:off x="11396292" y="6447649"/>
            <a:ext cx="325730" cy="230832"/>
          </a:xfrm>
          <a:prstGeom prst="rect">
            <a:avLst/>
          </a:prstGeom>
        </p:spPr>
        <p:txBody>
          <a:bodyPr wrap="none">
            <a:spAutoFit/>
          </a:bodyPr>
          <a:lstStyle/>
          <a:p>
            <a:fld id="{5E4D2043-7E31-4A53-BD33-72A88E682172}" type="slidenum">
              <a:rPr lang="en-GB" sz="900" smtClean="0"/>
              <a:pPr/>
              <a:t>‹#›</a:t>
            </a:fld>
            <a:endParaRPr lang="en-GB" sz="900"/>
          </a:p>
        </p:txBody>
      </p:sp>
    </p:spTree>
    <p:extLst>
      <p:ext uri="{BB962C8B-B14F-4D97-AF65-F5344CB8AC3E}">
        <p14:creationId xmlns:p14="http://schemas.microsoft.com/office/powerpoint/2010/main" val="313703841"/>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499851367"/>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ext and Gradient"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1794313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4091118734"/>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982823626"/>
      </p:ext>
    </p:extLst>
  </p:cSld>
  <p:clrMapOvr>
    <a:masterClrMapping/>
  </p:clrMapOvr>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694046497"/>
      </p:ext>
    </p:extLst>
  </p:cSld>
  <p:clrMapOvr>
    <a:masterClrMapping/>
  </p:clrMapOvr>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99985653"/>
      </p:ext>
    </p:extLst>
  </p:cSld>
  <p:clrMapOvr>
    <a:masterClrMapping/>
  </p:clrMapOvr>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681069249"/>
      </p:ext>
    </p:extLst>
  </p:cSld>
  <p:clrMapOvr>
    <a:masterClrMapping/>
  </p:clrMapOvr>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7759377"/>
      </p:ext>
    </p:extLst>
  </p:cSld>
  <p:clrMapOvr>
    <a:masterClrMapping/>
  </p:clrMapOvr>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8" y="1558252"/>
            <a:ext cx="6693893" cy="4607598"/>
          </a:xfrm>
        </p:spPr>
        <p:txBody>
          <a:bodyPr wrap="none" anchor="t" anchorCtr="0">
            <a:noAutofit/>
          </a:bodyPr>
          <a:lstStyle>
            <a:lvl1pPr marL="0" indent="0">
              <a:lnSpc>
                <a:spcPct val="100000"/>
              </a:lnSpc>
              <a:spcBef>
                <a:spcPts val="0"/>
              </a:spcBef>
              <a:buFontTx/>
              <a:buNone/>
              <a:defRPr sz="262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132570989"/>
      </p:ext>
    </p:extLst>
  </p:cSld>
  <p:clrMapOvr>
    <a:masterClrMapping/>
  </p:clrMapOvr>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1"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088619357"/>
      </p:ext>
    </p:extLst>
  </p:cSld>
  <p:clrMapOvr>
    <a:masterClrMapping/>
  </p:clrMapOvr>
  <p:hf hdr="0" ftr="0" dt="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1" cy="623071"/>
          </a:xfrm>
        </p:spPr>
        <p:txBody>
          <a:bodyPr vert="horz" lIns="0" tIns="0" rIns="0" bIns="0" rtlCol="0" anchor="t" anchorCtr="0">
            <a:noAutofit/>
          </a:bodyPr>
          <a:lstStyle>
            <a:lvl1pPr algn="l" defTabSz="685800" rtl="0" eaLnBrk="1" latinLnBrk="0" hangingPunct="1">
              <a:lnSpc>
                <a:spcPct val="90000"/>
              </a:lnSpc>
              <a:spcBef>
                <a:spcPct val="0"/>
              </a:spcBef>
              <a:buNone/>
              <a:defRPr lang="en-GB" sz="12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6"/>
            <a:ext cx="4472180" cy="3847207"/>
          </a:xfrm>
        </p:spPr>
        <p:txBody>
          <a:bodyPr wrap="none" anchor="t">
            <a:noAutofit/>
          </a:bodyPr>
          <a:lstStyle>
            <a:lvl1pPr marL="0" indent="0">
              <a:spcBef>
                <a:spcPts val="0"/>
              </a:spcBef>
              <a:buFontTx/>
              <a:buNone/>
              <a:defRPr sz="18750" b="1">
                <a:solidFill>
                  <a:schemeClr val="bg1"/>
                </a:solidFill>
                <a:latin typeface="SwissReSans Light" panose="020B0504020202020204" pitchFamily="34" charset="0"/>
              </a:defRPr>
            </a:lvl1pPr>
            <a:lvl2pPr marL="136922" indent="0">
              <a:spcBef>
                <a:spcPts val="0"/>
              </a:spcBef>
              <a:buFontTx/>
              <a:buNone/>
              <a:defRPr sz="26250">
                <a:solidFill>
                  <a:schemeClr val="bg1"/>
                </a:solidFill>
                <a:latin typeface="SwissReSans Light" panose="020B0504020202020204" pitchFamily="34" charset="0"/>
              </a:defRPr>
            </a:lvl2pPr>
            <a:lvl3pPr marL="333375" indent="0">
              <a:spcBef>
                <a:spcPts val="0"/>
              </a:spcBef>
              <a:buFontTx/>
              <a:buNone/>
              <a:defRPr sz="26250">
                <a:solidFill>
                  <a:schemeClr val="bg1"/>
                </a:solidFill>
                <a:latin typeface="SwissReSans Light" panose="020B0504020202020204" pitchFamily="34" charset="0"/>
              </a:defRPr>
            </a:lvl3pPr>
            <a:lvl4pPr marL="536972" indent="0">
              <a:spcBef>
                <a:spcPts val="0"/>
              </a:spcBef>
              <a:buFontTx/>
              <a:buNone/>
              <a:defRPr sz="26250">
                <a:solidFill>
                  <a:schemeClr val="bg1"/>
                </a:solidFill>
                <a:latin typeface="SwissReSans Light" panose="020B0504020202020204" pitchFamily="34" charset="0"/>
              </a:defRPr>
            </a:lvl4pPr>
            <a:lvl5pPr marL="739379" indent="0">
              <a:spcBef>
                <a:spcPts val="0"/>
              </a:spcBef>
              <a:buFontTx/>
              <a:buNone/>
              <a:defRPr sz="2625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377269271"/>
      </p:ext>
    </p:extLst>
  </p:cSld>
  <p:clrMapOvr>
    <a:masterClrMapping/>
  </p:clrMapOvr>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8"/>
            <a:ext cx="11017251"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98235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Section Header - Gradient and Number"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53CA2B31-CBAE-4FCE-8922-2157B75354D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805943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822958134"/>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636817136"/>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8"/>
            <a:ext cx="11017251"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8"/>
            <a:ext cx="10585251" cy="3960513"/>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048932954"/>
      </p:ext>
    </p:extLst>
  </p:cSld>
  <p:clrMapOvr>
    <a:masterClrMapping/>
  </p:clrMapOvr>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736104655"/>
      </p:ext>
    </p:extLst>
  </p:cSld>
  <p:clrMapOvr>
    <a:masterClrMapping/>
  </p:clrMapOvr>
  <p:hf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7"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1" y="1844774"/>
            <a:ext cx="4884899" cy="395427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121188421"/>
      </p:ext>
    </p:extLst>
  </p:cSld>
  <p:clrMapOvr>
    <a:masterClrMapping/>
  </p:clrMapOvr>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2"/>
            <a:ext cx="1101725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2F0D4244-74E1-4F31-926F-FC9A8ADAD28D}"/>
              </a:ext>
            </a:extLst>
          </p:cNvPr>
          <p:cNvSpPr>
            <a:spLocks noGrp="1"/>
          </p:cNvSpPr>
          <p:nvPr>
            <p:ph type="body" sz="quarter" idx="15" hasCustomPrompt="1"/>
          </p:nvPr>
        </p:nvSpPr>
        <p:spPr>
          <a:xfrm>
            <a:off x="704851" y="5409209"/>
            <a:ext cx="11007725" cy="612178"/>
          </a:xfrm>
          <a:solidFill>
            <a:schemeClr val="bg2"/>
          </a:solidFill>
        </p:spPr>
        <p:txBody>
          <a:bodyPr lIns="180000" rIns="180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Add conclusion here</a:t>
            </a:r>
          </a:p>
        </p:txBody>
      </p:sp>
      <p:sp>
        <p:nvSpPr>
          <p:cNvPr id="7" name="Picture Placeholder 6">
            <a:extLst>
              <a:ext uri="{FF2B5EF4-FFF2-40B4-BE49-F238E27FC236}">
                <a16:creationId xmlns:a16="http://schemas.microsoft.com/office/drawing/2014/main" xmlns="" id="{91AB0222-82AA-4B01-A991-510DEF31453D}"/>
              </a:ext>
            </a:extLst>
          </p:cNvPr>
          <p:cNvSpPr>
            <a:spLocks noGrp="1"/>
          </p:cNvSpPr>
          <p:nvPr>
            <p:ph type="pic" sz="quarter" idx="16"/>
          </p:nvPr>
        </p:nvSpPr>
        <p:spPr>
          <a:xfrm>
            <a:off x="9098975" y="1628774"/>
            <a:ext cx="2613600" cy="3641316"/>
          </a:xfrm>
        </p:spPr>
        <p:txBody>
          <a:bodyPr/>
          <a:lstStyle>
            <a:lvl1pPr marL="0" indent="0" algn="ctr">
              <a:spcBef>
                <a:spcPts val="0"/>
              </a:spcBef>
              <a:buNone/>
              <a:defRPr/>
            </a:lvl1pPr>
          </a:lstStyle>
          <a:p>
            <a:r>
              <a:rPr lang="en-GB"/>
              <a:t>Click icon to add picture</a:t>
            </a:r>
          </a:p>
        </p:txBody>
      </p:sp>
      <p:sp>
        <p:nvSpPr>
          <p:cNvPr id="15" name="Text Placeholder 4">
            <a:extLst>
              <a:ext uri="{FF2B5EF4-FFF2-40B4-BE49-F238E27FC236}">
                <a16:creationId xmlns:a16="http://schemas.microsoft.com/office/drawing/2014/main" xmlns="" id="{68D4FCF9-EAC0-40E2-B779-76FB9440FC14}"/>
              </a:ext>
            </a:extLst>
          </p:cNvPr>
          <p:cNvSpPr>
            <a:spLocks noGrp="1"/>
          </p:cNvSpPr>
          <p:nvPr>
            <p:ph type="body" sz="quarter" idx="17"/>
          </p:nvPr>
        </p:nvSpPr>
        <p:spPr>
          <a:xfrm>
            <a:off x="695327"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
        <p:nvSpPr>
          <p:cNvPr id="16" name="Text Placeholder 4">
            <a:extLst>
              <a:ext uri="{FF2B5EF4-FFF2-40B4-BE49-F238E27FC236}">
                <a16:creationId xmlns:a16="http://schemas.microsoft.com/office/drawing/2014/main" xmlns="" id="{61BA5B7C-8DA8-4946-8A4A-49A13E3FC00B}"/>
              </a:ext>
            </a:extLst>
          </p:cNvPr>
          <p:cNvSpPr>
            <a:spLocks noGrp="1"/>
          </p:cNvSpPr>
          <p:nvPr>
            <p:ph type="body" sz="quarter" idx="18"/>
          </p:nvPr>
        </p:nvSpPr>
        <p:spPr>
          <a:xfrm>
            <a:off x="3496543"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
        <p:nvSpPr>
          <p:cNvPr id="17" name="Text Placeholder 4">
            <a:extLst>
              <a:ext uri="{FF2B5EF4-FFF2-40B4-BE49-F238E27FC236}">
                <a16:creationId xmlns:a16="http://schemas.microsoft.com/office/drawing/2014/main" xmlns="" id="{CA9347D2-246D-4A68-A626-7F07D6B55066}"/>
              </a:ext>
            </a:extLst>
          </p:cNvPr>
          <p:cNvSpPr>
            <a:spLocks noGrp="1"/>
          </p:cNvSpPr>
          <p:nvPr>
            <p:ph type="body" sz="quarter" idx="19"/>
          </p:nvPr>
        </p:nvSpPr>
        <p:spPr>
          <a:xfrm>
            <a:off x="6297757"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
        <p:nvSpPr>
          <p:cNvPr id="18" name="Text Placeholder 4">
            <a:extLst>
              <a:ext uri="{FF2B5EF4-FFF2-40B4-BE49-F238E27FC236}">
                <a16:creationId xmlns:a16="http://schemas.microsoft.com/office/drawing/2014/main" xmlns="" id="{C7C373BE-49B0-4763-B7A1-CBAEDE2CF2E6}"/>
              </a:ext>
            </a:extLst>
          </p:cNvPr>
          <p:cNvSpPr>
            <a:spLocks noGrp="1"/>
          </p:cNvSpPr>
          <p:nvPr>
            <p:ph type="body" sz="quarter" idx="20"/>
          </p:nvPr>
        </p:nvSpPr>
        <p:spPr>
          <a:xfrm>
            <a:off x="695327"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
        <p:nvSpPr>
          <p:cNvPr id="19" name="Text Placeholder 4">
            <a:extLst>
              <a:ext uri="{FF2B5EF4-FFF2-40B4-BE49-F238E27FC236}">
                <a16:creationId xmlns:a16="http://schemas.microsoft.com/office/drawing/2014/main" xmlns="" id="{8A5E670B-AB2B-47F5-9DCA-FE8A9C9EEC73}"/>
              </a:ext>
            </a:extLst>
          </p:cNvPr>
          <p:cNvSpPr>
            <a:spLocks noGrp="1"/>
          </p:cNvSpPr>
          <p:nvPr>
            <p:ph type="body" sz="quarter" idx="21"/>
          </p:nvPr>
        </p:nvSpPr>
        <p:spPr>
          <a:xfrm>
            <a:off x="3497660"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
        <p:nvSpPr>
          <p:cNvPr id="20" name="Text Placeholder 4">
            <a:extLst>
              <a:ext uri="{FF2B5EF4-FFF2-40B4-BE49-F238E27FC236}">
                <a16:creationId xmlns:a16="http://schemas.microsoft.com/office/drawing/2014/main" xmlns="" id="{7384C407-AF5F-4536-BFF8-BD0CCAF9ABA9}"/>
              </a:ext>
            </a:extLst>
          </p:cNvPr>
          <p:cNvSpPr>
            <a:spLocks noGrp="1"/>
          </p:cNvSpPr>
          <p:nvPr>
            <p:ph type="body" sz="quarter" idx="22"/>
          </p:nvPr>
        </p:nvSpPr>
        <p:spPr>
          <a:xfrm>
            <a:off x="6296640"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GB"/>
              <a:t>Click to edit Master text styles</a:t>
            </a:r>
          </a:p>
        </p:txBody>
      </p:sp>
    </p:spTree>
    <p:extLst>
      <p:ext uri="{BB962C8B-B14F-4D97-AF65-F5344CB8AC3E}">
        <p14:creationId xmlns:p14="http://schemas.microsoft.com/office/powerpoint/2010/main" val="2622072963"/>
      </p:ext>
    </p:extLst>
  </p:cSld>
  <p:clrMapOvr>
    <a:masterClrMapping/>
  </p:clrMapOvr>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326925372"/>
      </p:ext>
    </p:extLst>
  </p:cSld>
  <p:clrMapOvr>
    <a:masterClrMapping/>
  </p:clrMapOvr>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052658373"/>
      </p:ext>
    </p:extLst>
  </p:cSld>
  <p:clrMapOvr>
    <a:masterClrMapping/>
  </p:clrMapOvr>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635181613"/>
      </p:ext>
    </p:extLst>
  </p:cSld>
  <p:clrMapOvr>
    <a:masterClrMapping/>
  </p:clrMapOvr>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7"/>
            <a:ext cx="6480795" cy="3528417"/>
          </a:xfrm>
        </p:spPr>
        <p:txBody>
          <a:bodyPr anchor="ctr"/>
          <a:lstStyle>
            <a:lvl1pPr marL="0" indent="0">
              <a:spcBef>
                <a:spcPts val="0"/>
              </a:spcBef>
              <a:buFontTx/>
              <a:buNone/>
              <a:defRPr sz="3750">
                <a:solidFill>
                  <a:schemeClr val="bg1"/>
                </a:solidFill>
                <a:latin typeface="SwissReSans Light" panose="020B0504020202020204" pitchFamily="3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48010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matchingName="Key Message with Circle"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17 Training for India | July 2021 | </a:t>
            </a:r>
            <a:r>
              <a:rPr lang="en-US" sz="1000" b="0" kern="1200">
                <a:solidFill>
                  <a:srgbClr val="FFFFFF"/>
                </a:solidFill>
                <a:latin typeface="SwissReSans" pitchFamily="34" charset="0"/>
                <a:ea typeface="+mn-ea"/>
                <a:cs typeface="+mn-cs"/>
              </a:rPr>
              <a:t>Business Development &amp; IFRS17 Implem. Team</a:t>
            </a:r>
            <a:endParaRPr lang="en-GB" sz="1000" b="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8" name="Picture 7">
            <a:extLst>
              <a:ext uri="{FF2B5EF4-FFF2-40B4-BE49-F238E27FC236}">
                <a16:creationId xmlns:a16="http://schemas.microsoft.com/office/drawing/2014/main" xmlns="" id="{BFE2AB73-612B-4FF3-A9D4-B4F968648D60}"/>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68702566"/>
      </p:ext>
    </p:extLst>
  </p:cSld>
  <p:clrMapOvr>
    <a:masterClrMapping/>
  </p:clrMapOvr>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1" y="0"/>
            <a:ext cx="6102351"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2" name="Picture Placeholder 7"/>
          <p:cNvSpPr>
            <a:spLocks noGrp="1"/>
          </p:cNvSpPr>
          <p:nvPr>
            <p:ph type="pic" sz="quarter" idx="13" hasCustomPrompt="1"/>
          </p:nvPr>
        </p:nvSpPr>
        <p:spPr bwMode="gray">
          <a:xfrm>
            <a:off x="6102349" y="0"/>
            <a:ext cx="6089651"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6" y="692152"/>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603372258"/>
      </p:ext>
    </p:extLst>
  </p:cSld>
  <p:clrMapOvr>
    <a:masterClrMapping/>
  </p:clrMapOvr>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900">
                <a:solidFill>
                  <a:srgbClr val="A8BAB2"/>
                </a:solidFill>
                <a:latin typeface="SwissReSans"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909974733"/>
      </p:ext>
    </p:extLst>
  </p:cSld>
  <p:clrMapOvr>
    <a:masterClrMapping/>
  </p:clrMapOvr>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139342418"/>
      </p:ext>
    </p:extLst>
  </p:cSld>
  <p:clrMapOvr>
    <a:masterClrMapping/>
  </p:clrMapOvr>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784448391"/>
      </p:ext>
    </p:extLst>
  </p:cSld>
  <p:clrMapOvr>
    <a:masterClrMapping/>
  </p:clrMapOvr>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2382559675"/>
      </p:ext>
    </p:extLst>
  </p:cSld>
  <p:clrMapOvr>
    <a:masterClrMapping/>
  </p:clrMapOvr>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9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6"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43355084"/>
      </p:ext>
    </p:extLst>
  </p:cSld>
  <p:clrMapOvr>
    <a:masterClrMapping/>
  </p:clrMapOvr>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2052656567"/>
      </p:ext>
    </p:extLst>
  </p:cSld>
  <p:clrMapOvr>
    <a:masterClrMapping/>
  </p:clrMapOvr>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1591869814"/>
      </p:ext>
    </p:extLst>
  </p:cSld>
  <p:clrMapOvr>
    <a:masterClrMapping/>
  </p:clrMapOvr>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612075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1500">
                <a:solidFill>
                  <a:srgbClr val="FFFFFF"/>
                </a:solidFill>
                <a:latin typeface="+mn-lt"/>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2516241948"/>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720087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050">
                <a:solidFill>
                  <a:schemeClr val="bg1"/>
                </a:solidFill>
                <a:latin typeface="+mn-lt"/>
              </a:defRPr>
            </a:lvl1pPr>
            <a:lvl2pPr marL="136922" indent="0" algn="l">
              <a:buFontTx/>
              <a:buNone/>
              <a:defRPr sz="1200">
                <a:solidFill>
                  <a:schemeClr val="bg1"/>
                </a:solidFill>
              </a:defRPr>
            </a:lvl2pPr>
            <a:lvl3pPr marL="333375" indent="0" algn="l">
              <a:buFontTx/>
              <a:buNone/>
              <a:defRPr sz="1200">
                <a:solidFill>
                  <a:schemeClr val="bg1"/>
                </a:solidFill>
              </a:defRPr>
            </a:lvl3pPr>
            <a:lvl4pPr marL="536972" indent="0" algn="l">
              <a:buFontTx/>
              <a:buNone/>
              <a:defRPr sz="1200">
                <a:solidFill>
                  <a:schemeClr val="bg1"/>
                </a:solidFill>
              </a:defRPr>
            </a:lvl4pPr>
            <a:lvl5pPr marL="739379" indent="0" algn="l">
              <a:buFontTx/>
              <a:buNone/>
              <a:defRPr sz="12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97853951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71551012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018583543"/>
      </p:ext>
    </p:extLst>
  </p:cSld>
  <p:clrMapOvr>
    <a:masterClrMapping/>
  </p:clrMapOvr>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1"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1800">
                <a:solidFill>
                  <a:schemeClr val="tx2"/>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090424351"/>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05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7"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7"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29" y="2641932"/>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29" y="2827876"/>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10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7"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7"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29" y="5345728"/>
            <a:ext cx="2845563" cy="169277"/>
          </a:xfrm>
        </p:spPr>
        <p:txBody>
          <a:bodyPr wrap="none">
            <a:noAutofit/>
          </a:bodyPr>
          <a:lstStyle>
            <a:lvl1pPr marL="0" indent="0" algn="ctr">
              <a:lnSpc>
                <a:spcPct val="110000"/>
              </a:lnSpc>
              <a:spcBef>
                <a:spcPts val="0"/>
              </a:spcBef>
              <a:buNone/>
              <a:defRPr sz="825"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29" y="5531672"/>
            <a:ext cx="2845563" cy="356957"/>
          </a:xfrm>
        </p:spPr>
        <p:txBody>
          <a:bodyPr wrap="square">
            <a:noAutofit/>
          </a:bodyPr>
          <a:lstStyle>
            <a:lvl1pPr marL="0" indent="0" algn="ctr">
              <a:lnSpc>
                <a:spcPct val="110000"/>
              </a:lnSpc>
              <a:spcBef>
                <a:spcPts val="0"/>
              </a:spcBef>
              <a:buNone/>
              <a:defRPr sz="825"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923295270"/>
      </p:ext>
    </p:extLst>
  </p:cSld>
  <p:clrMapOvr>
    <a:masterClrMapping/>
  </p:clrMapOvr>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hasCustomPrompt="1"/>
          </p:nvPr>
        </p:nvSpPr>
        <p:spPr bwMode="gray">
          <a:xfrm>
            <a:off x="695325" y="692152"/>
            <a:ext cx="3096419"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6" y="1628774"/>
            <a:ext cx="3096420" cy="4392614"/>
          </a:xfrm>
        </p:spPr>
        <p:txBody>
          <a:bodyPr/>
          <a:lstStyle>
            <a:lvl1pPr marL="81000" indent="-81000">
              <a:spcBef>
                <a:spcPts val="450"/>
              </a:spcBef>
              <a:defRPr sz="900">
                <a:solidFill>
                  <a:srgbClr val="FFFFFF"/>
                </a:solidFill>
              </a:defRPr>
            </a:lvl1pPr>
            <a:lvl2pPr marL="189000" indent="-108000">
              <a:spcBef>
                <a:spcPts val="450"/>
              </a:spcBef>
              <a:defRPr sz="900">
                <a:solidFill>
                  <a:srgbClr val="FFFFFF"/>
                </a:solidFill>
              </a:defRPr>
            </a:lvl2pPr>
            <a:lvl3pPr marL="297000" indent="-108000">
              <a:spcBef>
                <a:spcPts val="450"/>
              </a:spcBef>
              <a:defRPr sz="900">
                <a:solidFill>
                  <a:srgbClr val="FFFFFF"/>
                </a:solidFill>
              </a:defRPr>
            </a:lvl3pPr>
            <a:lvl4pPr marL="405000" indent="-108000">
              <a:spcBef>
                <a:spcPts val="450"/>
              </a:spcBef>
              <a:defRPr sz="900">
                <a:solidFill>
                  <a:srgbClr val="FFFFFF"/>
                </a:solidFill>
              </a:defRPr>
            </a:lvl4pPr>
            <a:lvl5pPr marL="513000" indent="-108000">
              <a:spcBef>
                <a:spcPts val="450"/>
              </a:spcBef>
              <a:defRPr sz="9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sz="750">
                <a:solidFill>
                  <a:srgbClr val="A8BAB2"/>
                </a:solidFill>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8"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8"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5" y="1883003"/>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5" y="2049899"/>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8"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8"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5" y="3701784"/>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5" y="3868680"/>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8"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8"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75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5" y="5523967"/>
            <a:ext cx="1902588" cy="153632"/>
          </a:xfrm>
        </p:spPr>
        <p:txBody>
          <a:bodyPr wrap="none">
            <a:noAutofit/>
          </a:bodyPr>
          <a:lstStyle>
            <a:lvl1pPr marL="0" indent="0" algn="ctr">
              <a:lnSpc>
                <a:spcPct val="110000"/>
              </a:lnSpc>
              <a:spcBef>
                <a:spcPts val="0"/>
              </a:spcBef>
              <a:buNone/>
              <a:defRPr sz="750" b="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5" y="5690863"/>
            <a:ext cx="1902588" cy="324512"/>
          </a:xfrm>
        </p:spPr>
        <p:txBody>
          <a:bodyPr wrap="square">
            <a:noAutofit/>
          </a:bodyPr>
          <a:lstStyle>
            <a:lvl1pPr marL="0" indent="0" algn="ctr">
              <a:lnSpc>
                <a:spcPct val="110000"/>
              </a:lnSpc>
              <a:spcBef>
                <a:spcPts val="0"/>
              </a:spcBef>
              <a:buNone/>
              <a:defRPr sz="750" b="0" i="1"/>
            </a:lvl1pPr>
            <a:lvl2pPr marL="136922" indent="0">
              <a:buNone/>
              <a:defRPr sz="825"/>
            </a:lvl2pPr>
            <a:lvl3pPr marL="333375" indent="0">
              <a:buNone/>
              <a:defRPr sz="825"/>
            </a:lvl3pPr>
            <a:lvl4pPr marL="536972" indent="0">
              <a:buNone/>
              <a:defRPr sz="825"/>
            </a:lvl4pPr>
            <a:lvl5pPr marL="739379" indent="0">
              <a:buNone/>
              <a:defRPr sz="825"/>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372751664"/>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1" y="0"/>
            <a:ext cx="8115300" cy="6858000"/>
          </a:xfrm>
        </p:spPr>
        <p:txBody>
          <a:bodyPr lIns="0" tIns="1152000" anchor="ctr"/>
          <a:lstStyle>
            <a:lvl1pPr algn="ctr">
              <a:spcBef>
                <a:spcPts val="0"/>
              </a:spcBef>
              <a:buFontTx/>
              <a:buNone/>
              <a:defRPr sz="9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2632328189"/>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Title 7"/>
          <p:cNvSpPr>
            <a:spLocks noGrp="1"/>
          </p:cNvSpPr>
          <p:nvPr>
            <p:ph type="title"/>
          </p:nvPr>
        </p:nvSpPr>
        <p:spPr bwMode="gray">
          <a:xfrm>
            <a:off x="8544274" y="692152"/>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3750">
                <a:solidFill>
                  <a:schemeClr val="bg2"/>
                </a:solidFill>
                <a:latin typeface="SwissReSans Light"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41135556"/>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8"/>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7"/>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7"/>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7"/>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2"/>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6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487857939"/>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6"/>
            <a:ext cx="3312000" cy="276999"/>
          </a:xfrm>
        </p:spPr>
        <p:txBody>
          <a:bodyPr anchor="t">
            <a:noAutofit/>
          </a:bodyPr>
          <a:lstStyle>
            <a:lvl1pPr marL="0" indent="0">
              <a:spcBef>
                <a:spcPts val="0"/>
              </a:spcBef>
              <a:buFontTx/>
              <a:buNone/>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6"/>
            <a:ext cx="2808387" cy="231203"/>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6"/>
            <a:ext cx="3312000" cy="276999"/>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135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5"/>
            <a:ext cx="3312000" cy="1019145"/>
          </a:xfrm>
        </p:spPr>
        <p:txBody>
          <a:bodyPr anchor="t">
            <a:noAutofit/>
          </a:bodyPr>
          <a:lstStyle>
            <a:lvl1pPr marL="0" indent="0">
              <a:spcBef>
                <a:spcPts val="0"/>
              </a:spcBef>
              <a:buFontTx/>
              <a:buNone/>
              <a:defRPr sz="135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6"/>
            <a:ext cx="2808387" cy="259281"/>
          </a:xfrm>
        </p:spPr>
        <p:txBody>
          <a:bodyPr anchor="t"/>
          <a:lstStyle>
            <a:lvl1pPr marL="0" indent="0">
              <a:spcBef>
                <a:spcPts val="0"/>
              </a:spcBef>
              <a:buFontTx/>
              <a:buNone/>
              <a:defRPr sz="9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6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6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6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6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334462367"/>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bg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bg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2832223230"/>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4"/>
            <a:ext cx="11017251" cy="692647"/>
          </a:xfrm>
        </p:spPr>
        <p:txBody>
          <a:bodyPr/>
          <a:lstStyle>
            <a:lvl1pPr>
              <a:defRPr sz="36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6" y="3934159"/>
            <a:ext cx="6828223" cy="27699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5"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5"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50" y="5314979"/>
            <a:ext cx="2093973" cy="184666"/>
          </a:xfrm>
        </p:spPr>
        <p:txBody>
          <a:bodyPr anchor="t">
            <a:noAutofit/>
          </a:bodyPr>
          <a:lstStyle>
            <a:lvl1pPr marL="0" marR="0" indent="0" algn="l" defTabSz="685800" rtl="0" eaLnBrk="1" fontAlgn="auto" latinLnBrk="0" hangingPunct="1">
              <a:lnSpc>
                <a:spcPct val="100000"/>
              </a:lnSpc>
              <a:spcBef>
                <a:spcPts val="0"/>
              </a:spcBef>
              <a:spcAft>
                <a:spcPts val="0"/>
              </a:spcAft>
              <a:buClrTx/>
              <a:buSzPct val="100000"/>
              <a:buFontTx/>
              <a:buNone/>
              <a:tabLst/>
              <a:defRPr sz="900" b="1">
                <a:solidFill>
                  <a:schemeClr val="tx1"/>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marL="0" marR="0" lvl="0" indent="0" algn="l" defTabSz="6858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50" y="5505327"/>
            <a:ext cx="2093973" cy="553998"/>
          </a:xfrm>
        </p:spPr>
        <p:txBody>
          <a:bodyPr anchor="t">
            <a:noAutofit/>
          </a:bodyPr>
          <a:lstStyle>
            <a:lvl1pPr marL="0" indent="0">
              <a:spcBef>
                <a:spcPts val="0"/>
              </a:spcBef>
              <a:buFontTx/>
              <a:buNone/>
              <a:defRPr sz="900">
                <a:solidFill>
                  <a:schemeClr val="tx1"/>
                </a:solidFill>
                <a:latin typeface="SwissReSans" panose="020B0604020202020204" charset="0"/>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4"/>
            <a:ext cx="3384403" cy="310639"/>
          </a:xfrm>
        </p:spPr>
        <p:txBody>
          <a:bodyPr anchor="t"/>
          <a:lstStyle>
            <a:lvl1pPr marL="0" indent="0">
              <a:spcBef>
                <a:spcPts val="0"/>
              </a:spcBef>
              <a:buFontTx/>
              <a:buNone/>
              <a:defRPr sz="1200">
                <a:solidFill>
                  <a:schemeClr val="tx2"/>
                </a:solidFill>
                <a:latin typeface="+mn-lt"/>
              </a:defRPr>
            </a:lvl1pPr>
            <a:lvl2pPr marL="136922" indent="0">
              <a:buFontTx/>
              <a:buNone/>
              <a:defRPr sz="3750">
                <a:solidFill>
                  <a:schemeClr val="tx2"/>
                </a:solidFill>
              </a:defRPr>
            </a:lvl2pPr>
            <a:lvl3pPr marL="333375" indent="0">
              <a:buFontTx/>
              <a:buNone/>
              <a:defRPr sz="3750">
                <a:solidFill>
                  <a:schemeClr val="tx2"/>
                </a:solidFill>
              </a:defRPr>
            </a:lvl3pPr>
            <a:lvl4pPr marL="536972" indent="0">
              <a:buFontTx/>
              <a:buNone/>
              <a:defRPr sz="3750">
                <a:solidFill>
                  <a:schemeClr val="tx2"/>
                </a:solidFill>
              </a:defRPr>
            </a:lvl4pPr>
            <a:lvl5pPr marL="739379" indent="0">
              <a:buFontTx/>
              <a:buNone/>
              <a:defRPr sz="375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675">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3" y="4595414"/>
            <a:ext cx="324000" cy="324000"/>
          </a:xfrm>
        </p:spPr>
        <p:txBody>
          <a:bodyPr/>
          <a:lstStyle>
            <a:lvl1pPr marL="0" indent="0">
              <a:buNone/>
              <a:defRPr sz="6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3" y="4595414"/>
            <a:ext cx="324000" cy="324000"/>
          </a:xfrm>
        </p:spPr>
        <p:txBody>
          <a:bodyPr/>
          <a:lstStyle>
            <a:lvl1pPr marL="0" indent="0">
              <a:buNone/>
              <a:defRPr sz="6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3" y="4595414"/>
            <a:ext cx="324000" cy="324000"/>
          </a:xfrm>
        </p:spPr>
        <p:txBody>
          <a:bodyPr/>
          <a:lstStyle>
            <a:lvl1pPr marL="0" indent="0">
              <a:buNone/>
              <a:defRPr sz="6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1" y="4595414"/>
            <a:ext cx="324000" cy="324000"/>
          </a:xfrm>
        </p:spPr>
        <p:txBody>
          <a:bodyPr/>
          <a:lstStyle>
            <a:lvl1pPr marL="0" indent="0">
              <a:buNone/>
              <a:defRPr sz="6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3" y="4595414"/>
            <a:ext cx="324000" cy="324000"/>
          </a:xfrm>
        </p:spPr>
        <p:txBody>
          <a:bodyPr/>
          <a:lstStyle>
            <a:lvl1pPr marL="0" indent="0">
              <a:buNone/>
              <a:defRPr sz="6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936193680"/>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37755365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714234617"/>
      </p:ext>
    </p:extLst>
  </p:cSld>
  <p:clrMapOvr>
    <a:masterClrMapping/>
  </p:clrMapOvr>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27104" y="673088"/>
            <a:ext cx="10655299" cy="692647"/>
          </a:xfrm>
        </p:spPr>
        <p:txBody>
          <a:bodyPr/>
          <a:lstStyle/>
          <a:p>
            <a:r>
              <a:rPr lang="en-GB"/>
              <a:t>Click to edit Master title style</a:t>
            </a:r>
          </a:p>
        </p:txBody>
      </p:sp>
      <p:sp>
        <p:nvSpPr>
          <p:cNvPr id="3" name="Content Placeholder 2"/>
          <p:cNvSpPr>
            <a:spLocks noGrp="1"/>
          </p:cNvSpPr>
          <p:nvPr>
            <p:ph idx="1"/>
          </p:nvPr>
        </p:nvSpPr>
        <p:spPr bwMode="gray">
          <a:xfrm>
            <a:off x="609601" y="1425600"/>
            <a:ext cx="10972800" cy="470001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5" name="Rectangle 4"/>
          <p:cNvSpPr/>
          <p:nvPr userDrawn="1"/>
        </p:nvSpPr>
        <p:spPr>
          <a:xfrm>
            <a:off x="11074400" y="6400801"/>
            <a:ext cx="325730" cy="230832"/>
          </a:xfrm>
          <a:prstGeom prst="rect">
            <a:avLst/>
          </a:prstGeom>
        </p:spPr>
        <p:txBody>
          <a:bodyPr wrap="none">
            <a:spAutoFit/>
          </a:bodyPr>
          <a:lstStyle/>
          <a:p>
            <a:fld id="{5E4D2043-7E31-4A53-BD33-72A88E682172}" type="slidenum">
              <a:rPr lang="en-GB" sz="900" smtClean="0"/>
              <a:pPr/>
              <a:t>‹#›</a:t>
            </a:fld>
            <a:endParaRPr lang="en-GB" sz="900"/>
          </a:p>
        </p:txBody>
      </p:sp>
    </p:spTree>
    <p:extLst>
      <p:ext uri="{BB962C8B-B14F-4D97-AF65-F5344CB8AC3E}">
        <p14:creationId xmlns:p14="http://schemas.microsoft.com/office/powerpoint/2010/main" val="2167305924"/>
      </p:ext>
    </p:extLst>
  </p:cSld>
  <p:clrMapOvr>
    <a:masterClrMapping/>
  </p:clrMapOvr>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matchingName="Section Header"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6" y="1628775"/>
            <a:ext cx="9913177" cy="1329620"/>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695326" y="3573016"/>
            <a:ext cx="9913177" cy="2448372"/>
          </a:xfrm>
        </p:spPr>
        <p:txBody>
          <a:bodyPr/>
          <a:lstStyle>
            <a:lvl1pPr>
              <a:spcBef>
                <a:spcPts val="0"/>
              </a:spcBef>
              <a:defRPr sz="1350">
                <a:solidFill>
                  <a:srgbClr val="283E36"/>
                </a:solidFill>
                <a:latin typeface="SwissReSans Light" panose="020B0504020202020204" pitchFamily="34" charset="0"/>
              </a:defRPr>
            </a:lvl1pPr>
            <a:lvl2pPr>
              <a:spcBef>
                <a:spcPts val="0"/>
              </a:spcBef>
              <a:defRPr sz="1200">
                <a:solidFill>
                  <a:srgbClr val="283E36"/>
                </a:solidFill>
                <a:latin typeface="SwissReSans Light" panose="020B0504020202020204" pitchFamily="34" charset="0"/>
              </a:defRPr>
            </a:lvl2pPr>
            <a:lvl3pPr>
              <a:spcBef>
                <a:spcPts val="0"/>
              </a:spcBef>
              <a:defRPr sz="1200">
                <a:solidFill>
                  <a:srgbClr val="283E36"/>
                </a:solidFill>
                <a:latin typeface="SwissReSans Light" panose="020B0504020202020204" pitchFamily="34" charset="0"/>
              </a:defRPr>
            </a:lvl3pPr>
            <a:lvl4pPr>
              <a:spcBef>
                <a:spcPts val="0"/>
              </a:spcBef>
              <a:defRPr sz="1200">
                <a:solidFill>
                  <a:srgbClr val="283E36"/>
                </a:solidFill>
                <a:latin typeface="SwissReSans Light" panose="020B0504020202020204" pitchFamily="34" charset="0"/>
              </a:defRPr>
            </a:lvl4pPr>
            <a:lvl5pPr>
              <a:spcBef>
                <a:spcPts val="0"/>
              </a:spcBef>
              <a:defRPr sz="12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pic>
        <p:nvPicPr>
          <p:cNvPr id="6" name="Picture 5"/>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94029035"/>
      </p:ext>
    </p:extLst>
  </p:cSld>
  <p:clrMapOvr>
    <a:masterClrMapping/>
  </p:clrMapOvr>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759" noProof="0">
              <a:solidFill>
                <a:schemeClr val="bg1"/>
              </a:solidFill>
            </a:endParaRPr>
          </a:p>
        </p:txBody>
      </p:sp>
      <p:sp>
        <p:nvSpPr>
          <p:cNvPr id="3" name="Rectangle 2"/>
          <p:cNvSpPr/>
          <p:nvPr userDrawn="1"/>
        </p:nvSpPr>
        <p:spPr>
          <a:xfrm>
            <a:off x="11074400" y="6428602"/>
            <a:ext cx="325730" cy="230832"/>
          </a:xfrm>
          <a:prstGeom prst="rect">
            <a:avLst/>
          </a:prstGeom>
        </p:spPr>
        <p:txBody>
          <a:bodyPr wrap="none">
            <a:spAutoFit/>
          </a:bodyPr>
          <a:lstStyle/>
          <a:p>
            <a:fld id="{5E4D2043-7E31-4A53-BD33-72A88E682172}" type="slidenum">
              <a:rPr lang="en-GB" sz="900" smtClean="0"/>
              <a:pPr/>
              <a:t>‹#›</a:t>
            </a:fld>
            <a:endParaRPr lang="en-GB" sz="900"/>
          </a:p>
        </p:txBody>
      </p:sp>
    </p:spTree>
    <p:extLst>
      <p:ext uri="{BB962C8B-B14F-4D97-AF65-F5344CB8AC3E}">
        <p14:creationId xmlns:p14="http://schemas.microsoft.com/office/powerpoint/2010/main" val="23279307"/>
      </p:ext>
    </p:extLst>
  </p:cSld>
  <p:clrMapOvr>
    <a:masterClrMapping/>
  </p:clrMapOvr>
  <p:hf hdr="0" ftr="0" dt="0"/>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695326" y="1628776"/>
            <a:ext cx="9913177"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695326"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675">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DAE4C578-AF42-4342-8CC3-274C58294E50}"/>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10146249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11" name="Classification"/>
          <p:cNvSpPr txBox="1">
            <a:spLocks noChangeArrowheads="1"/>
          </p:cNvSpPr>
          <p:nvPr userDrawn="1">
            <p:custDataLst>
              <p:tags r:id="rId1"/>
            </p:custDataLst>
          </p:nvPr>
        </p:nvSpPr>
        <p:spPr bwMode="black">
          <a:xfrm>
            <a:off x="4012518"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675">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2700">
                <a:solidFill>
                  <a:srgbClr val="FFFFFF"/>
                </a:solidFill>
                <a:latin typeface="SwissReSans Light" pitchFamily="34" charset="0"/>
              </a:defRPr>
            </a:lvl1pPr>
          </a:lstStyle>
          <a:p>
            <a:r>
              <a:rPr lang="en-US" noProof="0"/>
              <a:t>Click to edit Master title style</a:t>
            </a:r>
            <a:endParaRPr lang="en-GB" noProof="0"/>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GB"/>
          </a:p>
        </p:txBody>
      </p:sp>
      <p:pic>
        <p:nvPicPr>
          <p:cNvPr id="3" name="Picture 2">
            <a:extLst>
              <a:ext uri="{FF2B5EF4-FFF2-40B4-BE49-F238E27FC236}">
                <a16:creationId xmlns:a16="http://schemas.microsoft.com/office/drawing/2014/main" xmlns="" id="{2535594F-227E-435A-A625-EF1E220D51C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8" y="301052"/>
            <a:ext cx="1379177" cy="324512"/>
          </a:xfrm>
          <a:prstGeom prst="rect">
            <a:avLst/>
          </a:prstGeom>
        </p:spPr>
      </p:pic>
    </p:spTree>
    <p:extLst>
      <p:ext uri="{BB962C8B-B14F-4D97-AF65-F5344CB8AC3E}">
        <p14:creationId xmlns:p14="http://schemas.microsoft.com/office/powerpoint/2010/main" val="324469640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8"/>
            <a:ext cx="11017251"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206701421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bwMode="black">
          <a:xfrm>
            <a:off x="6384032" y="1628776"/>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121054153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9346514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8"/>
            <a:ext cx="11017251"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8"/>
            <a:ext cx="10585251" cy="3960513"/>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6489013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912285" y="1628775"/>
            <a:ext cx="969621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912285" y="3573016"/>
            <a:ext cx="969621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7" name="Picture 6"/>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89469846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7" y="1628774"/>
            <a:ext cx="5328000"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55793177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7"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1" y="1844774"/>
            <a:ext cx="4884899" cy="395427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685800" rtl="0" eaLnBrk="1" fontAlgn="auto" latinLnBrk="0" hangingPunct="1">
              <a:lnSpc>
                <a:spcPct val="100000"/>
              </a:lnSpc>
              <a:spcBef>
                <a:spcPts val="900"/>
              </a:spcBef>
              <a:spcAft>
                <a:spcPts val="0"/>
              </a:spcAft>
              <a:buClrTx/>
              <a:buSzPct val="100000"/>
              <a:buFont typeface="Arial" pitchFamily="34" charset="0"/>
              <a:buNone/>
              <a:tabLst/>
              <a:defRPr/>
            </a:lvl1pPr>
          </a:lstStyle>
          <a:p>
            <a:pPr marL="0" marR="0" lvl="0" indent="0" algn="ctr" defTabSz="685800" rtl="0" eaLnBrk="1" fontAlgn="auto" latinLnBrk="0" hangingPunct="1">
              <a:lnSpc>
                <a:spcPct val="100000"/>
              </a:lnSpc>
              <a:spcBef>
                <a:spcPts val="9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87853740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2"/>
            <a:ext cx="1101725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5" name="Text Placeholder 4">
            <a:extLst>
              <a:ext uri="{FF2B5EF4-FFF2-40B4-BE49-F238E27FC236}">
                <a16:creationId xmlns:a16="http://schemas.microsoft.com/office/drawing/2014/main" xmlns="" id="{2F0D4244-74E1-4F31-926F-FC9A8ADAD28D}"/>
              </a:ext>
            </a:extLst>
          </p:cNvPr>
          <p:cNvSpPr>
            <a:spLocks noGrp="1"/>
          </p:cNvSpPr>
          <p:nvPr>
            <p:ph type="body" sz="quarter" idx="15" hasCustomPrompt="1"/>
          </p:nvPr>
        </p:nvSpPr>
        <p:spPr>
          <a:xfrm>
            <a:off x="704851" y="5409209"/>
            <a:ext cx="11007725" cy="612178"/>
          </a:xfrm>
          <a:solidFill>
            <a:schemeClr val="bg2"/>
          </a:solidFill>
        </p:spPr>
        <p:txBody>
          <a:bodyPr lIns="180000" rIns="180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Add conclusion here</a:t>
            </a:r>
          </a:p>
        </p:txBody>
      </p:sp>
      <p:sp>
        <p:nvSpPr>
          <p:cNvPr id="7" name="Picture Placeholder 6">
            <a:extLst>
              <a:ext uri="{FF2B5EF4-FFF2-40B4-BE49-F238E27FC236}">
                <a16:creationId xmlns:a16="http://schemas.microsoft.com/office/drawing/2014/main" xmlns="" id="{91AB0222-82AA-4B01-A991-510DEF31453D}"/>
              </a:ext>
            </a:extLst>
          </p:cNvPr>
          <p:cNvSpPr>
            <a:spLocks noGrp="1"/>
          </p:cNvSpPr>
          <p:nvPr>
            <p:ph type="pic" sz="quarter" idx="16"/>
          </p:nvPr>
        </p:nvSpPr>
        <p:spPr>
          <a:xfrm>
            <a:off x="9098975"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xmlns="" id="{68D4FCF9-EAC0-40E2-B779-76FB9440FC14}"/>
              </a:ext>
            </a:extLst>
          </p:cNvPr>
          <p:cNvSpPr>
            <a:spLocks noGrp="1"/>
          </p:cNvSpPr>
          <p:nvPr>
            <p:ph type="body" sz="quarter" idx="17"/>
          </p:nvPr>
        </p:nvSpPr>
        <p:spPr>
          <a:xfrm>
            <a:off x="695327"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
        <p:nvSpPr>
          <p:cNvPr id="16" name="Text Placeholder 4">
            <a:extLst>
              <a:ext uri="{FF2B5EF4-FFF2-40B4-BE49-F238E27FC236}">
                <a16:creationId xmlns:a16="http://schemas.microsoft.com/office/drawing/2014/main" xmlns="" id="{61BA5B7C-8DA8-4946-8A4A-49A13E3FC00B}"/>
              </a:ext>
            </a:extLst>
          </p:cNvPr>
          <p:cNvSpPr>
            <a:spLocks noGrp="1"/>
          </p:cNvSpPr>
          <p:nvPr>
            <p:ph type="body" sz="quarter" idx="18"/>
          </p:nvPr>
        </p:nvSpPr>
        <p:spPr>
          <a:xfrm>
            <a:off x="3496543"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
        <p:nvSpPr>
          <p:cNvPr id="17" name="Text Placeholder 4">
            <a:extLst>
              <a:ext uri="{FF2B5EF4-FFF2-40B4-BE49-F238E27FC236}">
                <a16:creationId xmlns:a16="http://schemas.microsoft.com/office/drawing/2014/main" xmlns="" id="{CA9347D2-246D-4A68-A626-7F07D6B55066}"/>
              </a:ext>
            </a:extLst>
          </p:cNvPr>
          <p:cNvSpPr>
            <a:spLocks noGrp="1"/>
          </p:cNvSpPr>
          <p:nvPr>
            <p:ph type="body" sz="quarter" idx="19"/>
          </p:nvPr>
        </p:nvSpPr>
        <p:spPr>
          <a:xfrm>
            <a:off x="6297757" y="2564904"/>
            <a:ext cx="2613600" cy="2705186"/>
          </a:xfrm>
          <a:solidFill>
            <a:schemeClr val="accent4">
              <a:lumMod val="20000"/>
              <a:lumOff val="80000"/>
            </a:schemeClr>
          </a:solidFill>
        </p:spPr>
        <p:txBody>
          <a:bodyPr lIns="108000" tIns="576000" rIns="72000" anchor="t"/>
          <a:lstStyle>
            <a:lvl1pPr marL="0" indent="0" algn="l">
              <a:spcBef>
                <a:spcPts val="0"/>
              </a:spcBef>
              <a:buNone/>
              <a:defRPr sz="900"/>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
        <p:nvSpPr>
          <p:cNvPr id="18" name="Text Placeholder 4">
            <a:extLst>
              <a:ext uri="{FF2B5EF4-FFF2-40B4-BE49-F238E27FC236}">
                <a16:creationId xmlns:a16="http://schemas.microsoft.com/office/drawing/2014/main" xmlns="" id="{C7C373BE-49B0-4763-B7A1-CBAEDE2CF2E6}"/>
              </a:ext>
            </a:extLst>
          </p:cNvPr>
          <p:cNvSpPr>
            <a:spLocks noGrp="1"/>
          </p:cNvSpPr>
          <p:nvPr>
            <p:ph type="body" sz="quarter" idx="20"/>
          </p:nvPr>
        </p:nvSpPr>
        <p:spPr>
          <a:xfrm>
            <a:off x="695327"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
        <p:nvSpPr>
          <p:cNvPr id="19" name="Text Placeholder 4">
            <a:extLst>
              <a:ext uri="{FF2B5EF4-FFF2-40B4-BE49-F238E27FC236}">
                <a16:creationId xmlns:a16="http://schemas.microsoft.com/office/drawing/2014/main" xmlns="" id="{8A5E670B-AB2B-47F5-9DCA-FE8A9C9EEC73}"/>
              </a:ext>
            </a:extLst>
          </p:cNvPr>
          <p:cNvSpPr>
            <a:spLocks noGrp="1"/>
          </p:cNvSpPr>
          <p:nvPr>
            <p:ph type="body" sz="quarter" idx="21"/>
          </p:nvPr>
        </p:nvSpPr>
        <p:spPr>
          <a:xfrm>
            <a:off x="3497660"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
        <p:nvSpPr>
          <p:cNvPr id="20" name="Text Placeholder 4">
            <a:extLst>
              <a:ext uri="{FF2B5EF4-FFF2-40B4-BE49-F238E27FC236}">
                <a16:creationId xmlns:a16="http://schemas.microsoft.com/office/drawing/2014/main" xmlns="" id="{7384C407-AF5F-4536-BFF8-BD0CCAF9ABA9}"/>
              </a:ext>
            </a:extLst>
          </p:cNvPr>
          <p:cNvSpPr>
            <a:spLocks noGrp="1"/>
          </p:cNvSpPr>
          <p:nvPr>
            <p:ph type="body" sz="quarter" idx="22"/>
          </p:nvPr>
        </p:nvSpPr>
        <p:spPr>
          <a:xfrm>
            <a:off x="6296640" y="1628777"/>
            <a:ext cx="2613600" cy="1296169"/>
          </a:xfrm>
          <a:prstGeom prst="flowChartOffpageConnector">
            <a:avLst/>
          </a:prstGeom>
          <a:solidFill>
            <a:schemeClr val="tx2"/>
          </a:solidFill>
        </p:spPr>
        <p:txBody>
          <a:bodyPr lIns="108000" tIns="0" rIns="72000" anchor="ctr"/>
          <a:lstStyle>
            <a:lvl1pPr marL="0" indent="0" algn="ctr">
              <a:spcBef>
                <a:spcPts val="0"/>
              </a:spcBef>
              <a:buNone/>
              <a:defRPr sz="1200">
                <a:solidFill>
                  <a:srgbClr val="FFFFFF"/>
                </a:solidFill>
              </a:defRPr>
            </a:lvl1pPr>
            <a:lvl2pPr marL="136922" indent="0">
              <a:buNone/>
              <a:defRPr sz="1200"/>
            </a:lvl2pPr>
            <a:lvl3pPr marL="333375" indent="0">
              <a:buNone/>
              <a:defRPr sz="1200"/>
            </a:lvl3pPr>
            <a:lvl4pPr marL="536972" indent="0">
              <a:buNone/>
              <a:defRPr sz="1200"/>
            </a:lvl4pPr>
            <a:lvl5pPr marL="739379" indent="0">
              <a:buNone/>
              <a:defRPr sz="1200"/>
            </a:lvl5pPr>
          </a:lstStyle>
          <a:p>
            <a:pPr lvl="0"/>
            <a:r>
              <a:rPr lang="en-US"/>
              <a:t>Edit Master text styles</a:t>
            </a:r>
          </a:p>
        </p:txBody>
      </p:sp>
    </p:spTree>
    <p:extLst>
      <p:ext uri="{BB962C8B-B14F-4D97-AF65-F5344CB8AC3E}">
        <p14:creationId xmlns:p14="http://schemas.microsoft.com/office/powerpoint/2010/main" val="19877556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94524267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63CE0C3E-2298-4718-80AC-89BA47588FE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13960533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900">
                <a:solidFill>
                  <a:srgbClr val="A8BAB2"/>
                </a:solidFill>
                <a:latin typeface="SwissReSans" pitchFamily="34" charset="0"/>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0" name="Classification"/>
          <p:cNvSpPr txBox="1">
            <a:spLocks noChangeArrowheads="1"/>
          </p:cNvSpPr>
          <p:nvPr userDrawn="1">
            <p:custDataLst>
              <p:tags r:id="rId2"/>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675">
              <a:solidFill>
                <a:srgbClr val="283E36"/>
              </a:solidFill>
              <a:latin typeface="SwissReSans" pitchFamily="34" charset="0"/>
            </a:endParaRPr>
          </a:p>
        </p:txBody>
      </p:sp>
      <p:sp>
        <p:nvSpPr>
          <p:cNvPr id="12"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283E36"/>
              </a:solidFill>
              <a:latin typeface="SwissReSans" pitchFamily="34" charset="0"/>
              <a:ea typeface="+mn-ea"/>
              <a:cs typeface="+mn-cs"/>
            </a:endParaRPr>
          </a:p>
        </p:txBody>
      </p:sp>
      <p:pic>
        <p:nvPicPr>
          <p:cNvPr id="4" name="Picture 3">
            <a:extLst>
              <a:ext uri="{FF2B5EF4-FFF2-40B4-BE49-F238E27FC236}">
                <a16:creationId xmlns:a16="http://schemas.microsoft.com/office/drawing/2014/main" xmlns="" id="{3819707B-6D37-4A45-A163-79E662CA56DC}"/>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98606622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9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6" y="692152"/>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147893440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6" y="692152"/>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23794453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6" y="692152"/>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Tree>
    <p:extLst>
      <p:ext uri="{BB962C8B-B14F-4D97-AF65-F5344CB8AC3E}">
        <p14:creationId xmlns:p14="http://schemas.microsoft.com/office/powerpoint/2010/main" val="38838007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900">
                <a:solidFill>
                  <a:srgbClr val="A8BAB2"/>
                </a:solidFill>
                <a:latin typeface="SwissReSans" pitchFamily="34" charset="0"/>
              </a:defRPr>
            </a:lvl1pPr>
          </a:lstStyle>
          <a:p>
            <a:r>
              <a:rPr lang="en-US" noProof="1"/>
              <a:t>Click icon to add picture</a:t>
            </a:r>
          </a:p>
        </p:txBody>
      </p:sp>
      <p:sp>
        <p:nvSpPr>
          <p:cNvPr id="8" name="Title 7"/>
          <p:cNvSpPr>
            <a:spLocks noGrp="1"/>
          </p:cNvSpPr>
          <p:nvPr>
            <p:ph type="title"/>
          </p:nvPr>
        </p:nvSpPr>
        <p:spPr>
          <a:xfrm>
            <a:off x="695326" y="1628773"/>
            <a:ext cx="4920623" cy="4392614"/>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4636712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420070141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Tree>
    <p:extLst>
      <p:ext uri="{BB962C8B-B14F-4D97-AF65-F5344CB8AC3E}">
        <p14:creationId xmlns:p14="http://schemas.microsoft.com/office/powerpoint/2010/main" val="367580389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US"/>
              <a:t>Edit Master text styles</a:t>
            </a:r>
          </a:p>
        </p:txBody>
      </p:sp>
    </p:spTree>
    <p:extLst>
      <p:ext uri="{BB962C8B-B14F-4D97-AF65-F5344CB8AC3E}">
        <p14:creationId xmlns:p14="http://schemas.microsoft.com/office/powerpoint/2010/main" val="131767624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612075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1500">
                <a:solidFill>
                  <a:srgbClr val="FFFFFF"/>
                </a:solidFill>
                <a:latin typeface="+mn-lt"/>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US"/>
              <a:t>Edit Master text styles</a:t>
            </a:r>
          </a:p>
        </p:txBody>
      </p:sp>
    </p:spTree>
    <p:extLst>
      <p:ext uri="{BB962C8B-B14F-4D97-AF65-F5344CB8AC3E}">
        <p14:creationId xmlns:p14="http://schemas.microsoft.com/office/powerpoint/2010/main" val="26104007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5" y="1628774"/>
            <a:ext cx="7200875" cy="4392000"/>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050">
                <a:solidFill>
                  <a:schemeClr val="bg1"/>
                </a:solidFill>
                <a:latin typeface="+mn-lt"/>
              </a:defRPr>
            </a:lvl1pPr>
            <a:lvl2pPr marL="136922" indent="0" algn="l">
              <a:buFontTx/>
              <a:buNone/>
              <a:defRPr sz="1200">
                <a:solidFill>
                  <a:schemeClr val="bg1"/>
                </a:solidFill>
              </a:defRPr>
            </a:lvl2pPr>
            <a:lvl3pPr marL="333375" indent="0" algn="l">
              <a:buFontTx/>
              <a:buNone/>
              <a:defRPr sz="1200">
                <a:solidFill>
                  <a:schemeClr val="bg1"/>
                </a:solidFill>
              </a:defRPr>
            </a:lvl3pPr>
            <a:lvl4pPr marL="536972" indent="0" algn="l">
              <a:buFontTx/>
              <a:buNone/>
              <a:defRPr sz="1200">
                <a:solidFill>
                  <a:schemeClr val="bg1"/>
                </a:solidFill>
              </a:defRPr>
            </a:lvl4pPr>
            <a:lvl5pPr marL="739379" indent="0" algn="l">
              <a:buFontTx/>
              <a:buNone/>
              <a:defRPr sz="1200">
                <a:solidFill>
                  <a:schemeClr val="bg1"/>
                </a:solidFill>
              </a:defRPr>
            </a:lvl5pPr>
          </a:lstStyle>
          <a:p>
            <a:pPr lvl="0"/>
            <a:r>
              <a:rPr lang="en-US"/>
              <a:t>Edit Master text styles</a:t>
            </a:r>
          </a:p>
        </p:txBody>
      </p:sp>
    </p:spTree>
    <p:extLst>
      <p:ext uri="{BB962C8B-B14F-4D97-AF65-F5344CB8AC3E}">
        <p14:creationId xmlns:p14="http://schemas.microsoft.com/office/powerpoint/2010/main" val="253669741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9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2400">
                <a:solidFill>
                  <a:schemeClr val="bg1"/>
                </a:solidFill>
                <a:latin typeface="SwissReSans Light" panose="020B0504020202020204" pitchFamily="34" charset="0"/>
              </a:defRPr>
            </a:lvl1pPr>
            <a:lvl2pPr marL="136922" indent="0" algn="l">
              <a:buFontTx/>
              <a:buNone/>
              <a:defRPr>
                <a:solidFill>
                  <a:srgbClr val="FFFFFF"/>
                </a:solidFill>
              </a:defRPr>
            </a:lvl2pPr>
            <a:lvl3pPr marL="333375" indent="0" algn="l">
              <a:buFontTx/>
              <a:buNone/>
              <a:defRPr>
                <a:solidFill>
                  <a:srgbClr val="FFFFFF"/>
                </a:solidFill>
              </a:defRPr>
            </a:lvl3pPr>
            <a:lvl4pPr marL="536972" indent="0" algn="l">
              <a:buFontTx/>
              <a:buNone/>
              <a:defRPr>
                <a:solidFill>
                  <a:srgbClr val="FFFFFF"/>
                </a:solidFill>
              </a:defRPr>
            </a:lvl4pPr>
            <a:lvl5pPr marL="739379" indent="0" algn="l">
              <a:buFontTx/>
              <a:buNone/>
              <a:defRPr>
                <a:solidFill>
                  <a:srgbClr val="FFFFFF"/>
                </a:solidFill>
              </a:defRPr>
            </a:lvl5pPr>
          </a:lstStyle>
          <a:p>
            <a:pPr lvl="0"/>
            <a:r>
              <a:rPr lang="en-US"/>
              <a:t>Edit Master text styles</a:t>
            </a:r>
          </a:p>
        </p:txBody>
      </p:sp>
      <p:pic>
        <p:nvPicPr>
          <p:cNvPr id="3" name="Picture 2">
            <a:extLst>
              <a:ext uri="{FF2B5EF4-FFF2-40B4-BE49-F238E27FC236}">
                <a16:creationId xmlns:a16="http://schemas.microsoft.com/office/drawing/2014/main" xmlns="" id="{F2488366-8F55-4562-BD2E-19DCEB8ED52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359202188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grpSp>
        <p:nvGrpSpPr>
          <p:cNvPr id="11" name="Group 10"/>
          <p:cNvGrpSpPr/>
          <p:nvPr userDrawn="1"/>
        </p:nvGrpSpPr>
        <p:grpSpPr>
          <a:xfrm>
            <a:off x="4656139" y="1989140"/>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p>
          </p:txBody>
        </p:sp>
      </p:grpSp>
    </p:spTree>
    <p:extLst>
      <p:ext uri="{BB962C8B-B14F-4D97-AF65-F5344CB8AC3E}">
        <p14:creationId xmlns:p14="http://schemas.microsoft.com/office/powerpoint/2010/main" val="222302111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225403198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67975545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912285" y="1628775"/>
            <a:ext cx="969621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912285" y="3573016"/>
            <a:ext cx="969621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7" name="Picture 6"/>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93486455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4846354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93887170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21885976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41750293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noProof="0"/>
          </a:p>
        </p:txBody>
      </p:sp>
      <p:sp>
        <p:nvSpPr>
          <p:cNvPr id="6" name="Footer Placeholder 5"/>
          <p:cNvSpPr>
            <a:spLocks noGrp="1"/>
          </p:cNvSpPr>
          <p:nvPr>
            <p:ph type="ftr" sz="quarter" idx="11"/>
          </p:nvPr>
        </p:nvSpPr>
        <p:spPr/>
        <p:txBody>
          <a:bodyPr/>
          <a:lstStyle/>
          <a:p>
            <a:endParaRPr lang="en-GB" noProof="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noProof="0" smtClean="0"/>
              <a:pPr/>
              <a:t>‹#›</a:t>
            </a:fld>
            <a:endParaRPr lang="en-GB"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FFFFFF"/>
              </a:solidFill>
              <a:latin typeface="SwissReSans" pitchFamily="34" charset="0"/>
              <a:ea typeface="+mn-ea"/>
              <a:cs typeface="+mn-cs"/>
            </a:endParaRP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8557944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GB" noProof="1"/>
              <a:t>Click to browse for an own image. </a:t>
            </a:r>
            <a:br>
              <a:rPr lang="en-GB" noProof="1"/>
            </a:br>
            <a:r>
              <a:rPr lang="en-GB" noProof="1"/>
              <a:t>Be careful to avoid an image that clashes </a:t>
            </a:r>
            <a:br>
              <a:rPr lang="en-GB" noProof="1"/>
            </a:br>
            <a:r>
              <a:rPr lang="en-GB"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91120094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04994196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912286" y="692151"/>
            <a:ext cx="470366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36218607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54323545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19189793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35202551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06375467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912285" y="1628775"/>
            <a:ext cx="969621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912285" y="3573016"/>
            <a:ext cx="969621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7" name="Picture 6"/>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383867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13582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411916051"/>
      </p:ext>
    </p:extLst>
  </p:cSld>
  <p:clrMapOvr>
    <a:masterClrMapping/>
  </p:clrMapOvr>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20631261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912285" y="1628775"/>
            <a:ext cx="969621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a:p>
        </p:txBody>
      </p:sp>
      <p:sp>
        <p:nvSpPr>
          <p:cNvPr id="9" name="Text Placeholder 9"/>
          <p:cNvSpPr>
            <a:spLocks noGrp="1"/>
          </p:cNvSpPr>
          <p:nvPr>
            <p:ph type="body" sz="quarter" idx="13"/>
          </p:nvPr>
        </p:nvSpPr>
        <p:spPr>
          <a:xfrm>
            <a:off x="912285" y="3573016"/>
            <a:ext cx="969621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Click to edit Master text styles</a:t>
            </a:r>
          </a:p>
        </p:txBody>
      </p:sp>
      <p:sp>
        <p:nvSpPr>
          <p:cNvPr id="10"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23758073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matchingName="Section Header - Gradient and Number"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30381478"/>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matchingName="Section Header - Gradient"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008151940"/>
      </p:ext>
    </p:extLst>
  </p:cSld>
  <p:clrMapOvr>
    <a:masterClrMapping/>
  </p:clrMapOvr>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27103" y="673086"/>
            <a:ext cx="10655299" cy="692647"/>
          </a:xfrm>
        </p:spPr>
        <p:txBody>
          <a:bodyPr/>
          <a:lstStyle/>
          <a:p>
            <a:r>
              <a:rPr lang="en-GB"/>
              <a:t>Click to edit Master title style</a:t>
            </a:r>
          </a:p>
        </p:txBody>
      </p:sp>
      <p:sp>
        <p:nvSpPr>
          <p:cNvPr id="3" name="Content Placeholder 2"/>
          <p:cNvSpPr>
            <a:spLocks noGrp="1"/>
          </p:cNvSpPr>
          <p:nvPr>
            <p:ph idx="1"/>
          </p:nvPr>
        </p:nvSpPr>
        <p:spPr bwMode="gray">
          <a:xfrm>
            <a:off x="609601" y="1425600"/>
            <a:ext cx="10972800" cy="470001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5" name="Rectangle 4"/>
          <p:cNvSpPr/>
          <p:nvPr userDrawn="1"/>
        </p:nvSpPr>
        <p:spPr>
          <a:xfrm>
            <a:off x="11074400" y="6400801"/>
            <a:ext cx="372218" cy="276999"/>
          </a:xfrm>
          <a:prstGeom prst="rect">
            <a:avLst/>
          </a:prstGeom>
        </p:spPr>
        <p:txBody>
          <a:bodyPr wrap="non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1097418584"/>
      </p:ext>
    </p:extLst>
  </p:cSld>
  <p:clrMapOvr>
    <a:masterClrMapping/>
  </p:clrMapOvr>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Three Content and Image"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p>
        </p:txBody>
      </p:sp>
      <p:sp>
        <p:nvSpPr>
          <p:cNvPr id="7" name="Picture Placeholder 6">
            <a:extLst>
              <a:ext uri="{FF2B5EF4-FFF2-40B4-BE49-F238E27FC236}">
                <a16:creationId xmlns:a16="http://schemas.microsoft.com/office/drawing/2014/main" xmlns=""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GB"/>
              <a:t>Click icon to add picture</a:t>
            </a:r>
          </a:p>
        </p:txBody>
      </p:sp>
      <p:sp>
        <p:nvSpPr>
          <p:cNvPr id="15" name="Text Placeholder 4">
            <a:extLst>
              <a:ext uri="{FF2B5EF4-FFF2-40B4-BE49-F238E27FC236}">
                <a16:creationId xmlns:a16="http://schemas.microsoft.com/office/drawing/2014/main" xmlns=""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6" name="Text Placeholder 4">
            <a:extLst>
              <a:ext uri="{FF2B5EF4-FFF2-40B4-BE49-F238E27FC236}">
                <a16:creationId xmlns:a16="http://schemas.microsoft.com/office/drawing/2014/main" xmlns=""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7" name="Text Placeholder 4">
            <a:extLst>
              <a:ext uri="{FF2B5EF4-FFF2-40B4-BE49-F238E27FC236}">
                <a16:creationId xmlns:a16="http://schemas.microsoft.com/office/drawing/2014/main" xmlns=""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8" name="Text Placeholder 4">
            <a:extLst>
              <a:ext uri="{FF2B5EF4-FFF2-40B4-BE49-F238E27FC236}">
                <a16:creationId xmlns:a16="http://schemas.microsoft.com/office/drawing/2014/main" xmlns=""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9" name="Text Placeholder 4">
            <a:extLst>
              <a:ext uri="{FF2B5EF4-FFF2-40B4-BE49-F238E27FC236}">
                <a16:creationId xmlns:a16="http://schemas.microsoft.com/office/drawing/2014/main" xmlns=""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20" name="Text Placeholder 4">
            <a:extLst>
              <a:ext uri="{FF2B5EF4-FFF2-40B4-BE49-F238E27FC236}">
                <a16:creationId xmlns:a16="http://schemas.microsoft.com/office/drawing/2014/main" xmlns=""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Tree>
    <p:extLst>
      <p:ext uri="{BB962C8B-B14F-4D97-AF65-F5344CB8AC3E}">
        <p14:creationId xmlns:p14="http://schemas.microsoft.com/office/powerpoint/2010/main" val="191587758"/>
      </p:ext>
    </p:extLst>
  </p:cSld>
  <p:clrMapOvr>
    <a:masterClrMapping/>
  </p:clrMapOvr>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matchingName="Key Message with Circle"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algn="r"/>
            <a:r>
              <a:rPr lang="en-GB" sz="1000">
                <a:solidFill>
                  <a:srgbClr val="FFFFFF"/>
                </a:solidFill>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70264718"/>
      </p:ext>
    </p:extLst>
  </p:cSld>
  <p:clrMapOvr>
    <a:masterClrMapping/>
  </p:clrMapOvr>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E245637-CB22-4FC0-9570-8A92E6CDB5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xmlns="" id="{8DBE9B65-2471-4347-A722-8AA68BD37CE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xmlns="" id="{DE9AE956-EC12-4121-84AA-124E7D717AEB}"/>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F5621342-ACEA-4B47-B745-03D001A87C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F4A94796-6F05-4F19-9B7F-17FFFB656175}"/>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67974208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3F87AE-F521-44EC-AB9A-774DD2DBAF9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45493A45-6705-4193-8630-8E10B30A80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E6C624D1-6740-499E-8CBA-F2CF2FD6C4E4}"/>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F8B098D9-67C1-4156-B904-D16947C7A4A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62B149BA-01D6-4568-B204-8523432605C2}"/>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1298630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noProof="0"/>
          </a:p>
        </p:txBody>
      </p:sp>
      <p:sp>
        <p:nvSpPr>
          <p:cNvPr id="6" name="Footer Placeholder 5"/>
          <p:cNvSpPr>
            <a:spLocks noGrp="1"/>
          </p:cNvSpPr>
          <p:nvPr>
            <p:ph type="ftr" sz="quarter" idx="11"/>
          </p:nvPr>
        </p:nvSpPr>
        <p:spPr/>
        <p:txBody>
          <a:bodyPr/>
          <a:lstStyle/>
          <a:p>
            <a:endParaRPr lang="en-GB" noProof="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noProof="0" smtClean="0"/>
              <a:pPr/>
              <a:t>‹#›</a:t>
            </a:fld>
            <a:endParaRPr lang="en-GB"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FFFFFF"/>
              </a:solidFill>
              <a:latin typeface="SwissReSans" pitchFamily="34" charset="0"/>
              <a:ea typeface="+mn-ea"/>
              <a:cs typeface="+mn-cs"/>
            </a:endParaRP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63498401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4BD494E-D1BA-4061-B52B-94170B69A0D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xmlns="" id="{ABEA1276-C4FF-416F-B9D1-60D57E6B81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AB13E804-A806-4090-AB2B-F73C025E1095}"/>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4D9BC862-B2B0-4E37-895D-F23C9E42175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5C3053F0-710A-4429-8545-6845BD7CE0DC}"/>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72543223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B00D634-83AE-4827-8E4B-F1D2F2A7FA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968621B2-048B-471D-8A36-458D33A4523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xmlns="" id="{DB504E81-95D5-4E65-864C-BFB0EC76F01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BAB344B3-062E-43D0-AC9E-0A738EBAF0C9}"/>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6" name="Footer Placeholder 5">
            <a:extLst>
              <a:ext uri="{FF2B5EF4-FFF2-40B4-BE49-F238E27FC236}">
                <a16:creationId xmlns:a16="http://schemas.microsoft.com/office/drawing/2014/main" xmlns="" id="{15FDB594-A25D-457D-9241-017862F712C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AFA83707-26B1-4313-9857-8045D2DED200}"/>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25021483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522DE03-65EB-439B-B367-E5864AB83BA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72A56BBB-30C5-491B-88E8-A574D67D60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1D63D4BD-819E-40BA-9B26-356B1B3D745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xmlns="" id="{01D36FE4-7737-4EFB-8501-41E231E9B0E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EB831788-C4E2-4007-A457-39100EBED58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xmlns="" id="{51AE52FF-5D17-47EF-B0B5-855D7C02575F}"/>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8" name="Footer Placeholder 7">
            <a:extLst>
              <a:ext uri="{FF2B5EF4-FFF2-40B4-BE49-F238E27FC236}">
                <a16:creationId xmlns:a16="http://schemas.microsoft.com/office/drawing/2014/main" xmlns="" id="{3D67E3F6-83C5-42BC-85C7-3B27988EDF98}"/>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xmlns="" id="{922101C7-B14A-4C10-A087-DB2C1D831DA0}"/>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384884948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D71C327-090A-458C-A995-9F855F9274B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xmlns="" id="{1827B38A-C933-4805-B8BD-DD296D6DA1FF}"/>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4" name="Footer Placeholder 3">
            <a:extLst>
              <a:ext uri="{FF2B5EF4-FFF2-40B4-BE49-F238E27FC236}">
                <a16:creationId xmlns:a16="http://schemas.microsoft.com/office/drawing/2014/main" xmlns="" id="{ECAEA68C-DAD6-4D9D-A7C8-A19A038E2AF2}"/>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xmlns="" id="{3596D774-3299-4D59-A06D-FE8C68453C6E}"/>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106566203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CB702C6-C890-46FE-9B55-1279CC36C9BC}"/>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3" name="Footer Placeholder 2">
            <a:extLst>
              <a:ext uri="{FF2B5EF4-FFF2-40B4-BE49-F238E27FC236}">
                <a16:creationId xmlns:a16="http://schemas.microsoft.com/office/drawing/2014/main" xmlns="" id="{BAAF2E7C-E5BC-4E62-88AA-65F71AB8730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xmlns="" id="{9AA97EDF-7450-43E9-A4D6-A8A9E873185F}"/>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279088697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E84B697-C571-44CB-97F7-3005008AD1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DD56302-EB19-4AAE-97DE-D1147CBF17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xmlns="" id="{E9A30287-30E4-4A4C-9A34-BD66E655E4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4C520D9C-2BAF-480C-819C-CA46A6F29836}"/>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6" name="Footer Placeholder 5">
            <a:extLst>
              <a:ext uri="{FF2B5EF4-FFF2-40B4-BE49-F238E27FC236}">
                <a16:creationId xmlns:a16="http://schemas.microsoft.com/office/drawing/2014/main" xmlns="" id="{21975FD9-BB8F-4484-9726-575ED504A93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36B353BA-9BE0-43FD-9468-47ECCC292F42}"/>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9364577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FA504A-1BF6-4923-90E3-036AF12EE1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xmlns="" id="{8BA88450-5E04-4EAD-93E3-B9E40A6AB34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xmlns="" id="{7D16F1F3-79AE-47CF-8173-CC992468D9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F10C904-281F-458E-B619-D4CCCFE83CB1}"/>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6" name="Footer Placeholder 5">
            <a:extLst>
              <a:ext uri="{FF2B5EF4-FFF2-40B4-BE49-F238E27FC236}">
                <a16:creationId xmlns:a16="http://schemas.microsoft.com/office/drawing/2014/main" xmlns="" id="{B57E63AB-93C9-4880-BE4A-B969BC0474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xmlns="" id="{C0362561-85E7-46BC-B404-5A612F27FC74}"/>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68792113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04A6AB-6733-448A-AB15-BB6EC9F1BB5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DEDB6995-537E-437D-AADB-8B12899992A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E3EBFDA5-4845-4641-AA9F-EBACC15EEBC3}"/>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D41FC593-45A1-420D-9EDA-6691E6ADDD4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9B67747B-985F-43E7-B4F4-2F2B197D8DE3}"/>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241711517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26428D0-ADDD-455F-A7CF-2F572C82539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xmlns="" id="{6ECEBB47-F499-45A1-AB54-4B49FF47DDA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080E1BC3-1BBC-4832-A6DE-876784C2FC5B}"/>
              </a:ext>
            </a:extLst>
          </p:cNvPr>
          <p:cNvSpPr>
            <a:spLocks noGrp="1"/>
          </p:cNvSpPr>
          <p:nvPr>
            <p:ph type="dt" sz="half" idx="10"/>
          </p:nvPr>
        </p:nvSpPr>
        <p:spPr/>
        <p:txBody>
          <a:body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1F93375B-518F-40F5-930D-598687A187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BB73C1B8-5984-4DDB-A1A9-72FD3BDCFE44}"/>
              </a:ext>
            </a:extLst>
          </p:cNvPr>
          <p:cNvSpPr>
            <a:spLocks noGrp="1"/>
          </p:cNvSpPr>
          <p:nvPr>
            <p:ph type="sldNum" sz="quarter" idx="12"/>
          </p:nvPr>
        </p:nvSpPr>
        <p:spPr/>
        <p:txBody>
          <a:bodyPr/>
          <a:lstStyle/>
          <a:p>
            <a:fld id="{55EFB56D-5DF3-44AC-8402-030C267D2832}" type="slidenum">
              <a:rPr lang="en-GB" smtClean="0"/>
              <a:t>‹#›</a:t>
            </a:fld>
            <a:endParaRPr lang="en-GB"/>
          </a:p>
        </p:txBody>
      </p:sp>
    </p:spTree>
    <p:extLst>
      <p:ext uri="{BB962C8B-B14F-4D97-AF65-F5344CB8AC3E}">
        <p14:creationId xmlns:p14="http://schemas.microsoft.com/office/powerpoint/2010/main" val="134414494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Title Only"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187E0C9-EEE5-41EA-A061-8D2FC31FD5B0}"/>
              </a:ext>
            </a:extLst>
          </p:cNvPr>
          <p:cNvGraphicFramePr>
            <a:graphicFrameLocks noChangeAspect="1"/>
          </p:cNvGraphicFramePr>
          <p:nvPr userDrawn="1">
            <p:custDataLst>
              <p:tags r:id="rId3"/>
            </p:custDataLst>
            <p:extLst>
              <p:ext uri="{D42A27DB-BD31-4B8C-83A1-F6EECF244321}">
                <p14:modId xmlns:p14="http://schemas.microsoft.com/office/powerpoint/2010/main" val="3791734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30"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xmlns="" id="{2187E0C9-EEE5-41EA-A061-8D2FC31FD5B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8F36430-66E3-4A09-85EC-C64D5B04088E}"/>
              </a:ext>
            </a:extLst>
          </p:cNvPr>
          <p:cNvSpPr/>
          <p:nvPr userDrawn="1">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5"/>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2300544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GB" noProof="1"/>
              <a:t>Click to browse for an own image. </a:t>
            </a:r>
            <a:br>
              <a:rPr lang="en-GB" noProof="1"/>
            </a:br>
            <a:r>
              <a:rPr lang="en-GB" noProof="1"/>
              <a:t>Be careful to avoid an image that clashes </a:t>
            </a:r>
            <a:br>
              <a:rPr lang="en-GB" noProof="1"/>
            </a:br>
            <a:r>
              <a:rPr lang="en-GB"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41563796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matchingName="Section Header - Gradient and Number"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53CA2B31-CBAE-4FCE-8922-2157B75354D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4255422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matchingName="Key Message with Gradient"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89008796"/>
      </p:ext>
    </p:extLst>
  </p:cSld>
  <p:clrMapOvr>
    <a:masterClrMapping/>
  </p:clrMapOvr>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377733306"/>
      </p:ext>
    </p:extLst>
  </p:cSld>
  <p:clrMapOvr>
    <a:masterClrMapping/>
  </p:clrMapOvr>
  <p:hf hdr="0" ft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matchingName="Section Header - Gradient"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00794995"/>
      </p:ext>
    </p:extLst>
  </p:cSld>
  <p:clrMapOvr>
    <a:masterClrMapping/>
  </p:clrMapOvr>
  <p:hf hdr="0" ftr="0" dt="0"/>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Text and small Image"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607193343"/>
      </p:ext>
    </p:extLst>
  </p:cSld>
  <p:clrMapOvr>
    <a:masterClrMapping/>
  </p:clrMapOvr>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Tree>
    <p:extLst>
      <p:ext uri="{BB962C8B-B14F-4D97-AF65-F5344CB8AC3E}">
        <p14:creationId xmlns:p14="http://schemas.microsoft.com/office/powerpoint/2010/main" val="2614968851"/>
      </p:ext>
    </p:extLst>
  </p:cSld>
  <p:clrMapOvr>
    <a:masterClrMapping/>
  </p:clrMapOvr>
  <p:hf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52355118"/>
      </p:ext>
    </p:extLst>
  </p:cSld>
  <p:clrMapOvr>
    <a:masterClrMapping/>
  </p:clrMapOvr>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977458504"/>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18096778"/>
      </p:ext>
    </p:extLst>
  </p:cSld>
  <p:clrMapOvr>
    <a:masterClrMapping/>
  </p:clrMapOvr>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7942300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72313786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295946485"/>
      </p:ext>
    </p:extLst>
  </p:cSld>
  <p:clrMapOvr>
    <a:masterClrMapping/>
  </p:clrMapOvr>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015761422"/>
      </p:ext>
    </p:extLst>
  </p:cSld>
  <p:clrMapOvr>
    <a:masterClrMapping/>
  </p:clrMapOvr>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76062095"/>
      </p:ext>
    </p:extLst>
  </p:cSld>
  <p:clrMapOvr>
    <a:masterClrMapping/>
  </p:clrMapOvr>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020524385"/>
      </p:ext>
    </p:extLst>
  </p:cSld>
  <p:clrMapOvr>
    <a:masterClrMapping/>
  </p:clrMapOvr>
  <p:hf hdr="0" ftr="0" dt="0"/>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83306044"/>
      </p:ext>
    </p:extLst>
  </p:cSld>
  <p:clrMapOvr>
    <a:masterClrMapping/>
  </p:clrMapOvr>
  <p:hf hdr="0" ftr="0" dt="0"/>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75976481"/>
      </p:ext>
    </p:extLst>
  </p:cSld>
  <p:clrMapOvr>
    <a:masterClrMapping/>
  </p:clrMapOvr>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554471166"/>
      </p:ext>
    </p:extLst>
  </p:cSld>
  <p:clrMapOvr>
    <a:masterClrMapping/>
  </p:clrMapOvr>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674878713"/>
      </p:ext>
    </p:extLst>
  </p:cSld>
  <p:clrMapOvr>
    <a:masterClrMapping/>
  </p:clrMapOvr>
  <p:hf hdr="0" ftr="0" dt="0"/>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503221734"/>
      </p:ext>
    </p:extLst>
  </p:cSld>
  <p:clrMapOvr>
    <a:masterClrMapping/>
  </p:clrMapOvr>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990560043"/>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912286" y="692151"/>
            <a:ext cx="470366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04178729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951235394"/>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690358494"/>
      </p:ext>
    </p:extLst>
  </p:cSld>
  <p:clrMapOvr>
    <a:masterClrMapping/>
  </p:clrMapOvr>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927769981"/>
      </p:ext>
    </p:extLst>
  </p:cSld>
  <p:clrMapOvr>
    <a:masterClrMapping/>
  </p:clrMapOvr>
  <p:hf hdr="0" ftr="0" dt="0"/>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02920514"/>
      </p:ext>
    </p:extLst>
  </p:cSld>
  <p:clrMapOvr>
    <a:masterClrMapping/>
  </p:clrMapOvr>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657694929"/>
      </p:ext>
    </p:extLst>
  </p:cSld>
  <p:clrMapOvr>
    <a:masterClrMapping/>
  </p:clrMapOvr>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12918315"/>
      </p:ext>
    </p:extLst>
  </p:cSld>
  <p:clrMapOvr>
    <a:masterClrMapping/>
  </p:clrMapOvr>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527507732"/>
      </p:ext>
    </p:extLst>
  </p:cSld>
  <p:clrMapOvr>
    <a:masterClrMapping/>
  </p:clrMapOvr>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5250854"/>
      </p:ext>
    </p:extLst>
  </p:cSld>
  <p:clrMapOvr>
    <a:masterClrMapping/>
  </p:clrMapOvr>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786796873"/>
      </p:ext>
    </p:extLst>
  </p:cSld>
  <p:clrMapOvr>
    <a:masterClrMapping/>
  </p:clrMapOvr>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64290456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11306008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1284518181"/>
      </p:ext>
    </p:extLst>
  </p:cSld>
  <p:clrMapOvr>
    <a:masterClrMapping/>
  </p:clrMapOvr>
  <p:hf hdr="0" ftr="0" dt="0"/>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12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982955268"/>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199037704"/>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2278490140"/>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mn-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2332415855"/>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143506173"/>
      </p:ext>
    </p:extLst>
  </p:cSld>
  <p:clrMapOvr>
    <a:masterClrMapping/>
  </p:clrMapOvr>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68796472"/>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40441087"/>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32810432"/>
      </p:ext>
    </p:extLst>
  </p:cSld>
  <p:clrMapOvr>
    <a:masterClrMapping/>
  </p:clrMapOvr>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6807414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49662884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62375515"/>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58474974"/>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38673718"/>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708531891"/>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668901683"/>
      </p:ext>
    </p:extLst>
  </p:cSld>
  <p:clrMapOvr>
    <a:masterClrMapping/>
  </p:clrMapOvr>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57850355"/>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04933823"/>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3" name="Rectangle 2"/>
          <p:cNvSpPr/>
          <p:nvPr userDrawn="1"/>
        </p:nvSpPr>
        <p:spPr>
          <a:xfrm>
            <a:off x="11396292" y="6447649"/>
            <a:ext cx="372218" cy="276999"/>
          </a:xfrm>
          <a:prstGeom prst="rect">
            <a:avLst/>
          </a:prstGeom>
        </p:spPr>
        <p:txBody>
          <a:bodyPr wrap="non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2916258525"/>
      </p:ext>
    </p:extLst>
  </p:cSld>
  <p:clrMapOvr>
    <a:masterClrMapping/>
  </p:clrMapOvr>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38177565"/>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886674690"/>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38176480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66992499"/>
      </p:ext>
    </p:extLst>
  </p:cSld>
  <p:clrMapOvr>
    <a:masterClrMapping/>
  </p:clrMapOvr>
  <p:hf hdr="0" ftr="0" dt="0"/>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923907616"/>
      </p:ext>
    </p:extLst>
  </p:cSld>
  <p:clrMapOvr>
    <a:masterClrMapping/>
  </p:clrMapOvr>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705361930"/>
      </p:ext>
    </p:extLst>
  </p:cSld>
  <p:clrMapOvr>
    <a:masterClrMapping/>
  </p:clrMapOvr>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860043371"/>
      </p:ext>
    </p:extLst>
  </p:cSld>
  <p:clrMapOvr>
    <a:masterClrMapping/>
  </p:clrMapOvr>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64923214"/>
      </p:ext>
    </p:extLst>
  </p:cSld>
  <p:clrMapOvr>
    <a:masterClrMapping/>
  </p:clrMapOvr>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18290356"/>
      </p:ext>
    </p:extLst>
  </p:cSld>
  <p:clrMapOvr>
    <a:masterClrMapping/>
  </p:clrMapOvr>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96451494"/>
      </p:ext>
    </p:extLst>
  </p:cSld>
  <p:clrMapOvr>
    <a:masterClrMapping/>
  </p:clrMapOvr>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090282"/>
      </p:ext>
    </p:extLst>
  </p:cSld>
  <p:clrMapOvr>
    <a:masterClrMapping/>
  </p:clrMapOvr>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442534169"/>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816841658"/>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513900145"/>
      </p:ext>
    </p:extLst>
  </p:cSld>
  <p:clrMapOvr>
    <a:masterClrMapping/>
  </p:clrMapOvr>
  <p:extLst>
    <p:ext uri="{DCECCB84-F9BA-43D5-87BE-67443E8EF086}">
      <p15:sldGuideLst xmlns:p15="http://schemas.microsoft.com/office/powerpoint/2012/main"/>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027135598"/>
      </p:ext>
    </p:extLst>
  </p:cSld>
  <p:clrMapOvr>
    <a:masterClrMapping/>
  </p:clrMapOvr>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87540676"/>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1434650784"/>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423779827"/>
      </p:ext>
    </p:extLst>
  </p:cSld>
  <p:clrMapOvr>
    <a:masterClrMapping/>
  </p:clrMapOvr>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605622732"/>
      </p:ext>
    </p:extLst>
  </p:cSld>
  <p:clrMapOvr>
    <a:masterClrMapping/>
  </p:clrMapOvr>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265983759"/>
      </p:ext>
    </p:extLst>
  </p:cSld>
  <p:clrMapOvr>
    <a:masterClrMapping/>
  </p:clrMapOvr>
  <p:hf hdr="0" ftr="0" dt="0"/>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908106603"/>
      </p:ext>
    </p:extLst>
  </p:cSld>
  <p:clrMapOvr>
    <a:masterClrMapping/>
  </p:clrMapOvr>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62702789"/>
      </p:ext>
    </p:extLst>
  </p:cSld>
  <p:clrMapOvr>
    <a:masterClrMapping/>
  </p:clrMapOvr>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83851347"/>
      </p:ext>
    </p:extLst>
  </p:cSld>
  <p:clrMapOvr>
    <a:masterClrMapping/>
  </p:clrMapOvr>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6442987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580909201"/>
      </p:ext>
    </p:extLst>
  </p:cSld>
  <p:clrMapOvr>
    <a:masterClrMapping/>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812836770"/>
      </p:ext>
    </p:extLst>
  </p:cSld>
  <p:clrMapOvr>
    <a:masterClrMapping/>
  </p:clrMapOvr>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917174067"/>
      </p:ext>
    </p:extLst>
  </p:cSld>
  <p:clrMapOvr>
    <a:masterClrMapping/>
  </p:clrMapOvr>
  <p:hf hdr="0" ftr="0" dt="0"/>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3734599565"/>
      </p:ext>
    </p:extLst>
  </p:cSld>
  <p:clrMapOvr>
    <a:masterClrMapping/>
  </p:clrMapOvr>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12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991231588"/>
      </p:ext>
    </p:extLst>
  </p:cSld>
  <p:clrMapOvr>
    <a:masterClrMapping/>
  </p:clrMapOvr>
  <p:hf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830116592"/>
      </p:ext>
    </p:extLst>
  </p:cSld>
  <p:clrMapOvr>
    <a:masterClrMapping/>
  </p:clrMapOvr>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2812018974"/>
      </p:ext>
    </p:extLst>
  </p:cSld>
  <p:clrMapOvr>
    <a:masterClrMapping/>
  </p:clrMapOvr>
  <p:hf hdr="0" ftr="0" dt="0"/>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mn-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763437835"/>
      </p:ext>
    </p:extLst>
  </p:cSld>
  <p:clrMapOvr>
    <a:masterClrMapping/>
  </p:clrMapOvr>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050604513"/>
      </p:ext>
    </p:extLst>
  </p:cSld>
  <p:clrMapOvr>
    <a:masterClrMapping/>
  </p:clrMapOvr>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127036446"/>
      </p:ext>
    </p:extLst>
  </p:cSld>
  <p:clrMapOvr>
    <a:masterClrMapping/>
  </p:clrMapOvr>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605420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40597117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2361381662"/>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16130778"/>
      </p:ext>
    </p:extLst>
  </p:cSld>
  <p:clrMapOvr>
    <a:masterClrMapping/>
  </p:clrMapOvr>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73726864"/>
      </p:ext>
    </p:extLst>
  </p:cSld>
  <p:clrMapOvr>
    <a:masterClrMapping/>
  </p:clrMapOvr>
  <p:hf hdr="0" ftr="0" dt="0"/>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14107229"/>
      </p:ext>
    </p:extLst>
  </p:cSld>
  <p:clrMapOvr>
    <a:masterClrMapping/>
  </p:clrMapOvr>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322283735"/>
      </p:ext>
    </p:extLst>
  </p:cSld>
  <p:clrMapOvr>
    <a:masterClrMapping/>
  </p:clrMapOvr>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184641882"/>
      </p:ext>
    </p:extLst>
  </p:cSld>
  <p:clrMapOvr>
    <a:masterClrMapping/>
  </p:clrMapOvr>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404190889"/>
      </p:ext>
    </p:extLst>
  </p:cSld>
  <p:clrMapOvr>
    <a:masterClrMapping/>
  </p:clrMapOvr>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684575625"/>
      </p:ext>
    </p:extLst>
  </p:cSld>
  <p:clrMapOvr>
    <a:masterClrMapping/>
  </p:clrMapOvr>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793443811"/>
      </p:ext>
    </p:extLst>
  </p:cSld>
  <p:clrMapOvr>
    <a:masterClrMapping/>
  </p:clrMapOvr>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3270713"/>
      </p:ext>
    </p:extLst>
  </p:cSld>
  <p:clrMapOvr>
    <a:masterClrMapping/>
  </p:clrMapOvr>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27103" y="673086"/>
            <a:ext cx="10655299" cy="692647"/>
          </a:xfrm>
        </p:spPr>
        <p:txBody>
          <a:bodyPr/>
          <a:lstStyle/>
          <a:p>
            <a:r>
              <a:rPr lang="en-GB"/>
              <a:t>Click to edit Master title style</a:t>
            </a:r>
          </a:p>
        </p:txBody>
      </p:sp>
      <p:sp>
        <p:nvSpPr>
          <p:cNvPr id="3" name="Content Placeholder 2"/>
          <p:cNvSpPr>
            <a:spLocks noGrp="1"/>
          </p:cNvSpPr>
          <p:nvPr>
            <p:ph idx="1"/>
          </p:nvPr>
        </p:nvSpPr>
        <p:spPr bwMode="gray">
          <a:xfrm>
            <a:off x="609601" y="1425600"/>
            <a:ext cx="10972800" cy="470001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5" name="Rectangle 4"/>
          <p:cNvSpPr/>
          <p:nvPr userDrawn="1"/>
        </p:nvSpPr>
        <p:spPr>
          <a:xfrm>
            <a:off x="11395426" y="6368715"/>
            <a:ext cx="576834" cy="287251"/>
          </a:xfrm>
          <a:prstGeom prst="rect">
            <a:avLst/>
          </a:prstGeom>
        </p:spPr>
        <p:txBody>
          <a:bodyPr wrap="squar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2987772795"/>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912285" y="1628775"/>
            <a:ext cx="969621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a:p>
        </p:txBody>
      </p:sp>
      <p:sp>
        <p:nvSpPr>
          <p:cNvPr id="9" name="Text Placeholder 9"/>
          <p:cNvSpPr>
            <a:spLocks noGrp="1"/>
          </p:cNvSpPr>
          <p:nvPr>
            <p:ph type="body" sz="quarter" idx="13"/>
          </p:nvPr>
        </p:nvSpPr>
        <p:spPr>
          <a:xfrm>
            <a:off x="912285" y="3573016"/>
            <a:ext cx="969621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Click to edit Master text styles</a:t>
            </a:r>
          </a:p>
        </p:txBody>
      </p:sp>
      <p:sp>
        <p:nvSpPr>
          <p:cNvPr id="10"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45648441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3" name="Rectangle 2"/>
          <p:cNvSpPr/>
          <p:nvPr userDrawn="1"/>
        </p:nvSpPr>
        <p:spPr>
          <a:xfrm>
            <a:off x="11396292" y="6447649"/>
            <a:ext cx="372218" cy="276999"/>
          </a:xfrm>
          <a:prstGeom prst="rect">
            <a:avLst/>
          </a:prstGeom>
        </p:spPr>
        <p:txBody>
          <a:bodyPr wrap="non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2635274918"/>
      </p:ext>
    </p:extLst>
  </p:cSld>
  <p:clrMapOvr>
    <a:masterClrMapping/>
  </p:clrMapOvr>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44D548B-6BFC-4B80-9968-8EC0168670C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651649689"/>
      </p:ext>
    </p:extLst>
  </p:cSld>
  <p:clrMapOvr>
    <a:masterClrMapping/>
  </p:clrMapOvr>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2"/>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436AB423-DB64-4C88-AF10-84ACB2C92996}"/>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678395476"/>
      </p:ext>
    </p:extLst>
  </p:cSld>
  <p:clrMapOvr>
    <a:masterClrMapping/>
  </p:clrMapOvr>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3"/>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9149564D-A287-4400-9059-7AFA34F942A3}"/>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154871260"/>
      </p:ext>
    </p:extLst>
  </p:cSld>
  <p:clrMapOvr>
    <a:masterClrMapping/>
  </p:clrMapOvr>
  <p:hf hdr="0" ftr="0" dt="0"/>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CADC2A2E-34E6-4D5D-943B-BEB3446E386A}"/>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685387611"/>
      </p:ext>
    </p:extLst>
  </p:cSld>
  <p:clrMapOvr>
    <a:masterClrMapping/>
  </p:clrMapOvr>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88A3ABD-A9E5-4687-B52E-E567CB7EA857}"/>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94517006"/>
      </p:ext>
    </p:extLst>
  </p:cSld>
  <p:clrMapOvr>
    <a:masterClrMapping/>
  </p:clrMapOvr>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GB" noProof="0"/>
              <a:t>Click to edit Master title style</a:t>
            </a:r>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pic>
        <p:nvPicPr>
          <p:cNvPr id="3" name="Picture 2">
            <a:extLst>
              <a:ext uri="{FF2B5EF4-FFF2-40B4-BE49-F238E27FC236}">
                <a16:creationId xmlns:a16="http://schemas.microsoft.com/office/drawing/2014/main" xmlns="" id="{73EE398F-2642-4E8C-AC89-BF7553929C3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624497895"/>
      </p:ext>
    </p:extLst>
  </p:cSld>
  <p:clrMapOvr>
    <a:masterClrMapping/>
  </p:clrMapOvr>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C9785856-FD01-4E67-B062-A7D441D0417F}"/>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771845346"/>
      </p:ext>
    </p:extLst>
  </p:cSld>
  <p:clrMapOvr>
    <a:masterClrMapping/>
  </p:clrMapOvr>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6C9EA2E6-262F-490F-A8F9-CFE4E3E11D6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249732175"/>
      </p:ext>
    </p:extLst>
  </p:cSld>
  <p:clrMapOvr>
    <a:masterClrMapping/>
  </p:clrMapOvr>
  <p:hf hdr="0" ftr="0" dt="0"/>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2"/>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3FCF0CAC-DEB6-4786-A2F1-FE37B29ECF01}"/>
              </a:ext>
            </a:extLst>
          </p:cNvPr>
          <p:cNvPicPr>
            <a:picLocks noChangeAspect="1"/>
          </p:cNvPicPr>
          <p:nvPr userDrawn="1">
            <p:custDataLst>
              <p:tags r:id="rId6"/>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75248480"/>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Section Header - Gradient"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Financial Statements | May 2020 | Reinsurance IFRS 17 Implementation</a:t>
            </a:r>
          </a:p>
        </p:txBody>
      </p:sp>
      <p:pic>
        <p:nvPicPr>
          <p:cNvPr id="6" name="Picture 5">
            <a:extLst>
              <a:ext uri="{FF2B5EF4-FFF2-40B4-BE49-F238E27FC236}">
                <a16:creationId xmlns:a16="http://schemas.microsoft.com/office/drawing/2014/main" xmlns="" id="{27C768EE-EB03-4977-94AD-4A1E67B35100}"/>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868401056"/>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chemeClr val="bg1"/>
                </a:solidFill>
                <a:latin typeface="SwissReSans" pitchFamily="34" charset="0"/>
                <a:ea typeface="+mn-ea"/>
                <a:cs typeface="+mn-cs"/>
              </a:rPr>
              <a:t>IFRS 17 accounting policies</a:t>
            </a:r>
          </a:p>
        </p:txBody>
      </p:sp>
      <p:pic>
        <p:nvPicPr>
          <p:cNvPr id="6" name="Picture 5">
            <a:extLst>
              <a:ext uri="{FF2B5EF4-FFF2-40B4-BE49-F238E27FC236}">
                <a16:creationId xmlns:a16="http://schemas.microsoft.com/office/drawing/2014/main" xmlns="" id="{D91613D3-EB18-43DB-B2E5-D85DF3EF999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71006086"/>
      </p:ext>
    </p:extLst>
  </p:cSld>
  <p:clrMapOvr>
    <a:masterClrMapping/>
  </p:clrMapOvr>
  <p:hf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188213364"/>
      </p:ext>
    </p:extLst>
  </p:cSld>
  <p:clrMapOvr>
    <a:masterClrMapping/>
  </p:clrMapOvr>
  <p:hf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405026625"/>
      </p:ext>
    </p:extLst>
  </p:cSld>
  <p:clrMapOvr>
    <a:masterClrMapping/>
  </p:clrMapOvr>
  <p:hf hdr="0" ftr="0" dt="0"/>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393664073"/>
      </p:ext>
    </p:extLst>
  </p:cSld>
  <p:clrMapOvr>
    <a:masterClrMapping/>
  </p:clrMapOvr>
  <p:hf hdr="0" ftr="0" dt="0"/>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469200390"/>
      </p:ext>
    </p:extLst>
  </p:cSld>
  <p:clrMapOvr>
    <a:masterClrMapping/>
  </p:clrMapOvr>
  <p:hf hdr="0" ftr="0" dt="0"/>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983052529"/>
      </p:ext>
    </p:extLst>
  </p:cSld>
  <p:clrMapOvr>
    <a:masterClrMapping/>
  </p:clrMapOvr>
  <p:hf hdr="0" ftr="0" dt="0"/>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533082275"/>
      </p:ext>
    </p:extLst>
  </p:cSld>
  <p:clrMapOvr>
    <a:masterClrMapping/>
  </p:clrMapOvr>
  <p:hf hdr="0" ftr="0" dt="0"/>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Add conclusion here</a:t>
            </a:r>
          </a:p>
        </p:txBody>
      </p:sp>
      <p:sp>
        <p:nvSpPr>
          <p:cNvPr id="7" name="Picture Placeholder 6">
            <a:extLst>
              <a:ext uri="{FF2B5EF4-FFF2-40B4-BE49-F238E27FC236}">
                <a16:creationId xmlns:a16="http://schemas.microsoft.com/office/drawing/2014/main" xmlns=""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GB"/>
              <a:t>Click icon to add picture</a:t>
            </a:r>
          </a:p>
        </p:txBody>
      </p:sp>
      <p:sp>
        <p:nvSpPr>
          <p:cNvPr id="15" name="Text Placeholder 4">
            <a:extLst>
              <a:ext uri="{FF2B5EF4-FFF2-40B4-BE49-F238E27FC236}">
                <a16:creationId xmlns:a16="http://schemas.microsoft.com/office/drawing/2014/main" xmlns=""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6" name="Text Placeholder 4">
            <a:extLst>
              <a:ext uri="{FF2B5EF4-FFF2-40B4-BE49-F238E27FC236}">
                <a16:creationId xmlns:a16="http://schemas.microsoft.com/office/drawing/2014/main" xmlns=""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7" name="Text Placeholder 4">
            <a:extLst>
              <a:ext uri="{FF2B5EF4-FFF2-40B4-BE49-F238E27FC236}">
                <a16:creationId xmlns:a16="http://schemas.microsoft.com/office/drawing/2014/main" xmlns=""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8" name="Text Placeholder 4">
            <a:extLst>
              <a:ext uri="{FF2B5EF4-FFF2-40B4-BE49-F238E27FC236}">
                <a16:creationId xmlns:a16="http://schemas.microsoft.com/office/drawing/2014/main" xmlns=""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19" name="Text Placeholder 4">
            <a:extLst>
              <a:ext uri="{FF2B5EF4-FFF2-40B4-BE49-F238E27FC236}">
                <a16:creationId xmlns:a16="http://schemas.microsoft.com/office/drawing/2014/main" xmlns=""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
        <p:nvSpPr>
          <p:cNvPr id="20" name="Text Placeholder 4">
            <a:extLst>
              <a:ext uri="{FF2B5EF4-FFF2-40B4-BE49-F238E27FC236}">
                <a16:creationId xmlns:a16="http://schemas.microsoft.com/office/drawing/2014/main" xmlns=""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GB"/>
              <a:t>Click to edit Master text styles</a:t>
            </a:r>
          </a:p>
        </p:txBody>
      </p:sp>
    </p:spTree>
    <p:extLst>
      <p:ext uri="{BB962C8B-B14F-4D97-AF65-F5344CB8AC3E}">
        <p14:creationId xmlns:p14="http://schemas.microsoft.com/office/powerpoint/2010/main" val="2130056313"/>
      </p:ext>
    </p:extLst>
  </p:cSld>
  <p:clrMapOvr>
    <a:masterClrMapping/>
  </p:clrMapOvr>
  <p:hf hdr="0" ftr="0" dt="0"/>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257243251"/>
      </p:ext>
    </p:extLst>
  </p:cSld>
  <p:clrMapOvr>
    <a:masterClrMapping/>
  </p:clrMapOvr>
  <p:hf hdr="0" ftr="0" dt="0"/>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B936CFED-7460-42D9-A7AB-00B6B6A0655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997515744"/>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2D5DF7-747C-4ED2-9D65-953D3BFFEB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90A0090-8FF9-4642-9AFA-808CAA035B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C6866ADD-3A9D-41D5-B066-E1C0F3ECCC58}"/>
              </a:ext>
            </a:extLst>
          </p:cNvPr>
          <p:cNvSpPr>
            <a:spLocks noGrp="1"/>
          </p:cNvSpPr>
          <p:nvPr>
            <p:ph type="dt" sz="half" idx="10"/>
          </p:nvPr>
        </p:nvSpPr>
        <p:spPr/>
        <p:txBody>
          <a:bodyPr/>
          <a:lstStyle/>
          <a:p>
            <a:fld id="{4E4BE869-1650-4E31-85F2-6D10A05E7C7D}" type="datetimeFigureOut">
              <a:rPr lang="en-GB" smtClean="0"/>
              <a:t>26/08/2021</a:t>
            </a:fld>
            <a:endParaRPr lang="en-GB"/>
          </a:p>
        </p:txBody>
      </p:sp>
      <p:sp>
        <p:nvSpPr>
          <p:cNvPr id="5" name="Footer Placeholder 4">
            <a:extLst>
              <a:ext uri="{FF2B5EF4-FFF2-40B4-BE49-F238E27FC236}">
                <a16:creationId xmlns:a16="http://schemas.microsoft.com/office/drawing/2014/main" xmlns="" id="{3B7B6645-B01F-4C27-94E9-26B819563C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91F44189-FC4F-48C4-A882-2BE5719C4755}"/>
              </a:ext>
            </a:extLst>
          </p:cNvPr>
          <p:cNvSpPr>
            <a:spLocks noGrp="1"/>
          </p:cNvSpPr>
          <p:nvPr>
            <p:ph type="sldNum" sz="quarter" idx="12"/>
          </p:nvPr>
        </p:nvSpPr>
        <p:spPr/>
        <p:txBody>
          <a:bodyPr/>
          <a:lstStyle/>
          <a:p>
            <a:fld id="{A5D15DC4-C496-4666-BEAA-92D9A2BE7764}" type="slidenum">
              <a:rPr lang="en-GB" smtClean="0"/>
              <a:t>‹#›</a:t>
            </a:fld>
            <a:endParaRPr lang="en-GB"/>
          </a:p>
        </p:txBody>
      </p:sp>
    </p:spTree>
    <p:extLst>
      <p:ext uri="{BB962C8B-B14F-4D97-AF65-F5344CB8AC3E}">
        <p14:creationId xmlns:p14="http://schemas.microsoft.com/office/powerpoint/2010/main" val="2135240758"/>
      </p:ext>
    </p:extLst>
  </p:cSld>
  <p:clrMapOvr>
    <a:masterClrMapping/>
  </p:clrMapOvr>
  <p:hf hdr="0" ftr="0" dt="0"/>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22702DF3-6BCE-4616-92B6-55216C1F0B0E}"/>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949752287"/>
      </p:ext>
    </p:extLst>
  </p:cSld>
  <p:clrMapOvr>
    <a:masterClrMapping/>
  </p:clrMapOvr>
  <p:hf hdr="0" ftr="0" dt="0"/>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F3EB1FF7-777B-4949-B6BB-328F46AE35D5}"/>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90498694"/>
      </p:ext>
    </p:extLst>
  </p:cSld>
  <p:clrMapOvr>
    <a:masterClrMapping/>
  </p:clrMapOvr>
  <p:hf hdr="0" ftr="0" dt="0"/>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 name="Picture 2">
            <a:extLst>
              <a:ext uri="{FF2B5EF4-FFF2-40B4-BE49-F238E27FC236}">
                <a16:creationId xmlns:a16="http://schemas.microsoft.com/office/drawing/2014/main" xmlns="" id="{6F6C707A-DE11-41C4-BF7A-3931266F2A2B}"/>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41623145"/>
      </p:ext>
    </p:extLst>
  </p:cSld>
  <p:clrMapOvr>
    <a:masterClrMapping/>
  </p:clrMapOvr>
  <p:hf hdr="0" ftr="0" dt="0"/>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4" name="Picture 3">
            <a:extLst>
              <a:ext uri="{FF2B5EF4-FFF2-40B4-BE49-F238E27FC236}">
                <a16:creationId xmlns:a16="http://schemas.microsoft.com/office/drawing/2014/main" xmlns="" id="{289F50E1-FB5A-4970-865D-FE5D71EB715D}"/>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5848351"/>
      </p:ext>
    </p:extLst>
  </p:cSld>
  <p:clrMapOvr>
    <a:masterClrMapping/>
  </p:clrMapOvr>
  <p:hf hdr="0" ftr="0" dt="0"/>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273597356"/>
      </p:ext>
    </p:extLst>
  </p:cSld>
  <p:clrMapOvr>
    <a:masterClrMapping/>
  </p:clrMapOvr>
  <p:hf hdr="0" ftr="0" dt="0"/>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205996567"/>
      </p:ext>
    </p:extLst>
  </p:cSld>
  <p:clrMapOvr>
    <a:masterClrMapping/>
  </p:clrMapOvr>
  <p:hf hdr="0" ftr="0" dt="0"/>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5" y="692151"/>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1767363982"/>
      </p:ext>
    </p:extLst>
  </p:cSld>
  <p:clrMapOvr>
    <a:masterClrMapping/>
  </p:clrMapOvr>
  <p:hf hdr="0" ftr="0" dt="0"/>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1200">
                <a:solidFill>
                  <a:srgbClr val="A8BAB2"/>
                </a:solidFill>
                <a:latin typeface="SwissReSans" pitchFamily="34" charset="0"/>
              </a:defRPr>
            </a:lvl1pPr>
          </a:lstStyle>
          <a:p>
            <a:r>
              <a:rPr lang="en-GB" noProof="1"/>
              <a:t>Click icon to add picture</a:t>
            </a:r>
          </a:p>
        </p:txBody>
      </p:sp>
      <p:sp>
        <p:nvSpPr>
          <p:cNvPr id="8" name="Title 7"/>
          <p:cNvSpPr>
            <a:spLocks noGrp="1"/>
          </p:cNvSpPr>
          <p:nvPr>
            <p:ph type="title"/>
          </p:nvPr>
        </p:nvSpPr>
        <p:spPr>
          <a:xfrm>
            <a:off x="695325" y="1628773"/>
            <a:ext cx="492062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431551223"/>
      </p:ext>
    </p:extLst>
  </p:cSld>
  <p:clrMapOvr>
    <a:masterClrMapping/>
  </p:clrMapOvr>
  <p:hf hdr="0" ftr="0" dt="0"/>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2068902293"/>
      </p:ext>
    </p:extLst>
  </p:cSld>
  <p:clrMapOvr>
    <a:masterClrMapping/>
  </p:clrMapOvr>
  <p:hf hdr="0" ftr="0" dt="0"/>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GB"/>
              <a:t>Click to edit Master text styles</a:t>
            </a:r>
          </a:p>
        </p:txBody>
      </p:sp>
    </p:spTree>
    <p:extLst>
      <p:ext uri="{BB962C8B-B14F-4D97-AF65-F5344CB8AC3E}">
        <p14:creationId xmlns:p14="http://schemas.microsoft.com/office/powerpoint/2010/main" val="61588741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ext and small Image"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56276062"/>
      </p:ext>
    </p:extLst>
  </p:cSld>
  <p:clrMapOvr>
    <a:masterClrMapping/>
  </p:clrMapOvr>
  <p:hf hdr="0" ftr="0" dt="0"/>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mn-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2303953855"/>
      </p:ext>
    </p:extLst>
  </p:cSld>
  <p:clrMapOvr>
    <a:masterClrMapping/>
  </p:clrMapOvr>
  <p:hf hdr="0" ftr="0" dt="0"/>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4241482285"/>
      </p:ext>
    </p:extLst>
  </p:cSld>
  <p:clrMapOvr>
    <a:masterClrMapping/>
  </p:clrMapOvr>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69F3A216-BA11-4ABD-B7EC-F4C8484A446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12300822"/>
      </p:ext>
    </p:extLst>
  </p:cSld>
  <p:clrMapOvr>
    <a:masterClrMapping/>
  </p:clrMapOvr>
  <p:hf hdr="0" ftr="0" dt="0"/>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GB"/>
              <a:t>Click icon to add pictur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smtClean="0"/>
              <a:pPr/>
              <a:t>‹#›</a:t>
            </a:fld>
            <a:endParaRPr lang="en-GB"/>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FFFFFF"/>
                </a:solidFill>
                <a:latin typeface="SwissReSans" pitchFamily="34" charset="0"/>
                <a:ea typeface="+mn-ea"/>
                <a:cs typeface="+mn-cs"/>
              </a:rPr>
              <a:t>IFRS 17 accounting policies</a:t>
            </a: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pic>
        <p:nvPicPr>
          <p:cNvPr id="4" name="Picture 3">
            <a:extLst>
              <a:ext uri="{FF2B5EF4-FFF2-40B4-BE49-F238E27FC236}">
                <a16:creationId xmlns:a16="http://schemas.microsoft.com/office/drawing/2014/main" xmlns="" id="{A72F3EEB-1658-4045-90ED-B7188F7541E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151785875"/>
      </p:ext>
    </p:extLst>
  </p:cSld>
  <p:clrMapOvr>
    <a:masterClrMapping/>
  </p:clrMapOvr>
  <p:hf hdr="0" ftr="0" dt="0"/>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3EF8F513-4718-4803-8228-A3A648DD5EB8}"/>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890606857"/>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GB"/>
              <a:t>Enter team name her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GB"/>
              <a:t>Click to add text, for example team mission and/or capabilities, roles and responsibilities, other info.</a:t>
            </a:r>
          </a:p>
          <a:p>
            <a:pPr lvl="1"/>
            <a:r>
              <a:rPr lang="en-GB"/>
              <a:t>Second level</a:t>
            </a:r>
          </a:p>
          <a:p>
            <a:pPr lvl="2"/>
            <a:r>
              <a:rPr lang="en-GB"/>
              <a:t>Third level</a:t>
            </a:r>
          </a:p>
          <a:p>
            <a:pPr lvl="3"/>
            <a:r>
              <a:rPr lang="en-GB"/>
              <a:t>Fourth level</a:t>
            </a:r>
          </a:p>
          <a:p>
            <a:pPr lvl="4"/>
            <a:r>
              <a:rPr lang="en-GB"/>
              <a:t>Fifth level</a:t>
            </a:r>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3"/>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pic>
        <p:nvPicPr>
          <p:cNvPr id="3" name="Picture 2">
            <a:extLst>
              <a:ext uri="{FF2B5EF4-FFF2-40B4-BE49-F238E27FC236}">
                <a16:creationId xmlns:a16="http://schemas.microsoft.com/office/drawing/2014/main" xmlns="" id="{0997A2F0-99BD-43E3-9315-E3AFE646B78F}"/>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383426985"/>
      </p:ext>
    </p:extLst>
  </p:cSld>
  <p:clrMapOvr>
    <a:masterClrMapping/>
  </p:clrMapOvr>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GB" noProof="1"/>
              <a:t>Click to browse for an own image or </a:t>
            </a:r>
            <a:br>
              <a:rPr lang="en-GB" noProof="1"/>
            </a:br>
            <a:r>
              <a:rPr lang="en-GB" noProof="1"/>
              <a:t>select one from the Swiss Re menu.</a:t>
            </a:r>
            <a:br>
              <a:rPr lang="en-GB" noProof="1"/>
            </a:br>
            <a:r>
              <a:rPr lang="en-GB" noProof="1"/>
              <a:t>Be careful to avoid an image that clashes</a:t>
            </a:r>
            <a:br>
              <a:rPr lang="en-GB" noProof="1"/>
            </a:br>
            <a:r>
              <a:rPr lang="en-GB"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pic>
        <p:nvPicPr>
          <p:cNvPr id="3" name="Picture 2">
            <a:extLst>
              <a:ext uri="{FF2B5EF4-FFF2-40B4-BE49-F238E27FC236}">
                <a16:creationId xmlns:a16="http://schemas.microsoft.com/office/drawing/2014/main" xmlns="" id="{7BE1AE3D-0970-489A-8CCA-CF501B43C922}"/>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875768936"/>
      </p:ext>
    </p:extLst>
  </p:cSld>
  <p:clrMapOvr>
    <a:masterClrMapping/>
  </p:clrMapOvr>
  <p:hf hdr="0" ftr="0" dt="0"/>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pic>
        <p:nvPicPr>
          <p:cNvPr id="3" name="Picture 2">
            <a:extLst>
              <a:ext uri="{FF2B5EF4-FFF2-40B4-BE49-F238E27FC236}">
                <a16:creationId xmlns:a16="http://schemas.microsoft.com/office/drawing/2014/main" xmlns="" id="{2470F6E9-9796-4110-8829-BD9DE6321D4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74991392"/>
      </p:ext>
    </p:extLst>
  </p:cSld>
  <p:clrMapOvr>
    <a:masterClrMapping/>
  </p:clrMapOvr>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en-GB"/>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1100B3D8-F5A5-493C-870E-3FF725C74F1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077322229"/>
      </p:ext>
    </p:extLst>
  </p:cSld>
  <p:clrMapOvr>
    <a:masterClrMapping/>
  </p:clrMapOvr>
  <p:hf hdr="0" ftr="0" dt="0"/>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en-GB"/>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en-GB"/>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en-GB"/>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en-GB"/>
              <a:t> </a:t>
            </a:r>
          </a:p>
        </p:txBody>
      </p:sp>
      <p:pic>
        <p:nvPicPr>
          <p:cNvPr id="3" name="Picture 2">
            <a:extLst>
              <a:ext uri="{FF2B5EF4-FFF2-40B4-BE49-F238E27FC236}">
                <a16:creationId xmlns:a16="http://schemas.microsoft.com/office/drawing/2014/main" xmlns="" id="{DCA07296-E0CD-4BC2-8DEC-0CFB3C49797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4108410617"/>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2635133947"/>
      </p:ext>
    </p:extLst>
  </p:cSld>
  <p:clrMapOvr>
    <a:masterClrMapping/>
  </p:clrMapOvr>
  <p:hf hdr="0" ftr="0" dt="0"/>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4" name="Picture 3">
            <a:extLst>
              <a:ext uri="{FF2B5EF4-FFF2-40B4-BE49-F238E27FC236}">
                <a16:creationId xmlns:a16="http://schemas.microsoft.com/office/drawing/2014/main" xmlns="" id="{96E59282-5623-4A55-AFE1-B3D39D74CF0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636670958"/>
      </p:ext>
    </p:extLst>
  </p:cSld>
  <p:clrMapOvr>
    <a:masterClrMapping/>
  </p:clrMapOvr>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GB"/>
              <a:t>Click to edit Master title style</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GB"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en-GB"/>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en-GB"/>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en-GB"/>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en-GB"/>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en-GB"/>
              <a:t> </a:t>
            </a:r>
          </a:p>
        </p:txBody>
      </p:sp>
      <p:pic>
        <p:nvPicPr>
          <p:cNvPr id="5" name="Picture 4">
            <a:extLst>
              <a:ext uri="{FF2B5EF4-FFF2-40B4-BE49-F238E27FC236}">
                <a16:creationId xmlns:a16="http://schemas.microsoft.com/office/drawing/2014/main" xmlns="" id="{748064E4-BBE2-4ACD-B329-285BC0CF934A}"/>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591969519"/>
      </p:ext>
    </p:extLst>
  </p:cSld>
  <p:clrMapOvr>
    <a:masterClrMapping/>
  </p:clrMapOvr>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494026603"/>
      </p:ext>
    </p:extLst>
  </p:cSld>
  <p:clrMapOvr>
    <a:masterClrMapping/>
  </p:clrMapOvr>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927103" y="673086"/>
            <a:ext cx="10655299" cy="692647"/>
          </a:xfrm>
        </p:spPr>
        <p:txBody>
          <a:bodyPr/>
          <a:lstStyle/>
          <a:p>
            <a:r>
              <a:rPr lang="en-GB"/>
              <a:t>Click to edit Master title style</a:t>
            </a:r>
          </a:p>
        </p:txBody>
      </p:sp>
      <p:sp>
        <p:nvSpPr>
          <p:cNvPr id="3" name="Content Placeholder 2"/>
          <p:cNvSpPr>
            <a:spLocks noGrp="1"/>
          </p:cNvSpPr>
          <p:nvPr>
            <p:ph idx="1"/>
          </p:nvPr>
        </p:nvSpPr>
        <p:spPr bwMode="gray">
          <a:xfrm>
            <a:off x="609601" y="1425600"/>
            <a:ext cx="10972800" cy="470001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5" name="Rectangle 4"/>
          <p:cNvSpPr/>
          <p:nvPr userDrawn="1"/>
        </p:nvSpPr>
        <p:spPr>
          <a:xfrm>
            <a:off x="11074400" y="6400801"/>
            <a:ext cx="372218" cy="276999"/>
          </a:xfrm>
          <a:prstGeom prst="rect">
            <a:avLst/>
          </a:prstGeom>
        </p:spPr>
        <p:txBody>
          <a:bodyPr wrap="non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3226450448"/>
      </p:ext>
    </p:extLst>
  </p:cSld>
  <p:clrMapOvr>
    <a:masterClrMapping/>
  </p:clrMapOvr>
  <p:hf hdr="0" ftr="0" dt="0"/>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matchingName="Section Header" userDrawn="1">
  <p:cSld name="Section Header">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6">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pic>
        <p:nvPicPr>
          <p:cNvPr id="6" name="Picture 5"/>
          <p:cNvPicPr>
            <a:picLocks noChangeAspect="1"/>
          </p:cNvPicPr>
          <p:nvPr userDrawn="1">
            <p:custDataLst>
              <p:tags r:id="rId4"/>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89495217"/>
      </p:ext>
    </p:extLst>
  </p:cSld>
  <p:clrMapOvr>
    <a:masterClrMapping/>
  </p:clrMapOvr>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solidFill>
                  <a:schemeClr val="bg1"/>
                </a:solidFill>
              </a:defRPr>
            </a:lvl1pPr>
          </a:lstStyle>
          <a:p>
            <a:r>
              <a:rPr lang="en-GB"/>
              <a:t>Click to edit Master title style</a:t>
            </a:r>
          </a:p>
        </p:txBody>
      </p:sp>
      <p:sp>
        <p:nvSpPr>
          <p:cNvPr id="7" name="Line 10"/>
          <p:cNvSpPr>
            <a:spLocks noChangeShapeType="1"/>
          </p:cNvSpPr>
          <p:nvPr userDrawn="1"/>
        </p:nvSpPr>
        <p:spPr bwMode="gray">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8" name="Line 11"/>
          <p:cNvSpPr>
            <a:spLocks noChangeShapeType="1"/>
          </p:cNvSpPr>
          <p:nvPr userDrawn="1"/>
        </p:nvSpPr>
        <p:spPr bwMode="gray">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12" noProof="0">
              <a:solidFill>
                <a:schemeClr val="bg1"/>
              </a:solidFill>
            </a:endParaRPr>
          </a:p>
        </p:txBody>
      </p:sp>
      <p:sp>
        <p:nvSpPr>
          <p:cNvPr id="3" name="Rectangle 2"/>
          <p:cNvSpPr/>
          <p:nvPr userDrawn="1"/>
        </p:nvSpPr>
        <p:spPr>
          <a:xfrm>
            <a:off x="11074400" y="6428602"/>
            <a:ext cx="372218" cy="276999"/>
          </a:xfrm>
          <a:prstGeom prst="rect">
            <a:avLst/>
          </a:prstGeom>
        </p:spPr>
        <p:txBody>
          <a:bodyPr wrap="none">
            <a:spAutoFit/>
          </a:bodyPr>
          <a:lstStyle/>
          <a:p>
            <a:fld id="{5E4D2043-7E31-4A53-BD33-72A88E682172}" type="slidenum">
              <a:rPr lang="en-GB" sz="1200" smtClean="0"/>
              <a:pPr/>
              <a:t>‹#›</a:t>
            </a:fld>
            <a:endParaRPr lang="en-GB" sz="1200"/>
          </a:p>
        </p:txBody>
      </p:sp>
    </p:spTree>
    <p:extLst>
      <p:ext uri="{BB962C8B-B14F-4D97-AF65-F5344CB8AC3E}">
        <p14:creationId xmlns:p14="http://schemas.microsoft.com/office/powerpoint/2010/main" val="1684314738"/>
      </p:ext>
    </p:extLst>
  </p:cSld>
  <p:clrMapOvr>
    <a:masterClrMapping/>
  </p:clrMapOvr>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075E7EE5-E34A-4AEC-92A8-CAFBC898BD48}"/>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021424224"/>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4" name="Gradient">
            <a:extLst>
              <a:ext uri="{FF2B5EF4-FFF2-40B4-BE49-F238E27FC236}">
                <a16:creationId xmlns:a16="http://schemas.microsoft.com/office/drawing/2014/main" xmlns="" id="{99C2B0CA-DCC3-40A9-9300-09EFCA6635C3}"/>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FBBC7799-97FC-4684-94B7-6CF0963B219C}"/>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82946628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9" name="Gradient">
            <a:extLst>
              <a:ext uri="{FF2B5EF4-FFF2-40B4-BE49-F238E27FC236}">
                <a16:creationId xmlns:a16="http://schemas.microsoft.com/office/drawing/2014/main" xmlns="" id="{6932AA5B-4AD2-4E7B-8A30-F85550474D09}"/>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a:p>
        </p:txBody>
      </p:sp>
      <p:sp>
        <p:nvSpPr>
          <p:cNvPr id="3" name="Subtitle 2"/>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3B3D99B4-8961-4F56-AB41-7900222C858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617600164"/>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29CA1F46-09A1-42C3-A2FF-C5ED13850950}"/>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3392353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Image and Three Columns"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de-DE"/>
              <a:t>Bild durch Klicken auf Symbol hinzufügen</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de-DE"/>
              <a:t>Mastertitelformat bearbeiten</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Tree>
    <p:extLst>
      <p:ext uri="{BB962C8B-B14F-4D97-AF65-F5344CB8AC3E}">
        <p14:creationId xmlns:p14="http://schemas.microsoft.com/office/powerpoint/2010/main" val="1835686393"/>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8B5DDD3B-045F-4D3B-8E92-D3FE0AC45E24}"/>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9323DBE5-6786-4E87-A8DF-D76AB0DBCE73}"/>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31347897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DF6B540C-7407-4801-AA47-52B2D6E277C8}"/>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11" name="Classification"/>
          <p:cNvSpPr txBox="1">
            <a:spLocks noChangeArrowheads="1"/>
          </p:cNvSpPr>
          <p:nvPr userDrawn="1">
            <p:custDataLst>
              <p:tags r:id="rId1"/>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7" name="Title 1">
            <a:extLst>
              <a:ext uri="{FF2B5EF4-FFF2-40B4-BE49-F238E27FC236}">
                <a16:creationId xmlns:a16="http://schemas.microsoft.com/office/drawing/2014/main" xmlns="" id="{BE38C6DF-C718-46CD-B3B3-721F806920DB}"/>
              </a:ext>
            </a:extLst>
          </p:cNvPr>
          <p:cNvSpPr>
            <a:spLocks noGrp="1"/>
          </p:cNvSpPr>
          <p:nvPr>
            <p:ph type="ctrTitle"/>
          </p:nvPr>
        </p:nvSpPr>
        <p:spPr bwMode="white">
          <a:xfrm>
            <a:off x="695325" y="1628776"/>
            <a:ext cx="5184651" cy="1296168"/>
          </a:xfrm>
        </p:spPr>
        <p:txBody>
          <a:bodyPr>
            <a:noAutofit/>
          </a:bodyPr>
          <a:lstStyle>
            <a:lvl1pPr algn="l">
              <a:lnSpc>
                <a:spcPct val="80000"/>
              </a:lnSpc>
              <a:defRPr sz="3600">
                <a:solidFill>
                  <a:srgbClr val="FFFFFF"/>
                </a:solidFill>
                <a:latin typeface="SwissReSans Light" pitchFamily="34" charset="0"/>
              </a:defRPr>
            </a:lvl1pPr>
          </a:lstStyle>
          <a:p>
            <a:r>
              <a:rPr lang="en-US" noProof="0"/>
              <a:t>Click to edit Master title style</a:t>
            </a:r>
            <a:endParaRPr lang="en-GB" noProof="0"/>
          </a:p>
        </p:txBody>
      </p:sp>
      <p:sp>
        <p:nvSpPr>
          <p:cNvPr id="10" name="Subtitle 2">
            <a:extLst>
              <a:ext uri="{FF2B5EF4-FFF2-40B4-BE49-F238E27FC236}">
                <a16:creationId xmlns:a16="http://schemas.microsoft.com/office/drawing/2014/main" xmlns="" id="{BA82BB02-D252-4EC6-9468-A370B10E6595}"/>
              </a:ext>
            </a:extLst>
          </p:cNvPr>
          <p:cNvSpPr>
            <a:spLocks noGrp="1"/>
          </p:cNvSpPr>
          <p:nvPr>
            <p:ph type="subTitle" idx="1"/>
          </p:nvPr>
        </p:nvSpPr>
        <p:spPr bwMode="white">
          <a:xfrm>
            <a:off x="695325" y="3284984"/>
            <a:ext cx="5184651"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3" name="Picture 2">
            <a:extLst>
              <a:ext uri="{FF2B5EF4-FFF2-40B4-BE49-F238E27FC236}">
                <a16:creationId xmlns:a16="http://schemas.microsoft.com/office/drawing/2014/main" xmlns="" id="{7D5735D4-A56C-4D75-AB9D-D86741B6786B}"/>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07537008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0" cy="1296168"/>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chemeClr val="bg1"/>
                </a:solidFill>
                <a:latin typeface="SwissReSans Light" pitchFamily="34" charset="0"/>
                <a:ea typeface="+mj-ea"/>
                <a:cs typeface="+mj-cs"/>
              </a:defRPr>
            </a:lvl1pPr>
          </a:lstStyle>
          <a:p>
            <a:r>
              <a:rPr lang="de-DE"/>
              <a:t>Click </a:t>
            </a:r>
            <a:r>
              <a:rPr lang="de-DE" err="1"/>
              <a:t>to</a:t>
            </a:r>
            <a:r>
              <a:rPr lang="de-DE"/>
              <a:t> </a:t>
            </a:r>
            <a:r>
              <a:rPr lang="de-DE" err="1"/>
              <a:t>add</a:t>
            </a:r>
            <a:r>
              <a:rPr lang="de-DE"/>
              <a:t> </a:t>
            </a:r>
            <a:r>
              <a:rPr lang="de-DE" err="1"/>
              <a:t>section</a:t>
            </a:r>
            <a:r>
              <a:rPr lang="de-DE"/>
              <a:t> title</a:t>
            </a:r>
            <a:endParaRPr lang="en-GB"/>
          </a:p>
        </p:txBody>
      </p:sp>
      <p:sp>
        <p:nvSpPr>
          <p:cNvPr id="10" name="Text Placeholder 9"/>
          <p:cNvSpPr>
            <a:spLocks noGrp="1"/>
          </p:cNvSpPr>
          <p:nvPr>
            <p:ph type="body" sz="quarter" idx="12"/>
          </p:nvPr>
        </p:nvSpPr>
        <p:spPr>
          <a:xfrm>
            <a:off x="695325" y="2996952"/>
            <a:ext cx="11017250"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6EF3140E-FE08-4532-A70B-5171260E4334}"/>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60775639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D90B8210-C95D-4CA8-8B98-A4E98205C114}"/>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76787343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p:bgPr>
        <a:solidFill>
          <a:srgbClr val="D1DCD6"/>
        </a:solidFill>
        <a:effectLst/>
      </p:bgPr>
    </p:bg>
    <p:spTree>
      <p:nvGrpSpPr>
        <p:cNvPr id="1" name=""/>
        <p:cNvGrpSpPr/>
        <p:nvPr/>
      </p:nvGrpSpPr>
      <p:grpSpPr>
        <a:xfrm>
          <a:off x="0" y="0"/>
          <a:ext cx="0" cy="0"/>
          <a:chOff x="0" y="0"/>
          <a:chExt cx="0" cy="0"/>
        </a:xfrm>
      </p:grpSpPr>
      <p:sp>
        <p:nvSpPr>
          <p:cNvPr id="12" name="Gradient">
            <a:extLst>
              <a:ext uri="{FF2B5EF4-FFF2-40B4-BE49-F238E27FC236}">
                <a16:creationId xmlns:a16="http://schemas.microsoft.com/office/drawing/2014/main" xmlns="" id="{2AD77173-72CE-4F00-9F97-0D8F1104BFBF}"/>
              </a:ext>
            </a:extLst>
          </p:cNvPr>
          <p:cNvSpPr/>
          <p:nvPr userDrawn="1">
            <p:custDataLst>
              <p:tags r:id="rId1"/>
            </p:custDataLst>
          </p:nvPr>
        </p:nvSpPr>
        <p:spPr bwMode="gray">
          <a:xfrm>
            <a:off x="0" y="-1"/>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6096000" y="0"/>
            <a:ext cx="6096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0" name="Text Placeholder 9"/>
          <p:cNvSpPr>
            <a:spLocks noGrp="1"/>
          </p:cNvSpPr>
          <p:nvPr>
            <p:ph type="body" sz="quarter" idx="12" hasCustomPrompt="1"/>
          </p:nvPr>
        </p:nvSpPr>
        <p:spPr>
          <a:xfrm>
            <a:off x="543700"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A8A40D7B-5F3F-4199-BC83-3326B96A971B}"/>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9404232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p:bgPr>
        <a:solidFill>
          <a:srgbClr val="D1DCD6"/>
        </a:solidFill>
        <a:effectLst/>
      </p:bgPr>
    </p:bg>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xmlns="" id="{C75E534B-00AB-495E-BB30-50E8FE003185}"/>
              </a:ext>
            </a:extLst>
          </p:cNvPr>
          <p:cNvSpPr>
            <a:spLocks noGrp="1"/>
          </p:cNvSpPr>
          <p:nvPr>
            <p:ph type="pic" sz="quarter" idx="16"/>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0" name="Text Placeholder 9"/>
          <p:cNvSpPr>
            <a:spLocks noGrp="1"/>
          </p:cNvSpPr>
          <p:nvPr>
            <p:ph type="body" sz="quarter" idx="12" hasCustomPrompt="1"/>
          </p:nvPr>
        </p:nvSpPr>
        <p:spPr>
          <a:xfrm>
            <a:off x="543699" y="2829884"/>
            <a:ext cx="4472180" cy="3847207"/>
          </a:xfrm>
        </p:spPr>
        <p:txBody>
          <a:bodyPr wrap="none" anchor="t">
            <a:noAutofit/>
          </a:bodyPr>
          <a:lstStyle>
            <a:lvl1pPr marL="0" indent="0">
              <a:spcBef>
                <a:spcPts val="0"/>
              </a:spcBef>
              <a:buFontTx/>
              <a:buNone/>
              <a:defRPr sz="2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1"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chemeClr val="bg1"/>
              </a:solidFill>
              <a:latin typeface="SwissReSans" pitchFamily="34" charset="0"/>
            </a:endParaRPr>
          </a:p>
        </p:txBody>
      </p:sp>
      <p:sp>
        <p:nvSpPr>
          <p:cNvPr id="14"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chemeClr val="bg1"/>
              </a:solidFill>
              <a:latin typeface="SwissReSans" pitchFamily="34" charset="0"/>
              <a:ea typeface="+mn-ea"/>
              <a:cs typeface="+mn-cs"/>
            </a:endParaRPr>
          </a:p>
        </p:txBody>
      </p:sp>
      <p:pic>
        <p:nvPicPr>
          <p:cNvPr id="6" name="Picture 5">
            <a:extLst>
              <a:ext uri="{FF2B5EF4-FFF2-40B4-BE49-F238E27FC236}">
                <a16:creationId xmlns:a16="http://schemas.microsoft.com/office/drawing/2014/main" xmlns="" id="{4350F8A8-E81A-4663-9906-979210DFF68D}"/>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17662546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118933543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199638153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67694572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2" name="Rechteck 1">
            <a:extLst>
              <a:ext uri="{FF2B5EF4-FFF2-40B4-BE49-F238E27FC236}">
                <a16:creationId xmlns:a16="http://schemas.microsoft.com/office/drawing/2014/main" xmlns="" id="{4371CFE5-E254-45E2-8EE8-B8B0647FB482}"/>
              </a:ext>
            </a:extLst>
          </p:cNvPr>
          <p:cNvSpPr>
            <a:spLocks/>
          </p:cNvSpPr>
          <p:nvPr userDrawn="1"/>
        </p:nvSpPr>
        <p:spPr>
          <a:xfrm>
            <a:off x="695325" y="1628776"/>
            <a:ext cx="1101725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1" name="Inhaltsplatzhalter 10">
            <a:extLst>
              <a:ext uri="{FF2B5EF4-FFF2-40B4-BE49-F238E27FC236}">
                <a16:creationId xmlns:a16="http://schemas.microsoft.com/office/drawing/2014/main" xmlns="" id="{8E22A2CB-E5EA-492E-BA25-010E3DC42380}"/>
              </a:ext>
            </a:extLst>
          </p:cNvPr>
          <p:cNvSpPr>
            <a:spLocks noGrp="1"/>
          </p:cNvSpPr>
          <p:nvPr>
            <p:ph sz="quarter" idx="14" hasCustomPrompt="1"/>
          </p:nvPr>
        </p:nvSpPr>
        <p:spPr>
          <a:xfrm>
            <a:off x="911325" y="1844776"/>
            <a:ext cx="10585250" cy="396051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9717680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a:t>Click icon to add picture</a:t>
            </a:r>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pic>
        <p:nvPicPr>
          <p:cNvPr id="5" name="Picture 4"/>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06940571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3" name="Rechteck 12">
            <a:extLst>
              <a:ext uri="{FF2B5EF4-FFF2-40B4-BE49-F238E27FC236}">
                <a16:creationId xmlns:a16="http://schemas.microsoft.com/office/drawing/2014/main" xmlns="" id="{8C6D9310-7D7A-4705-8F6D-76026634E268}"/>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7" name="Inhaltsplatzhalter 10">
            <a:extLst>
              <a:ext uri="{FF2B5EF4-FFF2-40B4-BE49-F238E27FC236}">
                <a16:creationId xmlns:a16="http://schemas.microsoft.com/office/drawing/2014/main" xmlns="" id="{BB93DE48-A2D8-4E01-9CE2-73C4673CE148}"/>
              </a:ext>
            </a:extLst>
          </p:cNvPr>
          <p:cNvSpPr>
            <a:spLocks noGrp="1"/>
          </p:cNvSpPr>
          <p:nvPr>
            <p:ph sz="quarter" idx="14"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265528266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Rechteck 11">
            <a:extLst>
              <a:ext uri="{FF2B5EF4-FFF2-40B4-BE49-F238E27FC236}">
                <a16:creationId xmlns:a16="http://schemas.microsoft.com/office/drawing/2014/main" xmlns="" id="{79FD7F02-84E1-4EEF-98D3-A1F90F73C7DA}"/>
              </a:ext>
            </a:extLst>
          </p:cNvPr>
          <p:cNvSpPr>
            <a:spLocks/>
          </p:cNvSpPr>
          <p:nvPr userDrawn="1"/>
        </p:nvSpPr>
        <p:spPr>
          <a:xfrm>
            <a:off x="6384032" y="1628776"/>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4" name="Rechteck 13">
            <a:extLst>
              <a:ext uri="{FF2B5EF4-FFF2-40B4-BE49-F238E27FC236}">
                <a16:creationId xmlns:a16="http://schemas.microsoft.com/office/drawing/2014/main" xmlns="" id="{BCA2051E-BF61-4984-9813-FA16F8A034D5}"/>
              </a:ext>
            </a:extLst>
          </p:cNvPr>
          <p:cNvSpPr>
            <a:spLocks/>
          </p:cNvSpPr>
          <p:nvPr userDrawn="1"/>
        </p:nvSpPr>
        <p:spPr>
          <a:xfrm>
            <a:off x="695326" y="1628774"/>
            <a:ext cx="5328000" cy="4392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6" name="Inhaltsplatzhalter 10">
            <a:extLst>
              <a:ext uri="{FF2B5EF4-FFF2-40B4-BE49-F238E27FC236}">
                <a16:creationId xmlns:a16="http://schemas.microsoft.com/office/drawing/2014/main" xmlns="" id="{EFF197C1-B1BD-4ED0-9A27-8A30DDD2769E}"/>
              </a:ext>
            </a:extLst>
          </p:cNvPr>
          <p:cNvSpPr>
            <a:spLocks noGrp="1"/>
          </p:cNvSpPr>
          <p:nvPr>
            <p:ph sz="quarter" idx="14" hasCustomPrompt="1"/>
          </p:nvPr>
        </p:nvSpPr>
        <p:spPr>
          <a:xfrm>
            <a:off x="923070" y="1844774"/>
            <a:ext cx="4884899" cy="395427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
        <p:nvSpPr>
          <p:cNvPr id="17" name="Inhaltsplatzhalter 10">
            <a:extLst>
              <a:ext uri="{FF2B5EF4-FFF2-40B4-BE49-F238E27FC236}">
                <a16:creationId xmlns:a16="http://schemas.microsoft.com/office/drawing/2014/main" xmlns="" id="{614D5FDE-84B4-4E6E-BB03-9C8BA201D998}"/>
              </a:ext>
            </a:extLst>
          </p:cNvPr>
          <p:cNvSpPr>
            <a:spLocks noGrp="1"/>
          </p:cNvSpPr>
          <p:nvPr>
            <p:ph sz="quarter" idx="15" hasCustomPrompt="1"/>
          </p:nvPr>
        </p:nvSpPr>
        <p:spPr>
          <a:xfrm>
            <a:off x="6600032" y="1844774"/>
            <a:ext cx="4896000" cy="3960002"/>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370339413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695325" y="692151"/>
            <a:ext cx="11017250"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5" name="Text Placeholder 4">
            <a:extLst>
              <a:ext uri="{FF2B5EF4-FFF2-40B4-BE49-F238E27FC236}">
                <a16:creationId xmlns:a16="http://schemas.microsoft.com/office/drawing/2014/main" xmlns="" id="{2F0D4244-74E1-4F31-926F-FC9A8ADAD28D}"/>
              </a:ext>
            </a:extLst>
          </p:cNvPr>
          <p:cNvSpPr>
            <a:spLocks noGrp="1"/>
          </p:cNvSpPr>
          <p:nvPr>
            <p:ph type="body" sz="quarter" idx="15" hasCustomPrompt="1"/>
          </p:nvPr>
        </p:nvSpPr>
        <p:spPr>
          <a:xfrm>
            <a:off x="704850" y="5409209"/>
            <a:ext cx="11007725"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Add conclusion here</a:t>
            </a:r>
          </a:p>
        </p:txBody>
      </p:sp>
      <p:sp>
        <p:nvSpPr>
          <p:cNvPr id="7" name="Picture Placeholder 6">
            <a:extLst>
              <a:ext uri="{FF2B5EF4-FFF2-40B4-BE49-F238E27FC236}">
                <a16:creationId xmlns:a16="http://schemas.microsoft.com/office/drawing/2014/main" xmlns="" id="{91AB0222-82AA-4B01-A991-510DEF31453D}"/>
              </a:ext>
            </a:extLst>
          </p:cNvPr>
          <p:cNvSpPr>
            <a:spLocks noGrp="1"/>
          </p:cNvSpPr>
          <p:nvPr>
            <p:ph type="pic" sz="quarter" idx="16"/>
          </p:nvPr>
        </p:nvSpPr>
        <p:spPr>
          <a:xfrm>
            <a:off x="9098974" y="1628774"/>
            <a:ext cx="2613600" cy="3641316"/>
          </a:xfrm>
        </p:spPr>
        <p:txBody>
          <a:bodyPr/>
          <a:lstStyle>
            <a:lvl1pPr marL="0" indent="0" algn="ctr">
              <a:spcBef>
                <a:spcPts val="0"/>
              </a:spcBef>
              <a:buNone/>
              <a:defRPr/>
            </a:lvl1pPr>
          </a:lstStyle>
          <a:p>
            <a:r>
              <a:rPr lang="en-US"/>
              <a:t>Click icon to add picture</a:t>
            </a:r>
          </a:p>
        </p:txBody>
      </p:sp>
      <p:sp>
        <p:nvSpPr>
          <p:cNvPr id="15" name="Text Placeholder 4">
            <a:extLst>
              <a:ext uri="{FF2B5EF4-FFF2-40B4-BE49-F238E27FC236}">
                <a16:creationId xmlns:a16="http://schemas.microsoft.com/office/drawing/2014/main" xmlns="" id="{68D4FCF9-EAC0-40E2-B779-76FB9440FC14}"/>
              </a:ext>
            </a:extLst>
          </p:cNvPr>
          <p:cNvSpPr>
            <a:spLocks noGrp="1"/>
          </p:cNvSpPr>
          <p:nvPr>
            <p:ph type="body" sz="quarter" idx="17"/>
          </p:nvPr>
        </p:nvSpPr>
        <p:spPr>
          <a:xfrm>
            <a:off x="695326"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6" name="Text Placeholder 4">
            <a:extLst>
              <a:ext uri="{FF2B5EF4-FFF2-40B4-BE49-F238E27FC236}">
                <a16:creationId xmlns:a16="http://schemas.microsoft.com/office/drawing/2014/main" xmlns="" id="{61BA5B7C-8DA8-4946-8A4A-49A13E3FC00B}"/>
              </a:ext>
            </a:extLst>
          </p:cNvPr>
          <p:cNvSpPr>
            <a:spLocks noGrp="1"/>
          </p:cNvSpPr>
          <p:nvPr>
            <p:ph type="body" sz="quarter" idx="18"/>
          </p:nvPr>
        </p:nvSpPr>
        <p:spPr>
          <a:xfrm>
            <a:off x="3496542"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7" name="Text Placeholder 4">
            <a:extLst>
              <a:ext uri="{FF2B5EF4-FFF2-40B4-BE49-F238E27FC236}">
                <a16:creationId xmlns:a16="http://schemas.microsoft.com/office/drawing/2014/main" xmlns="" id="{CA9347D2-246D-4A68-A626-7F07D6B55066}"/>
              </a:ext>
            </a:extLst>
          </p:cNvPr>
          <p:cNvSpPr>
            <a:spLocks noGrp="1"/>
          </p:cNvSpPr>
          <p:nvPr>
            <p:ph type="body" sz="quarter" idx="19"/>
          </p:nvPr>
        </p:nvSpPr>
        <p:spPr>
          <a:xfrm>
            <a:off x="6297758" y="2564904"/>
            <a:ext cx="2613600" cy="2705186"/>
          </a:xfrm>
          <a:solidFill>
            <a:schemeClr val="accent4">
              <a:lumMod val="20000"/>
              <a:lumOff val="80000"/>
            </a:schemeClr>
          </a:solidFill>
        </p:spPr>
        <p:txBody>
          <a:bodyPr lIns="108000" tIns="576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8" name="Text Placeholder 4">
            <a:extLst>
              <a:ext uri="{FF2B5EF4-FFF2-40B4-BE49-F238E27FC236}">
                <a16:creationId xmlns:a16="http://schemas.microsoft.com/office/drawing/2014/main" xmlns="" id="{C7C373BE-49B0-4763-B7A1-CBAEDE2CF2E6}"/>
              </a:ext>
            </a:extLst>
          </p:cNvPr>
          <p:cNvSpPr>
            <a:spLocks noGrp="1"/>
          </p:cNvSpPr>
          <p:nvPr>
            <p:ph type="body" sz="quarter" idx="20"/>
          </p:nvPr>
        </p:nvSpPr>
        <p:spPr>
          <a:xfrm>
            <a:off x="695326"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9" name="Text Placeholder 4">
            <a:extLst>
              <a:ext uri="{FF2B5EF4-FFF2-40B4-BE49-F238E27FC236}">
                <a16:creationId xmlns:a16="http://schemas.microsoft.com/office/drawing/2014/main" xmlns="" id="{8A5E670B-AB2B-47F5-9DCA-FE8A9C9EEC73}"/>
              </a:ext>
            </a:extLst>
          </p:cNvPr>
          <p:cNvSpPr>
            <a:spLocks noGrp="1"/>
          </p:cNvSpPr>
          <p:nvPr>
            <p:ph type="body" sz="quarter" idx="21"/>
          </p:nvPr>
        </p:nvSpPr>
        <p:spPr>
          <a:xfrm>
            <a:off x="349766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20" name="Text Placeholder 4">
            <a:extLst>
              <a:ext uri="{FF2B5EF4-FFF2-40B4-BE49-F238E27FC236}">
                <a16:creationId xmlns:a16="http://schemas.microsoft.com/office/drawing/2014/main" xmlns="" id="{7384C407-AF5F-4536-BFF8-BD0CCAF9ABA9}"/>
              </a:ext>
            </a:extLst>
          </p:cNvPr>
          <p:cNvSpPr>
            <a:spLocks noGrp="1"/>
          </p:cNvSpPr>
          <p:nvPr>
            <p:ph type="body" sz="quarter" idx="22"/>
          </p:nvPr>
        </p:nvSpPr>
        <p:spPr>
          <a:xfrm>
            <a:off x="6296640" y="1628775"/>
            <a:ext cx="2613600" cy="1296169"/>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Tree>
    <p:extLst>
      <p:ext uri="{BB962C8B-B14F-4D97-AF65-F5344CB8AC3E}">
        <p14:creationId xmlns:p14="http://schemas.microsoft.com/office/powerpoint/2010/main" val="55170544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243754034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BB2036E4-52F4-4535-BF33-213C984AAFF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54567706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xmlns="" id="{D7909D1B-780F-487D-8A19-0628603C575F}"/>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5CD5170F-3C12-46E9-9EEA-890D1003D773}"/>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373574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165944"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p:nvPr>
        </p:nvSpPr>
        <p:spPr>
          <a:xfrm>
            <a:off x="695325" y="1628775"/>
            <a:ext cx="6480795" cy="3528417"/>
          </a:xfrm>
        </p:spPr>
        <p:txBody>
          <a:bodyPr anchor="ctr"/>
          <a:lstStyle>
            <a:lvl1pPr marL="0" indent="0">
              <a:spcBef>
                <a:spcPts val="0"/>
              </a:spcBef>
              <a:buFontTx/>
              <a:buNone/>
              <a:defRPr sz="50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4" name="Picture 3">
            <a:extLst>
              <a:ext uri="{FF2B5EF4-FFF2-40B4-BE49-F238E27FC236}">
                <a16:creationId xmlns:a16="http://schemas.microsoft.com/office/drawing/2014/main" xmlns="" id="{4659163C-2D18-429C-9FAE-EA527785B546}"/>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80143635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10235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12" name="Picture Placeholder 7"/>
          <p:cNvSpPr>
            <a:spLocks noGrp="1"/>
          </p:cNvSpPr>
          <p:nvPr>
            <p:ph type="pic" sz="quarter" idx="13" hasCustomPrompt="1"/>
          </p:nvPr>
        </p:nvSpPr>
        <p:spPr bwMode="gray">
          <a:xfrm>
            <a:off x="6102350" y="0"/>
            <a:ext cx="608965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pic>
        <p:nvPicPr>
          <p:cNvPr id="3" name="Picture 2">
            <a:extLst>
              <a:ext uri="{FF2B5EF4-FFF2-40B4-BE49-F238E27FC236}">
                <a16:creationId xmlns:a16="http://schemas.microsoft.com/office/drawing/2014/main" xmlns="" id="{77601B23-D210-4793-9366-6BA07894AD6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9544560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12192000" cy="6858000"/>
          </a:xfrm>
        </p:spPr>
        <p:txBody>
          <a:bodyPr tIns="576000" anchor="ctr"/>
          <a:lstStyle>
            <a:lvl1pPr marL="0" indent="0" algn="ctr">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0" name="Classification"/>
          <p:cNvSpPr txBox="1">
            <a:spLocks noChangeArrowheads="1"/>
          </p:cNvSpPr>
          <p:nvPr userDrawn="1">
            <p:custDataLst>
              <p:tags r:id="rId2"/>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12" name="Foote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pic>
        <p:nvPicPr>
          <p:cNvPr id="4" name="Picture 3">
            <a:extLst>
              <a:ext uri="{FF2B5EF4-FFF2-40B4-BE49-F238E27FC236}">
                <a16:creationId xmlns:a16="http://schemas.microsoft.com/office/drawing/2014/main" xmlns="" id="{69F39F06-B28F-4C13-AB60-798361725CA0}"/>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99082382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25288457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p:cNvSpPr>
            <a:spLocks noGrp="1"/>
          </p:cNvSpPr>
          <p:nvPr>
            <p:ph type="title"/>
          </p:nvPr>
        </p:nvSpPr>
        <p:spPr/>
        <p:txBody>
          <a:bodyPr/>
          <a:lstStyle/>
          <a:p>
            <a:r>
              <a:rPr lang="en-GB"/>
              <a:t>Click to edit Master title style</a:t>
            </a:r>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1608643172"/>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34962674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A1C37E59-4DA2-4550-BDD9-2ED41E064812}"/>
              </a:ext>
            </a:extLst>
          </p:cNvPr>
          <p:cNvSpPr/>
          <p:nvPr userDrawn="1"/>
        </p:nvSpPr>
        <p:spPr bwMode="gray">
          <a:xfrm>
            <a:off x="609600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695325" y="692151"/>
            <a:ext cx="4920621"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Tree>
    <p:extLst>
      <p:ext uri="{BB962C8B-B14F-4D97-AF65-F5344CB8AC3E}">
        <p14:creationId xmlns:p14="http://schemas.microsoft.com/office/powerpoint/2010/main" val="199814701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0" y="0"/>
            <a:ext cx="12192000" cy="6858000"/>
          </a:xfrm>
        </p:spPr>
        <p:txBody>
          <a:bodyPr lIns="0" tIns="576000" anchor="ctr"/>
          <a:lstStyle>
            <a:lvl1pPr algn="ctr">
              <a:buFontTx/>
              <a:buNone/>
              <a:defRPr sz="1200">
                <a:solidFill>
                  <a:srgbClr val="A8BAB2"/>
                </a:solidFill>
                <a:latin typeface="SwissReSans" pitchFamily="34" charset="0"/>
              </a:defRPr>
            </a:lvl1pPr>
          </a:lstStyle>
          <a:p>
            <a:r>
              <a:rPr lang="en-US" noProof="1"/>
              <a:t>Click icon to add picture</a:t>
            </a:r>
          </a:p>
        </p:txBody>
      </p:sp>
      <p:sp>
        <p:nvSpPr>
          <p:cNvPr id="8" name="Title 7"/>
          <p:cNvSpPr>
            <a:spLocks noGrp="1"/>
          </p:cNvSpPr>
          <p:nvPr>
            <p:ph type="title"/>
          </p:nvPr>
        </p:nvSpPr>
        <p:spPr>
          <a:xfrm>
            <a:off x="695325" y="1628773"/>
            <a:ext cx="4920623" cy="4392614"/>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372996715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331205342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en-US"/>
              <a:t>Click to edit Master title style</a:t>
            </a:r>
            <a:endParaRPr lang="de-DE"/>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3"/>
            <a:ext cx="3096000" cy="276999"/>
          </a:xfrm>
        </p:spPr>
        <p:txBody>
          <a:bodyPr>
            <a:noAutofit/>
          </a:bodyPr>
          <a:lstStyle>
            <a:lvl1pPr marL="0" indent="0">
              <a:spcBef>
                <a:spcPts val="0"/>
              </a:spcBef>
              <a:buNone/>
              <a:defRPr sz="18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1221981648"/>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5" name="Textplatzhalter 4"/>
          <p:cNvSpPr>
            <a:spLocks noGrp="1"/>
          </p:cNvSpPr>
          <p:nvPr>
            <p:ph type="body" sz="quarter" idx="13"/>
          </p:nvPr>
        </p:nvSpPr>
        <p:spPr bwMode="gray">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mn-lt"/>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4140248300"/>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400">
                <a:solidFill>
                  <a:schemeClr val="bg1"/>
                </a:solidFill>
                <a:latin typeface="+mn-lt"/>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92481660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showMasterSp="0" matchingName="Image with Circle" preserve="1" userDrawn="1">
  <p:cSld name="Image with Circle">
    <p:bg>
      <p:bgPr>
        <a:solidFill>
          <a:srgbClr val="D1DCD6"/>
        </a:soli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rIns="504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7014012" y="1196752"/>
            <a:ext cx="4464496" cy="4464496"/>
          </a:xfrm>
          <a:prstGeom prst="ellipse">
            <a:avLst/>
          </a:prstGeom>
          <a:gradFill>
            <a:gsLst>
              <a:gs pos="0">
                <a:schemeClr val="tx2"/>
              </a:gs>
              <a:gs pos="100000">
                <a:schemeClr val="bg2"/>
              </a:gs>
            </a:gsLst>
            <a:lin ang="0" scaled="1"/>
          </a:gradFill>
        </p:spPr>
        <p:txBody>
          <a:bodyPr anchor="ctr"/>
          <a:lstStyle>
            <a:lvl1pPr marL="0" indent="0" algn="ctr">
              <a:spcBef>
                <a:spcPts val="0"/>
              </a:spcBef>
              <a:buFontTx/>
              <a:buNone/>
              <a:defRPr sz="3200">
                <a:solidFill>
                  <a:schemeClr val="bg1"/>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3" name="Picture 2">
            <a:extLst>
              <a:ext uri="{FF2B5EF4-FFF2-40B4-BE49-F238E27FC236}">
                <a16:creationId xmlns:a16="http://schemas.microsoft.com/office/drawing/2014/main" xmlns="" id="{50E7E8AA-F1F4-4D67-92AF-A05B5F2B7936}"/>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600906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matchingName="Image and three Circles" preserve="1" userDrawn="1">
  <p:cSld name="Image and three Circles">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4" name="Picture Placeholder 7">
            <a:extLst>
              <a:ext uri="{FF2B5EF4-FFF2-40B4-BE49-F238E27FC236}">
                <a16:creationId xmlns:a16="http://schemas.microsoft.com/office/drawing/2014/main" xmlns="" id="{16F7AA4C-CEA0-4838-9DF9-2F5534114B93}"/>
              </a:ext>
            </a:extLst>
          </p:cNvPr>
          <p:cNvSpPr>
            <a:spLocks noGrp="1"/>
          </p:cNvSpPr>
          <p:nvPr>
            <p:ph type="pic" sz="quarter" idx="13"/>
          </p:nvPr>
        </p:nvSpPr>
        <p:spPr bwMode="gray">
          <a:xfrm>
            <a:off x="0" y="0"/>
            <a:ext cx="12192000" cy="6858000"/>
          </a:xfrm>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de-DE" smtClean="0"/>
              <a:pPr/>
              <a:t>‹#›</a:t>
            </a:fld>
            <a:endParaRPr lang="de-DE"/>
          </a:p>
        </p:txBody>
      </p:sp>
      <p:sp>
        <p:nvSpPr>
          <p:cNvPr id="9" name="Footer">
            <a:extLst>
              <a:ext uri="{FF2B5EF4-FFF2-40B4-BE49-F238E27FC236}">
                <a16:creationId xmlns:a16="http://schemas.microsoft.com/office/drawing/2014/main" xmlns="" id="{95A25EDE-8428-429E-BE07-354A88A6623D}"/>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Textplatzhalter 4">
            <a:extLst>
              <a:ext uri="{FF2B5EF4-FFF2-40B4-BE49-F238E27FC236}">
                <a16:creationId xmlns:a16="http://schemas.microsoft.com/office/drawing/2014/main" xmlns="" id="{D44F4213-4BCA-49E4-9D32-D0795C52F89E}"/>
              </a:ext>
            </a:extLst>
          </p:cNvPr>
          <p:cNvSpPr>
            <a:spLocks noGrp="1"/>
          </p:cNvSpPr>
          <p:nvPr>
            <p:ph type="body" sz="quarter" idx="14"/>
          </p:nvPr>
        </p:nvSpPr>
        <p:spPr bwMode="gray">
          <a:xfrm>
            <a:off x="8821770"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1" name="Textplatzhalter 4">
            <a:extLst>
              <a:ext uri="{FF2B5EF4-FFF2-40B4-BE49-F238E27FC236}">
                <a16:creationId xmlns:a16="http://schemas.microsoft.com/office/drawing/2014/main" xmlns="" id="{FD457D57-2215-4E9E-91C3-6ECBC71608E5}"/>
              </a:ext>
            </a:extLst>
          </p:cNvPr>
          <p:cNvSpPr>
            <a:spLocks noGrp="1"/>
          </p:cNvSpPr>
          <p:nvPr>
            <p:ph type="body" sz="quarter" idx="15"/>
          </p:nvPr>
        </p:nvSpPr>
        <p:spPr bwMode="gray">
          <a:xfrm>
            <a:off x="695325"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2" name="Textplatzhalter 4">
            <a:extLst>
              <a:ext uri="{FF2B5EF4-FFF2-40B4-BE49-F238E27FC236}">
                <a16:creationId xmlns:a16="http://schemas.microsoft.com/office/drawing/2014/main" xmlns="" id="{84E76D4D-0C41-4EBF-BD66-5C132AC9B3D8}"/>
              </a:ext>
            </a:extLst>
          </p:cNvPr>
          <p:cNvSpPr>
            <a:spLocks noGrp="1"/>
          </p:cNvSpPr>
          <p:nvPr>
            <p:ph type="body" sz="quarter" idx="16"/>
          </p:nvPr>
        </p:nvSpPr>
        <p:spPr bwMode="gray">
          <a:xfrm>
            <a:off x="4758548" y="1988644"/>
            <a:ext cx="2880000" cy="2880000"/>
          </a:xfrm>
          <a:prstGeom prst="ellipse">
            <a:avLst/>
          </a:prstGeom>
          <a:solidFill>
            <a:schemeClr val="bg1"/>
          </a:solidFill>
        </p:spPr>
        <p:txBody>
          <a:bodyPr anchor="ctr"/>
          <a:lstStyle>
            <a:lvl1pPr marL="0" indent="0" algn="ctr">
              <a:spcBef>
                <a:spcPts val="0"/>
              </a:spcBef>
              <a:buFontTx/>
              <a:buNone/>
              <a:defRPr sz="2400">
                <a:solidFill>
                  <a:schemeClr val="tx2"/>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pic>
        <p:nvPicPr>
          <p:cNvPr id="4" name="Picture 3">
            <a:extLst>
              <a:ext uri="{FF2B5EF4-FFF2-40B4-BE49-F238E27FC236}">
                <a16:creationId xmlns:a16="http://schemas.microsoft.com/office/drawing/2014/main" xmlns="" id="{3F3CFDA5-F233-49BD-9A3D-5EB2351FA298}"/>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5384895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a:t>Enter team name her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Picture Placeholder 3">
            <a:extLst>
              <a:ext uri="{FF2B5EF4-FFF2-40B4-BE49-F238E27FC236}">
                <a16:creationId xmlns:a16="http://schemas.microsoft.com/office/drawing/2014/main" xmlns="" id="{456FDD83-9066-405C-9C9B-C6012C35E7C1}"/>
              </a:ext>
            </a:extLst>
          </p:cNvPr>
          <p:cNvSpPr>
            <a:spLocks noGrp="1"/>
          </p:cNvSpPr>
          <p:nvPr>
            <p:ph type="pic" sz="quarter" idx="15" hasCustomPrompt="1"/>
          </p:nvPr>
        </p:nvSpPr>
        <p:spPr bwMode="gray">
          <a:xfrm>
            <a:off x="5573419" y="727075"/>
            <a:ext cx="1800000" cy="1800000"/>
          </a:xfrm>
          <a:prstGeom prst="ellipse">
            <a:avLst/>
          </a:prstGeom>
        </p:spPr>
        <p:txBody>
          <a:bodyPr tIns="504000" anchor="ctr" anchorCtr="0"/>
          <a:lstStyle>
            <a:lvl1pPr marL="0" indent="0" algn="ctr">
              <a:buNone/>
              <a:defRPr sz="1400">
                <a:solidFill>
                  <a:srgbClr val="A8BAB2"/>
                </a:solidFill>
              </a:defRPr>
            </a:lvl1pPr>
          </a:lstStyle>
          <a:p>
            <a:r>
              <a:rPr lang="en-US" noProof="0"/>
              <a:t>Add picture</a:t>
            </a:r>
          </a:p>
        </p:txBody>
      </p:sp>
      <p:sp>
        <p:nvSpPr>
          <p:cNvPr id="18" name="Picture Placeholder 3">
            <a:extLst>
              <a:ext uri="{FF2B5EF4-FFF2-40B4-BE49-F238E27FC236}">
                <a16:creationId xmlns:a16="http://schemas.microsoft.com/office/drawing/2014/main" xmlns="" id="{38A06944-C2A7-4F21-A4A5-D22B1CF13B57}"/>
              </a:ext>
            </a:extLst>
          </p:cNvPr>
          <p:cNvSpPr>
            <a:spLocks noGrp="1"/>
          </p:cNvSpPr>
          <p:nvPr>
            <p:ph type="pic" sz="quarter" idx="16" hasCustomPrompt="1"/>
          </p:nvPr>
        </p:nvSpPr>
        <p:spPr bwMode="gray">
          <a:xfrm>
            <a:off x="8882581" y="727075"/>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19" name="Text Placeholder 6">
            <a:extLst>
              <a:ext uri="{FF2B5EF4-FFF2-40B4-BE49-F238E27FC236}">
                <a16:creationId xmlns:a16="http://schemas.microsoft.com/office/drawing/2014/main" xmlns="" id="{9679A695-226D-4550-AC5F-CF13DA1C3EA2}"/>
              </a:ext>
            </a:extLst>
          </p:cNvPr>
          <p:cNvSpPr>
            <a:spLocks noGrp="1"/>
          </p:cNvSpPr>
          <p:nvPr>
            <p:ph type="body" sz="quarter" idx="19" hasCustomPrompt="1"/>
          </p:nvPr>
        </p:nvSpPr>
        <p:spPr>
          <a:xfrm>
            <a:off x="5050638"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0" name="Text Placeholder 6">
            <a:extLst>
              <a:ext uri="{FF2B5EF4-FFF2-40B4-BE49-F238E27FC236}">
                <a16:creationId xmlns:a16="http://schemas.microsoft.com/office/drawing/2014/main" xmlns="" id="{58FFF6C9-8B70-45DC-9C06-54DD5B87AFFB}"/>
              </a:ext>
            </a:extLst>
          </p:cNvPr>
          <p:cNvSpPr>
            <a:spLocks noGrp="1"/>
          </p:cNvSpPr>
          <p:nvPr>
            <p:ph type="body" sz="quarter" idx="20" hasCustomPrompt="1"/>
          </p:nvPr>
        </p:nvSpPr>
        <p:spPr>
          <a:xfrm>
            <a:off x="5050638"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1" name="Text Placeholder 6">
            <a:extLst>
              <a:ext uri="{FF2B5EF4-FFF2-40B4-BE49-F238E27FC236}">
                <a16:creationId xmlns:a16="http://schemas.microsoft.com/office/drawing/2014/main" xmlns="" id="{2F9034A3-A308-4153-AEC9-209C0E14C84B}"/>
              </a:ext>
            </a:extLst>
          </p:cNvPr>
          <p:cNvSpPr>
            <a:spLocks noGrp="1"/>
          </p:cNvSpPr>
          <p:nvPr>
            <p:ph type="body" sz="quarter" idx="21" hasCustomPrompt="1"/>
          </p:nvPr>
        </p:nvSpPr>
        <p:spPr>
          <a:xfrm>
            <a:off x="8361630" y="2641930"/>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2" name="Text Placeholder 6">
            <a:extLst>
              <a:ext uri="{FF2B5EF4-FFF2-40B4-BE49-F238E27FC236}">
                <a16:creationId xmlns:a16="http://schemas.microsoft.com/office/drawing/2014/main" xmlns="" id="{ADD3A46A-9F03-452A-97A6-168C6640720F}"/>
              </a:ext>
            </a:extLst>
          </p:cNvPr>
          <p:cNvSpPr>
            <a:spLocks noGrp="1"/>
          </p:cNvSpPr>
          <p:nvPr>
            <p:ph type="body" sz="quarter" idx="22" hasCustomPrompt="1"/>
          </p:nvPr>
        </p:nvSpPr>
        <p:spPr>
          <a:xfrm>
            <a:off x="8361630" y="2827874"/>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3" name="Picture Placeholder 3">
            <a:extLst>
              <a:ext uri="{FF2B5EF4-FFF2-40B4-BE49-F238E27FC236}">
                <a16:creationId xmlns:a16="http://schemas.microsoft.com/office/drawing/2014/main" xmlns="" id="{578C2B07-87F4-489C-A284-3E5878138E7C}"/>
              </a:ext>
            </a:extLst>
          </p:cNvPr>
          <p:cNvSpPr>
            <a:spLocks noGrp="1"/>
          </p:cNvSpPr>
          <p:nvPr>
            <p:ph type="pic" sz="quarter" idx="23" hasCustomPrompt="1"/>
          </p:nvPr>
        </p:nvSpPr>
        <p:spPr bwMode="gray">
          <a:xfrm>
            <a:off x="5573419"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4" name="Picture Placeholder 3">
            <a:extLst>
              <a:ext uri="{FF2B5EF4-FFF2-40B4-BE49-F238E27FC236}">
                <a16:creationId xmlns:a16="http://schemas.microsoft.com/office/drawing/2014/main" xmlns="" id="{D418C2AA-7D28-483F-81E1-731AA2580309}"/>
              </a:ext>
            </a:extLst>
          </p:cNvPr>
          <p:cNvSpPr>
            <a:spLocks noGrp="1"/>
          </p:cNvSpPr>
          <p:nvPr>
            <p:ph type="pic" sz="quarter" idx="24" hasCustomPrompt="1"/>
          </p:nvPr>
        </p:nvSpPr>
        <p:spPr bwMode="gray">
          <a:xfrm>
            <a:off x="8882581" y="3430871"/>
            <a:ext cx="18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25" name="Text Placeholder 6">
            <a:extLst>
              <a:ext uri="{FF2B5EF4-FFF2-40B4-BE49-F238E27FC236}">
                <a16:creationId xmlns:a16="http://schemas.microsoft.com/office/drawing/2014/main" xmlns="" id="{AFF0E09B-2153-4F77-903B-8AE289C2024D}"/>
              </a:ext>
            </a:extLst>
          </p:cNvPr>
          <p:cNvSpPr>
            <a:spLocks noGrp="1"/>
          </p:cNvSpPr>
          <p:nvPr>
            <p:ph type="body" sz="quarter" idx="25" hasCustomPrompt="1"/>
          </p:nvPr>
        </p:nvSpPr>
        <p:spPr>
          <a:xfrm>
            <a:off x="5050638"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6" name="Text Placeholder 6">
            <a:extLst>
              <a:ext uri="{FF2B5EF4-FFF2-40B4-BE49-F238E27FC236}">
                <a16:creationId xmlns:a16="http://schemas.microsoft.com/office/drawing/2014/main" xmlns="" id="{B6E4CA2D-F663-4612-8211-ABCBF0E3B4F2}"/>
              </a:ext>
            </a:extLst>
          </p:cNvPr>
          <p:cNvSpPr>
            <a:spLocks noGrp="1"/>
          </p:cNvSpPr>
          <p:nvPr>
            <p:ph type="body" sz="quarter" idx="26" hasCustomPrompt="1"/>
          </p:nvPr>
        </p:nvSpPr>
        <p:spPr>
          <a:xfrm>
            <a:off x="5050638"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7" name="Text Placeholder 6">
            <a:extLst>
              <a:ext uri="{FF2B5EF4-FFF2-40B4-BE49-F238E27FC236}">
                <a16:creationId xmlns:a16="http://schemas.microsoft.com/office/drawing/2014/main" xmlns="" id="{4679ECFC-69DE-448E-A790-E6DF1353CC66}"/>
              </a:ext>
            </a:extLst>
          </p:cNvPr>
          <p:cNvSpPr>
            <a:spLocks noGrp="1"/>
          </p:cNvSpPr>
          <p:nvPr>
            <p:ph type="body" sz="quarter" idx="27" hasCustomPrompt="1"/>
          </p:nvPr>
        </p:nvSpPr>
        <p:spPr>
          <a:xfrm>
            <a:off x="8361630" y="5345726"/>
            <a:ext cx="2845562"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28" name="Text Placeholder 6">
            <a:extLst>
              <a:ext uri="{FF2B5EF4-FFF2-40B4-BE49-F238E27FC236}">
                <a16:creationId xmlns:a16="http://schemas.microsoft.com/office/drawing/2014/main" xmlns="" id="{A2E08B10-5430-4825-9E65-D8235CD04078}"/>
              </a:ext>
            </a:extLst>
          </p:cNvPr>
          <p:cNvSpPr>
            <a:spLocks noGrp="1"/>
          </p:cNvSpPr>
          <p:nvPr>
            <p:ph type="body" sz="quarter" idx="28" hasCustomPrompt="1"/>
          </p:nvPr>
        </p:nvSpPr>
        <p:spPr>
          <a:xfrm>
            <a:off x="8361630" y="5531670"/>
            <a:ext cx="2845562"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29" name="Footer">
            <a:extLst>
              <a:ext uri="{FF2B5EF4-FFF2-40B4-BE49-F238E27FC236}">
                <a16:creationId xmlns:a16="http://schemas.microsoft.com/office/drawing/2014/main" xmlns="" id="{0A885EF8-5FBD-475E-BD95-4D0C7488BAE5}"/>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3F1C2E79-465C-46F7-B867-D786BAB1E28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1100518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title"/>
          </p:nvPr>
        </p:nvSpPr>
        <p:spPr bwMode="gray">
          <a:xfrm>
            <a:off x="912285" y="1628775"/>
            <a:ext cx="969621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a:t>Click to edit Master title style</a:t>
            </a:r>
          </a:p>
        </p:txBody>
      </p:sp>
      <p:sp>
        <p:nvSpPr>
          <p:cNvPr id="10" name="Text Placeholder 9"/>
          <p:cNvSpPr>
            <a:spLocks noGrp="1"/>
          </p:cNvSpPr>
          <p:nvPr>
            <p:ph type="body" sz="quarter" idx="12"/>
          </p:nvPr>
        </p:nvSpPr>
        <p:spPr>
          <a:xfrm>
            <a:off x="912285" y="3573016"/>
            <a:ext cx="969621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3"/>
            </p:custDataLst>
          </p:nvPr>
        </p:nvSpPr>
        <p:spPr/>
        <p:txBody>
          <a:body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4"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7" name="Picture 6"/>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502851158"/>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8" name="Title 7"/>
          <p:cNvSpPr>
            <a:spLocks noGrp="1"/>
          </p:cNvSpPr>
          <p:nvPr>
            <p:ph type="title" hasCustomPrompt="1"/>
          </p:nvPr>
        </p:nvSpPr>
        <p:spPr bwMode="gray">
          <a:xfrm>
            <a:off x="695326" y="692151"/>
            <a:ext cx="3096418" cy="692647"/>
          </a:xfrm>
        </p:spPr>
        <p:txBody>
          <a:bodyPr/>
          <a:lstStyle>
            <a:lvl1pPr>
              <a:defRPr>
                <a:solidFill>
                  <a:srgbClr val="FFFFFF"/>
                </a:solidFill>
              </a:defRPr>
            </a:lvl1pPr>
          </a:lstStyle>
          <a:p>
            <a:r>
              <a:rPr lang="en-US"/>
              <a:t>Enter team name her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hasCustomPrompt="1"/>
          </p:nvPr>
        </p:nvSpPr>
        <p:spPr bwMode="gray">
          <a:xfrm>
            <a:off x="695325" y="1628774"/>
            <a:ext cx="309642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40000" indent="-144000">
              <a:spcBef>
                <a:spcPts val="600"/>
              </a:spcBef>
              <a:defRPr sz="1200">
                <a:solidFill>
                  <a:srgbClr val="FFFFFF"/>
                </a:solidFill>
              </a:defRPr>
            </a:lvl4pPr>
            <a:lvl5pPr marL="684000" indent="-144000">
              <a:spcBef>
                <a:spcPts val="600"/>
              </a:spcBef>
              <a:defRPr sz="1200">
                <a:solidFill>
                  <a:srgbClr val="FFFFFF"/>
                </a:solidFill>
              </a:defRPr>
            </a:lvl5pPr>
          </a:lstStyle>
          <a:p>
            <a:pPr lvl="0"/>
            <a:r>
              <a:rPr lang="en-US"/>
              <a:t>Click to add text, for example team mission and/or capabilities, roles and responsibilities, other info.</a:t>
            </a:r>
          </a:p>
          <a:p>
            <a:pPr lvl="1"/>
            <a:r>
              <a:rPr lang="en-US"/>
              <a:t>Second level</a:t>
            </a:r>
          </a:p>
          <a:p>
            <a:pPr lvl="2"/>
            <a:r>
              <a:rPr lang="en-US"/>
              <a:t>Third level</a:t>
            </a:r>
          </a:p>
          <a:p>
            <a:pPr lvl="3"/>
            <a:r>
              <a:rPr lang="en-US"/>
              <a:t>Fourth level</a:t>
            </a:r>
          </a:p>
          <a:p>
            <a:pPr lvl="4"/>
            <a:r>
              <a:rPr lang="en-US"/>
              <a:t>Fifth level</a:t>
            </a:r>
            <a:endParaRPr lang="de-DE"/>
          </a:p>
        </p:txBody>
      </p:sp>
      <p:sp>
        <p:nvSpPr>
          <p:cNvPr id="29" name="Picture Placeholder 3">
            <a:extLst>
              <a:ext uri="{FF2B5EF4-FFF2-40B4-BE49-F238E27FC236}">
                <a16:creationId xmlns:a16="http://schemas.microsoft.com/office/drawing/2014/main" xmlns="" id="{9682A749-FC1E-4118-9EDD-CE1ABA3E2627}"/>
              </a:ext>
            </a:extLst>
          </p:cNvPr>
          <p:cNvSpPr>
            <a:spLocks noGrp="1"/>
          </p:cNvSpPr>
          <p:nvPr>
            <p:ph type="pic" sz="quarter" idx="15" hasCustomPrompt="1"/>
          </p:nvPr>
        </p:nvSpPr>
        <p:spPr bwMode="gray">
          <a:xfrm>
            <a:off x="5283565"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0" name="Text Placeholder 6">
            <a:extLst>
              <a:ext uri="{FF2B5EF4-FFF2-40B4-BE49-F238E27FC236}">
                <a16:creationId xmlns:a16="http://schemas.microsoft.com/office/drawing/2014/main" xmlns="" id="{73E640E6-6F1D-478B-91DA-EF27860B8F0F}"/>
              </a:ext>
            </a:extLst>
          </p:cNvPr>
          <p:cNvSpPr>
            <a:spLocks noGrp="1"/>
          </p:cNvSpPr>
          <p:nvPr>
            <p:ph type="body" sz="quarter" idx="19" hasCustomPrompt="1"/>
          </p:nvPr>
        </p:nvSpPr>
        <p:spPr>
          <a:xfrm>
            <a:off x="4871219"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1" name="Text Placeholder 6">
            <a:extLst>
              <a:ext uri="{FF2B5EF4-FFF2-40B4-BE49-F238E27FC236}">
                <a16:creationId xmlns:a16="http://schemas.microsoft.com/office/drawing/2014/main" xmlns="" id="{31BD7495-9DC8-424C-9AA0-FAD0EABDACE3}"/>
              </a:ext>
            </a:extLst>
          </p:cNvPr>
          <p:cNvSpPr>
            <a:spLocks noGrp="1"/>
          </p:cNvSpPr>
          <p:nvPr>
            <p:ph type="body" sz="quarter" idx="20" hasCustomPrompt="1"/>
          </p:nvPr>
        </p:nvSpPr>
        <p:spPr>
          <a:xfrm>
            <a:off x="4871219"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2" name="Picture Placeholder 3">
            <a:extLst>
              <a:ext uri="{FF2B5EF4-FFF2-40B4-BE49-F238E27FC236}">
                <a16:creationId xmlns:a16="http://schemas.microsoft.com/office/drawing/2014/main" xmlns="" id="{F19CD5BF-B691-42A9-9A28-7D982DEDC98D}"/>
              </a:ext>
            </a:extLst>
          </p:cNvPr>
          <p:cNvSpPr>
            <a:spLocks noGrp="1"/>
          </p:cNvSpPr>
          <p:nvPr>
            <p:ph type="pic" sz="quarter" idx="21" hasCustomPrompt="1"/>
          </p:nvPr>
        </p:nvSpPr>
        <p:spPr bwMode="gray">
          <a:xfrm>
            <a:off x="7581323" y="738628"/>
            <a:ext cx="108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US" noProof="0"/>
              <a:t>Add picture</a:t>
            </a:r>
          </a:p>
        </p:txBody>
      </p:sp>
      <p:sp>
        <p:nvSpPr>
          <p:cNvPr id="33" name="Text Placeholder 6">
            <a:extLst>
              <a:ext uri="{FF2B5EF4-FFF2-40B4-BE49-F238E27FC236}">
                <a16:creationId xmlns:a16="http://schemas.microsoft.com/office/drawing/2014/main" xmlns="" id="{CF582FA5-0ACC-44FA-AD35-38027A4BC745}"/>
              </a:ext>
            </a:extLst>
          </p:cNvPr>
          <p:cNvSpPr>
            <a:spLocks noGrp="1"/>
          </p:cNvSpPr>
          <p:nvPr>
            <p:ph type="body" sz="quarter" idx="22" hasCustomPrompt="1"/>
          </p:nvPr>
        </p:nvSpPr>
        <p:spPr>
          <a:xfrm>
            <a:off x="7168977"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4" name="Text Placeholder 6">
            <a:extLst>
              <a:ext uri="{FF2B5EF4-FFF2-40B4-BE49-F238E27FC236}">
                <a16:creationId xmlns:a16="http://schemas.microsoft.com/office/drawing/2014/main" xmlns="" id="{34479282-0266-40A5-AD96-427D23FC8E24}"/>
              </a:ext>
            </a:extLst>
          </p:cNvPr>
          <p:cNvSpPr>
            <a:spLocks noGrp="1"/>
          </p:cNvSpPr>
          <p:nvPr>
            <p:ph type="body" sz="quarter" idx="23" hasCustomPrompt="1"/>
          </p:nvPr>
        </p:nvSpPr>
        <p:spPr>
          <a:xfrm>
            <a:off x="7168977"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5" name="Picture Placeholder 3">
            <a:extLst>
              <a:ext uri="{FF2B5EF4-FFF2-40B4-BE49-F238E27FC236}">
                <a16:creationId xmlns:a16="http://schemas.microsoft.com/office/drawing/2014/main" xmlns="" id="{A372C913-34DD-415E-8A45-FE2BAAA5AB93}"/>
              </a:ext>
            </a:extLst>
          </p:cNvPr>
          <p:cNvSpPr>
            <a:spLocks noGrp="1"/>
          </p:cNvSpPr>
          <p:nvPr>
            <p:ph type="pic" sz="quarter" idx="24" hasCustomPrompt="1"/>
          </p:nvPr>
        </p:nvSpPr>
        <p:spPr bwMode="gray">
          <a:xfrm>
            <a:off x="9881460" y="738628"/>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6" name="Text Placeholder 6">
            <a:extLst>
              <a:ext uri="{FF2B5EF4-FFF2-40B4-BE49-F238E27FC236}">
                <a16:creationId xmlns:a16="http://schemas.microsoft.com/office/drawing/2014/main" xmlns="" id="{7134E3D5-1F39-4EBB-AA24-A2FD4F813D1A}"/>
              </a:ext>
            </a:extLst>
          </p:cNvPr>
          <p:cNvSpPr>
            <a:spLocks noGrp="1"/>
          </p:cNvSpPr>
          <p:nvPr>
            <p:ph type="body" sz="quarter" idx="25" hasCustomPrompt="1"/>
          </p:nvPr>
        </p:nvSpPr>
        <p:spPr>
          <a:xfrm>
            <a:off x="9469114" y="1883003"/>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37" name="Text Placeholder 6">
            <a:extLst>
              <a:ext uri="{FF2B5EF4-FFF2-40B4-BE49-F238E27FC236}">
                <a16:creationId xmlns:a16="http://schemas.microsoft.com/office/drawing/2014/main" xmlns="" id="{A4699E8E-78EB-413E-9E61-A75A1208CF0F}"/>
              </a:ext>
            </a:extLst>
          </p:cNvPr>
          <p:cNvSpPr>
            <a:spLocks noGrp="1"/>
          </p:cNvSpPr>
          <p:nvPr>
            <p:ph type="body" sz="quarter" idx="26" hasCustomPrompt="1"/>
          </p:nvPr>
        </p:nvSpPr>
        <p:spPr>
          <a:xfrm>
            <a:off x="9469114" y="2049899"/>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38" name="Picture Placeholder 3">
            <a:extLst>
              <a:ext uri="{FF2B5EF4-FFF2-40B4-BE49-F238E27FC236}">
                <a16:creationId xmlns:a16="http://schemas.microsoft.com/office/drawing/2014/main" xmlns="" id="{055DF295-2A7B-4334-B97B-ED339BB70340}"/>
              </a:ext>
            </a:extLst>
          </p:cNvPr>
          <p:cNvSpPr>
            <a:spLocks noGrp="1"/>
          </p:cNvSpPr>
          <p:nvPr>
            <p:ph type="pic" sz="quarter" idx="27" hasCustomPrompt="1"/>
          </p:nvPr>
        </p:nvSpPr>
        <p:spPr bwMode="gray">
          <a:xfrm>
            <a:off x="5283565"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39" name="Text Placeholder 6">
            <a:extLst>
              <a:ext uri="{FF2B5EF4-FFF2-40B4-BE49-F238E27FC236}">
                <a16:creationId xmlns:a16="http://schemas.microsoft.com/office/drawing/2014/main" xmlns="" id="{86C79598-5718-4B97-9653-C258BACE02E8}"/>
              </a:ext>
            </a:extLst>
          </p:cNvPr>
          <p:cNvSpPr>
            <a:spLocks noGrp="1"/>
          </p:cNvSpPr>
          <p:nvPr>
            <p:ph type="body" sz="quarter" idx="28" hasCustomPrompt="1"/>
          </p:nvPr>
        </p:nvSpPr>
        <p:spPr>
          <a:xfrm>
            <a:off x="4871219"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0" name="Text Placeholder 6">
            <a:extLst>
              <a:ext uri="{FF2B5EF4-FFF2-40B4-BE49-F238E27FC236}">
                <a16:creationId xmlns:a16="http://schemas.microsoft.com/office/drawing/2014/main" xmlns="" id="{D1CD186E-C886-499B-8730-86302FB13D60}"/>
              </a:ext>
            </a:extLst>
          </p:cNvPr>
          <p:cNvSpPr>
            <a:spLocks noGrp="1"/>
          </p:cNvSpPr>
          <p:nvPr>
            <p:ph type="body" sz="quarter" idx="29" hasCustomPrompt="1"/>
          </p:nvPr>
        </p:nvSpPr>
        <p:spPr>
          <a:xfrm>
            <a:off x="4871219"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1" name="Picture Placeholder 3">
            <a:extLst>
              <a:ext uri="{FF2B5EF4-FFF2-40B4-BE49-F238E27FC236}">
                <a16:creationId xmlns:a16="http://schemas.microsoft.com/office/drawing/2014/main" xmlns="" id="{221F4A5A-8D58-4545-B3A9-1D7286AC7F03}"/>
              </a:ext>
            </a:extLst>
          </p:cNvPr>
          <p:cNvSpPr>
            <a:spLocks noGrp="1"/>
          </p:cNvSpPr>
          <p:nvPr>
            <p:ph type="pic" sz="quarter" idx="30" hasCustomPrompt="1"/>
          </p:nvPr>
        </p:nvSpPr>
        <p:spPr bwMode="gray">
          <a:xfrm>
            <a:off x="7581323"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2" name="Text Placeholder 6">
            <a:extLst>
              <a:ext uri="{FF2B5EF4-FFF2-40B4-BE49-F238E27FC236}">
                <a16:creationId xmlns:a16="http://schemas.microsoft.com/office/drawing/2014/main" xmlns="" id="{CAD9D006-676C-4CB9-9E60-67322DE91D15}"/>
              </a:ext>
            </a:extLst>
          </p:cNvPr>
          <p:cNvSpPr>
            <a:spLocks noGrp="1"/>
          </p:cNvSpPr>
          <p:nvPr>
            <p:ph type="body" sz="quarter" idx="31" hasCustomPrompt="1"/>
          </p:nvPr>
        </p:nvSpPr>
        <p:spPr>
          <a:xfrm>
            <a:off x="7168977"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3" name="Text Placeholder 6">
            <a:extLst>
              <a:ext uri="{FF2B5EF4-FFF2-40B4-BE49-F238E27FC236}">
                <a16:creationId xmlns:a16="http://schemas.microsoft.com/office/drawing/2014/main" xmlns="" id="{50A073A5-04E0-4873-B0FB-802CADE36667}"/>
              </a:ext>
            </a:extLst>
          </p:cNvPr>
          <p:cNvSpPr>
            <a:spLocks noGrp="1"/>
          </p:cNvSpPr>
          <p:nvPr>
            <p:ph type="body" sz="quarter" idx="32" hasCustomPrompt="1"/>
          </p:nvPr>
        </p:nvSpPr>
        <p:spPr>
          <a:xfrm>
            <a:off x="7168977"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4" name="Picture Placeholder 3">
            <a:extLst>
              <a:ext uri="{FF2B5EF4-FFF2-40B4-BE49-F238E27FC236}">
                <a16:creationId xmlns:a16="http://schemas.microsoft.com/office/drawing/2014/main" xmlns="" id="{195DD2A1-427A-429A-9C4E-E51AEBB0E0E7}"/>
              </a:ext>
            </a:extLst>
          </p:cNvPr>
          <p:cNvSpPr>
            <a:spLocks noGrp="1"/>
          </p:cNvSpPr>
          <p:nvPr>
            <p:ph type="pic" sz="quarter" idx="33" hasCustomPrompt="1"/>
          </p:nvPr>
        </p:nvSpPr>
        <p:spPr bwMode="gray">
          <a:xfrm>
            <a:off x="9881460" y="2557409"/>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5" name="Text Placeholder 6">
            <a:extLst>
              <a:ext uri="{FF2B5EF4-FFF2-40B4-BE49-F238E27FC236}">
                <a16:creationId xmlns:a16="http://schemas.microsoft.com/office/drawing/2014/main" xmlns="" id="{F28B10EF-4A1F-4980-8CD3-519EB5DBC226}"/>
              </a:ext>
            </a:extLst>
          </p:cNvPr>
          <p:cNvSpPr>
            <a:spLocks noGrp="1"/>
          </p:cNvSpPr>
          <p:nvPr>
            <p:ph type="body" sz="quarter" idx="34" hasCustomPrompt="1"/>
          </p:nvPr>
        </p:nvSpPr>
        <p:spPr>
          <a:xfrm>
            <a:off x="9469114" y="3701784"/>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6" name="Text Placeholder 6">
            <a:extLst>
              <a:ext uri="{FF2B5EF4-FFF2-40B4-BE49-F238E27FC236}">
                <a16:creationId xmlns:a16="http://schemas.microsoft.com/office/drawing/2014/main" xmlns="" id="{7E8B1A89-1311-46C8-AABE-49A07C509AB6}"/>
              </a:ext>
            </a:extLst>
          </p:cNvPr>
          <p:cNvSpPr>
            <a:spLocks noGrp="1"/>
          </p:cNvSpPr>
          <p:nvPr>
            <p:ph type="body" sz="quarter" idx="35" hasCustomPrompt="1"/>
          </p:nvPr>
        </p:nvSpPr>
        <p:spPr>
          <a:xfrm>
            <a:off x="9469114" y="3868680"/>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47" name="Picture Placeholder 3">
            <a:extLst>
              <a:ext uri="{FF2B5EF4-FFF2-40B4-BE49-F238E27FC236}">
                <a16:creationId xmlns:a16="http://schemas.microsoft.com/office/drawing/2014/main" xmlns="" id="{A1132398-8B9A-4B3D-933D-0916342541FD}"/>
              </a:ext>
            </a:extLst>
          </p:cNvPr>
          <p:cNvSpPr>
            <a:spLocks noGrp="1"/>
          </p:cNvSpPr>
          <p:nvPr>
            <p:ph type="pic" sz="quarter" idx="36" hasCustomPrompt="1"/>
          </p:nvPr>
        </p:nvSpPr>
        <p:spPr bwMode="gray">
          <a:xfrm>
            <a:off x="5283565"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48" name="Text Placeholder 6">
            <a:extLst>
              <a:ext uri="{FF2B5EF4-FFF2-40B4-BE49-F238E27FC236}">
                <a16:creationId xmlns:a16="http://schemas.microsoft.com/office/drawing/2014/main" xmlns="" id="{60DB6F48-FC4C-4A1D-9535-0E108AAFBE06}"/>
              </a:ext>
            </a:extLst>
          </p:cNvPr>
          <p:cNvSpPr>
            <a:spLocks noGrp="1"/>
          </p:cNvSpPr>
          <p:nvPr>
            <p:ph type="body" sz="quarter" idx="37" hasCustomPrompt="1"/>
          </p:nvPr>
        </p:nvSpPr>
        <p:spPr>
          <a:xfrm>
            <a:off x="4871219"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49" name="Text Placeholder 6">
            <a:extLst>
              <a:ext uri="{FF2B5EF4-FFF2-40B4-BE49-F238E27FC236}">
                <a16:creationId xmlns:a16="http://schemas.microsoft.com/office/drawing/2014/main" xmlns="" id="{A810E96A-A59E-44AE-B57E-8AF75CD1963D}"/>
              </a:ext>
            </a:extLst>
          </p:cNvPr>
          <p:cNvSpPr>
            <a:spLocks noGrp="1"/>
          </p:cNvSpPr>
          <p:nvPr>
            <p:ph type="body" sz="quarter" idx="38" hasCustomPrompt="1"/>
          </p:nvPr>
        </p:nvSpPr>
        <p:spPr>
          <a:xfrm>
            <a:off x="4871219"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0" name="Picture Placeholder 3">
            <a:extLst>
              <a:ext uri="{FF2B5EF4-FFF2-40B4-BE49-F238E27FC236}">
                <a16:creationId xmlns:a16="http://schemas.microsoft.com/office/drawing/2014/main" xmlns="" id="{198933B9-38C2-482E-AD0B-42A8177C695A}"/>
              </a:ext>
            </a:extLst>
          </p:cNvPr>
          <p:cNvSpPr>
            <a:spLocks noGrp="1"/>
          </p:cNvSpPr>
          <p:nvPr>
            <p:ph type="pic" sz="quarter" idx="39" hasCustomPrompt="1"/>
          </p:nvPr>
        </p:nvSpPr>
        <p:spPr bwMode="gray">
          <a:xfrm>
            <a:off x="7581323"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1" name="Text Placeholder 6">
            <a:extLst>
              <a:ext uri="{FF2B5EF4-FFF2-40B4-BE49-F238E27FC236}">
                <a16:creationId xmlns:a16="http://schemas.microsoft.com/office/drawing/2014/main" xmlns="" id="{3A0551C6-CAE2-4890-8760-2733C7FDE739}"/>
              </a:ext>
            </a:extLst>
          </p:cNvPr>
          <p:cNvSpPr>
            <a:spLocks noGrp="1"/>
          </p:cNvSpPr>
          <p:nvPr>
            <p:ph type="body" sz="quarter" idx="40" hasCustomPrompt="1"/>
          </p:nvPr>
        </p:nvSpPr>
        <p:spPr>
          <a:xfrm>
            <a:off x="7168977"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2" name="Text Placeholder 6">
            <a:extLst>
              <a:ext uri="{FF2B5EF4-FFF2-40B4-BE49-F238E27FC236}">
                <a16:creationId xmlns:a16="http://schemas.microsoft.com/office/drawing/2014/main" xmlns="" id="{351C2CEF-8471-4D1A-B51B-ABA769D4AFD1}"/>
              </a:ext>
            </a:extLst>
          </p:cNvPr>
          <p:cNvSpPr>
            <a:spLocks noGrp="1"/>
          </p:cNvSpPr>
          <p:nvPr>
            <p:ph type="body" sz="quarter" idx="41" hasCustomPrompt="1"/>
          </p:nvPr>
        </p:nvSpPr>
        <p:spPr>
          <a:xfrm>
            <a:off x="7168977"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3" name="Picture Placeholder 3">
            <a:extLst>
              <a:ext uri="{FF2B5EF4-FFF2-40B4-BE49-F238E27FC236}">
                <a16:creationId xmlns:a16="http://schemas.microsoft.com/office/drawing/2014/main" xmlns="" id="{0AAAD490-0511-40C3-A7FD-06F99326BA9B}"/>
              </a:ext>
            </a:extLst>
          </p:cNvPr>
          <p:cNvSpPr>
            <a:spLocks noGrp="1"/>
          </p:cNvSpPr>
          <p:nvPr>
            <p:ph type="pic" sz="quarter" idx="42" hasCustomPrompt="1"/>
          </p:nvPr>
        </p:nvSpPr>
        <p:spPr bwMode="gray">
          <a:xfrm>
            <a:off x="9881460" y="4379592"/>
            <a:ext cx="1080000" cy="1080000"/>
          </a:xfrm>
          <a:prstGeom prst="ellipse">
            <a:avLst/>
          </a:prstGeom>
        </p:spPr>
        <p:txBody>
          <a:bodyPr tIns="468000" anchor="ctr" anchorCtr="0"/>
          <a:lstStyle>
            <a:lvl1pPr marL="0" indent="0" algn="ctr">
              <a:buNone/>
              <a:defRPr sz="1000">
                <a:solidFill>
                  <a:srgbClr val="A8BAB2"/>
                </a:solidFill>
              </a:defRPr>
            </a:lvl1pPr>
          </a:lstStyle>
          <a:p>
            <a:r>
              <a:rPr lang="en-US" noProof="0"/>
              <a:t>Add picture</a:t>
            </a:r>
          </a:p>
        </p:txBody>
      </p:sp>
      <p:sp>
        <p:nvSpPr>
          <p:cNvPr id="54" name="Text Placeholder 6">
            <a:extLst>
              <a:ext uri="{FF2B5EF4-FFF2-40B4-BE49-F238E27FC236}">
                <a16:creationId xmlns:a16="http://schemas.microsoft.com/office/drawing/2014/main" xmlns="" id="{57D9887A-55D1-49D2-8675-5240F864DA0B}"/>
              </a:ext>
            </a:extLst>
          </p:cNvPr>
          <p:cNvSpPr>
            <a:spLocks noGrp="1"/>
          </p:cNvSpPr>
          <p:nvPr>
            <p:ph type="body" sz="quarter" idx="43" hasCustomPrompt="1"/>
          </p:nvPr>
        </p:nvSpPr>
        <p:spPr>
          <a:xfrm>
            <a:off x="9469114" y="5523967"/>
            <a:ext cx="1902588"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Click to add name</a:t>
            </a:r>
          </a:p>
        </p:txBody>
      </p:sp>
      <p:sp>
        <p:nvSpPr>
          <p:cNvPr id="55" name="Text Placeholder 6">
            <a:extLst>
              <a:ext uri="{FF2B5EF4-FFF2-40B4-BE49-F238E27FC236}">
                <a16:creationId xmlns:a16="http://schemas.microsoft.com/office/drawing/2014/main" xmlns="" id="{78D2D6D9-E53F-4A0D-BBF5-81D01913CD12}"/>
              </a:ext>
            </a:extLst>
          </p:cNvPr>
          <p:cNvSpPr>
            <a:spLocks noGrp="1"/>
          </p:cNvSpPr>
          <p:nvPr>
            <p:ph type="body" sz="quarter" idx="44" hasCustomPrompt="1"/>
          </p:nvPr>
        </p:nvSpPr>
        <p:spPr>
          <a:xfrm>
            <a:off x="9469114" y="5690863"/>
            <a:ext cx="1902588"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US" noProof="0"/>
              <a:t>Job title</a:t>
            </a:r>
            <a:br>
              <a:rPr lang="en-US" noProof="0"/>
            </a:br>
            <a:r>
              <a:rPr lang="en-US" noProof="0"/>
              <a:t>Contact information</a:t>
            </a:r>
          </a:p>
        </p:txBody>
      </p:sp>
      <p:sp>
        <p:nvSpPr>
          <p:cNvPr id="56" name="Footer">
            <a:extLst>
              <a:ext uri="{FF2B5EF4-FFF2-40B4-BE49-F238E27FC236}">
                <a16:creationId xmlns:a16="http://schemas.microsoft.com/office/drawing/2014/main" xmlns="" id="{3D92757B-1122-4A0B-B414-F2DE3CA792C1}"/>
              </a:ext>
            </a:extLst>
          </p:cNvPr>
          <p:cNvSpPr txBox="1">
            <a:spLocks/>
          </p:cNvSpPr>
          <p:nvPr userDrawn="1">
            <p:custDataLst>
              <p:tags r:id="rId2"/>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DA231349-29F7-4DB4-8DFF-E83C4E309D89}"/>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22297291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matchingName="Table of Contents with Image" preserve="1" userDrawn="1">
  <p:cSld name="Table of Contents with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8115300" cy="6858000"/>
          </a:xfrm>
        </p:spPr>
        <p:txBody>
          <a:bodyPr lIns="0" tIns="1152000" anchor="ctr"/>
          <a:lstStyle>
            <a:lvl1pPr algn="ctr">
              <a:spcBef>
                <a:spcPts val="0"/>
              </a:spcBef>
              <a:buFontTx/>
              <a:buNone/>
              <a:defRPr sz="1200">
                <a:solidFill>
                  <a:srgbClr val="A8BAB2"/>
                </a:solidFill>
                <a:latin typeface="SwissReSans" pitchFamily="34" charset="0"/>
              </a:defRPr>
            </a:lvl1pPr>
          </a:lstStyle>
          <a:p>
            <a:r>
              <a:rPr lang="en-US" noProof="1"/>
              <a:t>Click to browse for an own image or </a:t>
            </a:r>
            <a:br>
              <a:rPr lang="en-US" noProof="1"/>
            </a:br>
            <a:r>
              <a:rPr lang="en-US" noProof="1"/>
              <a:t>select one from the Swiss Re menu.</a:t>
            </a:r>
            <a:br>
              <a:rPr lang="en-US" noProof="1"/>
            </a:br>
            <a:r>
              <a:rPr lang="en-US" noProof="1"/>
              <a:t>Be careful to avoid an image that clashes</a:t>
            </a:r>
            <a:br>
              <a:rPr lang="en-US" noProof="1"/>
            </a:br>
            <a:r>
              <a:rPr lang="en-US" noProof="1"/>
              <a:t>with the gradient colour.</a:t>
            </a:r>
          </a:p>
        </p:txBody>
      </p:sp>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pic>
        <p:nvPicPr>
          <p:cNvPr id="3" name="Picture 2">
            <a:extLst>
              <a:ext uri="{FF2B5EF4-FFF2-40B4-BE49-F238E27FC236}">
                <a16:creationId xmlns:a16="http://schemas.microsoft.com/office/drawing/2014/main" xmlns="" id="{DA56AC00-0DED-46B3-B391-07161F71E8F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05022531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matchingName="Table of Contents with Quote" preserve="1" userDrawn="1">
  <p:cSld name="Table of Contents with Quo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8112224" y="0"/>
            <a:ext cx="4079776"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wissReSans" pitchFamily="34" charset="0"/>
            </a:endParaRPr>
          </a:p>
        </p:txBody>
      </p:sp>
      <p:sp>
        <p:nvSpPr>
          <p:cNvPr id="8" name="Title 7"/>
          <p:cNvSpPr>
            <a:spLocks noGrp="1"/>
          </p:cNvSpPr>
          <p:nvPr>
            <p:ph type="title"/>
          </p:nvPr>
        </p:nvSpPr>
        <p:spPr bwMode="gray">
          <a:xfrm>
            <a:off x="8544272" y="692151"/>
            <a:ext cx="3168303" cy="692647"/>
          </a:xfrm>
        </p:spPr>
        <p:txBody>
          <a:bodyPr/>
          <a:lstStyle>
            <a:lvl1pPr>
              <a:defRPr>
                <a:solidFill>
                  <a:srgbClr val="FFFFFF"/>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5" name="Text Placeholder 4">
            <a:extLst>
              <a:ext uri="{FF2B5EF4-FFF2-40B4-BE49-F238E27FC236}">
                <a16:creationId xmlns:a16="http://schemas.microsoft.com/office/drawing/2014/main" xmlns="" id="{6B8B2FF7-1EAF-4819-B80C-A01E1EC5DFAB}"/>
              </a:ext>
            </a:extLst>
          </p:cNvPr>
          <p:cNvSpPr>
            <a:spLocks noGrp="1"/>
          </p:cNvSpPr>
          <p:nvPr>
            <p:ph type="body" sz="quarter" idx="13"/>
          </p:nvPr>
        </p:nvSpPr>
        <p:spPr>
          <a:xfrm>
            <a:off x="695325" y="1444598"/>
            <a:ext cx="6120755" cy="4576789"/>
          </a:xfrm>
        </p:spPr>
        <p:txBody>
          <a:bodyPr/>
          <a:lstStyle>
            <a:lvl1pPr marL="0" indent="0">
              <a:buFontTx/>
              <a:buNone/>
              <a:defRPr sz="5000">
                <a:solidFill>
                  <a:schemeClr val="bg2"/>
                </a:solidFill>
                <a:latin typeface="SwissReSans Light"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3" name="Picture 2">
            <a:extLst>
              <a:ext uri="{FF2B5EF4-FFF2-40B4-BE49-F238E27FC236}">
                <a16:creationId xmlns:a16="http://schemas.microsoft.com/office/drawing/2014/main" xmlns="" id="{316D22B6-9507-4070-8794-8DB20C23B214}"/>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48553939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matchingName="End Slide 1" preserve="1" userDrawn="1">
  <p:cSld name="End Slide 1">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2628876"/>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3933056"/>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573016"/>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3933056"/>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4210055"/>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5380420"/>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0" name="Picture Placeholder 9">
            <a:extLst>
              <a:ext uri="{FF2B5EF4-FFF2-40B4-BE49-F238E27FC236}">
                <a16:creationId xmlns:a16="http://schemas.microsoft.com/office/drawing/2014/main" xmlns="" id="{D34D64A5-9BA9-4A49-80AC-B15D0D80D8AA}"/>
              </a:ext>
            </a:extLst>
          </p:cNvPr>
          <p:cNvSpPr>
            <a:spLocks noGrp="1"/>
          </p:cNvSpPr>
          <p:nvPr>
            <p:ph type="pic" sz="quarter" idx="23" hasCustomPrompt="1"/>
          </p:nvPr>
        </p:nvSpPr>
        <p:spPr>
          <a:xfrm>
            <a:off x="695400" y="5697388"/>
            <a:ext cx="324000" cy="324000"/>
          </a:xfrm>
        </p:spPr>
        <p:txBody>
          <a:bodyPr/>
          <a:lstStyle>
            <a:lvl1pPr marL="0" indent="0">
              <a:buNone/>
              <a:defRPr sz="800">
                <a:solidFill>
                  <a:schemeClr val="bg1"/>
                </a:solidFill>
              </a:defRPr>
            </a:lvl1pPr>
          </a:lstStyle>
          <a:p>
            <a:r>
              <a:rPr lang="de-CH"/>
              <a:t> </a:t>
            </a:r>
          </a:p>
        </p:txBody>
      </p:sp>
      <p:sp>
        <p:nvSpPr>
          <p:cNvPr id="21" name="Picture Placeholder 9">
            <a:extLst>
              <a:ext uri="{FF2B5EF4-FFF2-40B4-BE49-F238E27FC236}">
                <a16:creationId xmlns:a16="http://schemas.microsoft.com/office/drawing/2014/main" xmlns="" id="{55B64BBC-0F83-4C0B-903E-584C9438516F}"/>
              </a:ext>
            </a:extLst>
          </p:cNvPr>
          <p:cNvSpPr>
            <a:spLocks noGrp="1"/>
          </p:cNvSpPr>
          <p:nvPr>
            <p:ph type="pic" sz="quarter" idx="24" hasCustomPrompt="1"/>
          </p:nvPr>
        </p:nvSpPr>
        <p:spPr>
          <a:xfrm>
            <a:off x="1163400" y="5697388"/>
            <a:ext cx="324000" cy="324000"/>
          </a:xfrm>
        </p:spPr>
        <p:txBody>
          <a:bodyPr/>
          <a:lstStyle>
            <a:lvl1pPr marL="0" indent="0">
              <a:buNone/>
              <a:defRPr sz="800">
                <a:solidFill>
                  <a:schemeClr val="bg1"/>
                </a:solidFill>
              </a:defRPr>
            </a:lvl1pPr>
          </a:lstStyle>
          <a:p>
            <a:r>
              <a:rPr lang="de-CH"/>
              <a:t> </a:t>
            </a:r>
          </a:p>
        </p:txBody>
      </p:sp>
      <p:sp>
        <p:nvSpPr>
          <p:cNvPr id="23" name="Picture Placeholder 9">
            <a:extLst>
              <a:ext uri="{FF2B5EF4-FFF2-40B4-BE49-F238E27FC236}">
                <a16:creationId xmlns:a16="http://schemas.microsoft.com/office/drawing/2014/main" xmlns="" id="{83FFD9DD-E866-4E18-BA64-E3610437C705}"/>
              </a:ext>
            </a:extLst>
          </p:cNvPr>
          <p:cNvSpPr>
            <a:spLocks noGrp="1"/>
          </p:cNvSpPr>
          <p:nvPr>
            <p:ph type="pic" sz="quarter" idx="25" hasCustomPrompt="1"/>
          </p:nvPr>
        </p:nvSpPr>
        <p:spPr>
          <a:xfrm>
            <a:off x="1631400" y="5697388"/>
            <a:ext cx="324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2BABED67-931C-44BC-AB79-C182D3621460}"/>
              </a:ext>
            </a:extLst>
          </p:cNvPr>
          <p:cNvSpPr>
            <a:spLocks noGrp="1"/>
          </p:cNvSpPr>
          <p:nvPr>
            <p:ph type="pic" sz="quarter" idx="26" hasCustomPrompt="1"/>
          </p:nvPr>
        </p:nvSpPr>
        <p:spPr>
          <a:xfrm>
            <a:off x="2099400" y="5697388"/>
            <a:ext cx="324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AC674E57-2AE3-4335-AD01-76934BC62AED}"/>
              </a:ext>
            </a:extLst>
          </p:cNvPr>
          <p:cNvSpPr>
            <a:spLocks noGrp="1"/>
          </p:cNvSpPr>
          <p:nvPr>
            <p:ph type="pic" sz="quarter" idx="27" hasCustomPrompt="1"/>
          </p:nvPr>
        </p:nvSpPr>
        <p:spPr>
          <a:xfrm>
            <a:off x="2567400" y="5697388"/>
            <a:ext cx="324000" cy="324000"/>
          </a:xfrm>
        </p:spPr>
        <p:txBody>
          <a:bodyPr/>
          <a:lstStyle>
            <a:lvl1pPr marL="0" indent="0">
              <a:buNone/>
              <a:defRPr sz="800">
                <a:solidFill>
                  <a:schemeClr val="bg1"/>
                </a:solidFill>
              </a:defRPr>
            </a:lvl1pPr>
          </a:lstStyle>
          <a:p>
            <a:r>
              <a:rPr lang="de-CH"/>
              <a:t> </a:t>
            </a:r>
          </a:p>
        </p:txBody>
      </p:sp>
      <p:pic>
        <p:nvPicPr>
          <p:cNvPr id="4" name="Picture 3">
            <a:extLst>
              <a:ext uri="{FF2B5EF4-FFF2-40B4-BE49-F238E27FC236}">
                <a16:creationId xmlns:a16="http://schemas.microsoft.com/office/drawing/2014/main" xmlns="" id="{88763E32-A5B0-4CDA-8ED9-5FDE4289664D}"/>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4093885763"/>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matchingName="End Slide 2" preserve="1" userDrawn="1">
  <p:cSld name="End Slide 2">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1978064"/>
            <a:ext cx="3312000" cy="276999"/>
          </a:xfrm>
        </p:spPr>
        <p:txBody>
          <a:bodyPr anchor="t">
            <a:noAutofit/>
          </a:bodyPr>
          <a:lstStyle>
            <a:lvl1pPr marL="0" indent="0">
              <a:spcBef>
                <a:spcPts val="0"/>
              </a:spcBef>
              <a:buFontTx/>
              <a:buNone/>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1618024"/>
            <a:ext cx="2808387" cy="231203"/>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8378387"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8378387"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4536856" y="1978064"/>
            <a:ext cx="3312000" cy="276999"/>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8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a:p>
            <a:pPr lvl="0"/>
            <a:endParaRPr lang="en-GB"/>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4536856" y="2255063"/>
            <a:ext cx="3312000" cy="1019145"/>
          </a:xfrm>
        </p:spPr>
        <p:txBody>
          <a:bodyPr anchor="t">
            <a:noAutofit/>
          </a:bodyPr>
          <a:lstStyle>
            <a:lvl1pPr marL="0" indent="0">
              <a:spcBef>
                <a:spcPts val="0"/>
              </a:spcBef>
              <a:buFontTx/>
              <a:buNone/>
              <a:defRPr sz="18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695325" y="3645024"/>
            <a:ext cx="2808387" cy="259281"/>
          </a:xfrm>
        </p:spPr>
        <p:txBody>
          <a:bodyPr anchor="t"/>
          <a:lstStyle>
            <a:lvl1pPr marL="0" indent="0">
              <a:spcBef>
                <a:spcPts val="0"/>
              </a:spcBef>
              <a:buFontTx/>
              <a:buNone/>
              <a:defRPr sz="12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21" name="Picture Placeholder 9">
            <a:extLst>
              <a:ext uri="{FF2B5EF4-FFF2-40B4-BE49-F238E27FC236}">
                <a16:creationId xmlns:a16="http://schemas.microsoft.com/office/drawing/2014/main" xmlns="" id="{E5CF9AB9-0836-451E-851D-A717BE5C859B}"/>
              </a:ext>
            </a:extLst>
          </p:cNvPr>
          <p:cNvSpPr>
            <a:spLocks noGrp="1"/>
          </p:cNvSpPr>
          <p:nvPr>
            <p:ph type="pic" sz="quarter" idx="23" hasCustomPrompt="1"/>
          </p:nvPr>
        </p:nvSpPr>
        <p:spPr>
          <a:xfrm>
            <a:off x="695400" y="3959704"/>
            <a:ext cx="324000" cy="324000"/>
          </a:xfrm>
        </p:spPr>
        <p:txBody>
          <a:bodyPr/>
          <a:lstStyle>
            <a:lvl1pPr marL="0" indent="0">
              <a:buNone/>
              <a:defRPr sz="800">
                <a:solidFill>
                  <a:schemeClr val="bg1"/>
                </a:solidFill>
              </a:defRPr>
            </a:lvl1pPr>
          </a:lstStyle>
          <a:p>
            <a:r>
              <a:rPr lang="de-CH"/>
              <a:t> </a:t>
            </a:r>
          </a:p>
        </p:txBody>
      </p:sp>
      <p:sp>
        <p:nvSpPr>
          <p:cNvPr id="22" name="Picture Placeholder 9">
            <a:extLst>
              <a:ext uri="{FF2B5EF4-FFF2-40B4-BE49-F238E27FC236}">
                <a16:creationId xmlns:a16="http://schemas.microsoft.com/office/drawing/2014/main" xmlns="" id="{7FF5B5CF-9E76-4482-B698-DA93D56A179B}"/>
              </a:ext>
            </a:extLst>
          </p:cNvPr>
          <p:cNvSpPr>
            <a:spLocks noGrp="1"/>
          </p:cNvSpPr>
          <p:nvPr>
            <p:ph type="pic" sz="quarter" idx="24" hasCustomPrompt="1"/>
          </p:nvPr>
        </p:nvSpPr>
        <p:spPr>
          <a:xfrm>
            <a:off x="1163400" y="3959704"/>
            <a:ext cx="324000" cy="324000"/>
          </a:xfrm>
        </p:spPr>
        <p:txBody>
          <a:bodyPr/>
          <a:lstStyle>
            <a:lvl1pPr marL="0" indent="0">
              <a:buNone/>
              <a:defRPr sz="800">
                <a:solidFill>
                  <a:schemeClr val="bg1"/>
                </a:solidFill>
              </a:defRPr>
            </a:lvl1pPr>
          </a:lstStyle>
          <a:p>
            <a:r>
              <a:rPr lang="de-CH"/>
              <a:t> </a:t>
            </a:r>
          </a:p>
        </p:txBody>
      </p:sp>
      <p:sp>
        <p:nvSpPr>
          <p:cNvPr id="23" name="Picture Placeholder 9">
            <a:extLst>
              <a:ext uri="{FF2B5EF4-FFF2-40B4-BE49-F238E27FC236}">
                <a16:creationId xmlns:a16="http://schemas.microsoft.com/office/drawing/2014/main" xmlns="" id="{1387BD45-684C-4CAB-BC6F-6FB7626BE0DD}"/>
              </a:ext>
            </a:extLst>
          </p:cNvPr>
          <p:cNvSpPr>
            <a:spLocks noGrp="1"/>
          </p:cNvSpPr>
          <p:nvPr>
            <p:ph type="pic" sz="quarter" idx="25" hasCustomPrompt="1"/>
          </p:nvPr>
        </p:nvSpPr>
        <p:spPr>
          <a:xfrm>
            <a:off x="1631400" y="3959704"/>
            <a:ext cx="324000" cy="324000"/>
          </a:xfrm>
        </p:spPr>
        <p:txBody>
          <a:bodyPr/>
          <a:lstStyle>
            <a:lvl1pPr marL="0" indent="0">
              <a:buNone/>
              <a:defRPr sz="800">
                <a:solidFill>
                  <a:schemeClr val="bg1"/>
                </a:solidFill>
              </a:defRPr>
            </a:lvl1pPr>
          </a:lstStyle>
          <a:p>
            <a:r>
              <a:rPr lang="de-CH"/>
              <a:t> </a:t>
            </a:r>
          </a:p>
        </p:txBody>
      </p:sp>
      <p:sp>
        <p:nvSpPr>
          <p:cNvPr id="24" name="Picture Placeholder 9">
            <a:extLst>
              <a:ext uri="{FF2B5EF4-FFF2-40B4-BE49-F238E27FC236}">
                <a16:creationId xmlns:a16="http://schemas.microsoft.com/office/drawing/2014/main" xmlns="" id="{90CF74F4-8589-4C97-B651-78066DAC41FD}"/>
              </a:ext>
            </a:extLst>
          </p:cNvPr>
          <p:cNvSpPr>
            <a:spLocks noGrp="1"/>
          </p:cNvSpPr>
          <p:nvPr>
            <p:ph type="pic" sz="quarter" idx="26" hasCustomPrompt="1"/>
          </p:nvPr>
        </p:nvSpPr>
        <p:spPr>
          <a:xfrm>
            <a:off x="2099400" y="3959704"/>
            <a:ext cx="324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7C667A46-295D-4EEE-9AB0-2C3EDE023156}"/>
              </a:ext>
            </a:extLst>
          </p:cNvPr>
          <p:cNvSpPr>
            <a:spLocks noGrp="1"/>
          </p:cNvSpPr>
          <p:nvPr>
            <p:ph type="pic" sz="quarter" idx="27" hasCustomPrompt="1"/>
          </p:nvPr>
        </p:nvSpPr>
        <p:spPr>
          <a:xfrm>
            <a:off x="2567400" y="3959704"/>
            <a:ext cx="324000" cy="324000"/>
          </a:xfrm>
        </p:spPr>
        <p:txBody>
          <a:bodyPr/>
          <a:lstStyle>
            <a:lvl1pPr marL="0" indent="0">
              <a:buNone/>
              <a:defRPr sz="800">
                <a:solidFill>
                  <a:schemeClr val="bg1"/>
                </a:solidFill>
              </a:defRPr>
            </a:lvl1pPr>
          </a:lstStyle>
          <a:p>
            <a:r>
              <a:rPr lang="de-CH"/>
              <a:t> </a:t>
            </a:r>
          </a:p>
        </p:txBody>
      </p:sp>
      <p:pic>
        <p:nvPicPr>
          <p:cNvPr id="3" name="Picture 2">
            <a:extLst>
              <a:ext uri="{FF2B5EF4-FFF2-40B4-BE49-F238E27FC236}">
                <a16:creationId xmlns:a16="http://schemas.microsoft.com/office/drawing/2014/main" xmlns="" id="{4C32A44C-9EBA-4622-BCE8-CA8383AE88C4}"/>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82158079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matchingName="End Slide 3" preserve="1" userDrawn="1">
  <p:cSld name="End Slide 3">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bg1"/>
                </a:solidFill>
                <a:latin typeface="SwissReSans Light" panose="020B0604020202020204" charset="0"/>
              </a:defRPr>
            </a:lvl1pPr>
          </a:lstStyle>
          <a:p>
            <a:r>
              <a:rPr lang="en-US"/>
              <a:t>Click to edit Master title style</a:t>
            </a:r>
            <a:endParaRPr lang="en-GB"/>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bg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bg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xmlns="" id="{367D64FB-EF6B-4108-B34C-866B7F366DDB}"/>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B70A16B6-E20A-440C-9118-0B6958FEFA90}"/>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a:t> </a:t>
            </a:r>
          </a:p>
        </p:txBody>
      </p:sp>
      <p:sp>
        <p:nvSpPr>
          <p:cNvPr id="26" name="Picture Placeholder 9">
            <a:extLst>
              <a:ext uri="{FF2B5EF4-FFF2-40B4-BE49-F238E27FC236}">
                <a16:creationId xmlns:a16="http://schemas.microsoft.com/office/drawing/2014/main" xmlns="" id="{16C8B703-7EB9-4275-85A1-24DA6F511726}"/>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3A164527-C9D0-4F3D-B303-E4C96E84775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a:t> </a:t>
            </a:r>
          </a:p>
        </p:txBody>
      </p:sp>
      <p:sp>
        <p:nvSpPr>
          <p:cNvPr id="28" name="Picture Placeholder 9">
            <a:extLst>
              <a:ext uri="{FF2B5EF4-FFF2-40B4-BE49-F238E27FC236}">
                <a16:creationId xmlns:a16="http://schemas.microsoft.com/office/drawing/2014/main" xmlns="" id="{A46830B0-40C1-405B-97FE-189D28E08FF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a:t> </a:t>
            </a:r>
          </a:p>
        </p:txBody>
      </p:sp>
      <p:pic>
        <p:nvPicPr>
          <p:cNvPr id="4" name="Picture 3">
            <a:extLst>
              <a:ext uri="{FF2B5EF4-FFF2-40B4-BE49-F238E27FC236}">
                <a16:creationId xmlns:a16="http://schemas.microsoft.com/office/drawing/2014/main" xmlns="" id="{95F20ACA-8AEF-41AE-A310-3B1426F5E4E6}"/>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367179431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matchingName="End Slide 4" preserve="1" userDrawn="1">
  <p:cSld name="End Slid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843963-C518-4447-9E83-A30F66BBBF02}"/>
              </a:ext>
            </a:extLst>
          </p:cNvPr>
          <p:cNvSpPr>
            <a:spLocks noGrp="1"/>
          </p:cNvSpPr>
          <p:nvPr>
            <p:ph type="title"/>
          </p:nvPr>
        </p:nvSpPr>
        <p:spPr>
          <a:xfrm>
            <a:off x="695325" y="1556792"/>
            <a:ext cx="11017250" cy="692647"/>
          </a:xfrm>
        </p:spPr>
        <p:txBody>
          <a:bodyPr/>
          <a:lstStyle>
            <a:lvl1pPr>
              <a:defRPr sz="4800">
                <a:solidFill>
                  <a:schemeClr val="tx2"/>
                </a:solidFill>
                <a:latin typeface="SwissReSans Light" panose="020B0604020202020204" charset="0"/>
              </a:defRPr>
            </a:lvl1pPr>
          </a:lstStyle>
          <a:p>
            <a:r>
              <a:rPr lang="en-US"/>
              <a:t>Click to edit Master title style</a:t>
            </a:r>
            <a:endParaRPr lang="en-GB"/>
          </a:p>
        </p:txBody>
      </p:sp>
      <p:sp>
        <p:nvSpPr>
          <p:cNvPr id="13" name="Text Placeholder 4">
            <a:extLst>
              <a:ext uri="{FF2B5EF4-FFF2-40B4-BE49-F238E27FC236}">
                <a16:creationId xmlns:a16="http://schemas.microsoft.com/office/drawing/2014/main" xmlns="" id="{912E097B-8B33-4A53-A464-F9DB356C0E34}"/>
              </a:ext>
            </a:extLst>
          </p:cNvPr>
          <p:cNvSpPr>
            <a:spLocks noGrp="1"/>
          </p:cNvSpPr>
          <p:nvPr>
            <p:ph type="body" sz="quarter" idx="15" hasCustomPrompt="1"/>
          </p:nvPr>
        </p:nvSpPr>
        <p:spPr>
          <a:xfrm>
            <a:off x="695324" y="5314979"/>
            <a:ext cx="2093973" cy="184666"/>
          </a:xfrm>
        </p:spPr>
        <p:txBody>
          <a:bodyPr anchor="t">
            <a:noAutofit/>
          </a:bodyPr>
          <a:lstStyle>
            <a:lvl1pPr marL="0" indent="0">
              <a:spcBef>
                <a:spcPts val="0"/>
              </a:spcBef>
              <a:buFontTx/>
              <a:buNone/>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Click to add name</a:t>
            </a:r>
          </a:p>
        </p:txBody>
      </p:sp>
      <p:sp>
        <p:nvSpPr>
          <p:cNvPr id="12" name="Text Placeholder 4">
            <a:extLst>
              <a:ext uri="{FF2B5EF4-FFF2-40B4-BE49-F238E27FC236}">
                <a16:creationId xmlns:a16="http://schemas.microsoft.com/office/drawing/2014/main" xmlns="" id="{5D0866EC-5ED0-45CD-A896-C7F91D657F75}"/>
              </a:ext>
            </a:extLst>
          </p:cNvPr>
          <p:cNvSpPr>
            <a:spLocks noGrp="1"/>
          </p:cNvSpPr>
          <p:nvPr>
            <p:ph type="body" sz="quarter" idx="16"/>
          </p:nvPr>
        </p:nvSpPr>
        <p:spPr>
          <a:xfrm>
            <a:off x="695325" y="3934159"/>
            <a:ext cx="6828222" cy="27699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sp>
        <p:nvSpPr>
          <p:cNvPr id="15" name="Text Placeholder 4">
            <a:extLst>
              <a:ext uri="{FF2B5EF4-FFF2-40B4-BE49-F238E27FC236}">
                <a16:creationId xmlns:a16="http://schemas.microsoft.com/office/drawing/2014/main" xmlns="" id="{79104C73-C903-4C9D-971F-ADC82F7CD979}"/>
              </a:ext>
            </a:extLst>
          </p:cNvPr>
          <p:cNvSpPr>
            <a:spLocks noGrp="1"/>
          </p:cNvSpPr>
          <p:nvPr>
            <p:ph type="body" sz="quarter" idx="17" hasCustomPrompt="1"/>
          </p:nvPr>
        </p:nvSpPr>
        <p:spPr>
          <a:xfrm>
            <a:off x="69532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6" name="Text Placeholder 4">
            <a:extLst>
              <a:ext uri="{FF2B5EF4-FFF2-40B4-BE49-F238E27FC236}">
                <a16:creationId xmlns:a16="http://schemas.microsoft.com/office/drawing/2014/main" xmlns="" id="{B6AAA0F8-4641-419D-A8C4-5B42FAFD19D1}"/>
              </a:ext>
            </a:extLst>
          </p:cNvPr>
          <p:cNvSpPr>
            <a:spLocks noGrp="1"/>
          </p:cNvSpPr>
          <p:nvPr>
            <p:ph type="body" sz="quarter" idx="18" hasCustomPrompt="1"/>
          </p:nvPr>
        </p:nvSpPr>
        <p:spPr>
          <a:xfrm>
            <a:off x="5429574"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7" name="Text Placeholder 4">
            <a:extLst>
              <a:ext uri="{FF2B5EF4-FFF2-40B4-BE49-F238E27FC236}">
                <a16:creationId xmlns:a16="http://schemas.microsoft.com/office/drawing/2014/main" xmlns="" id="{70E9C7E7-7CB8-4425-A5B3-2DE14A5750AA}"/>
              </a:ext>
            </a:extLst>
          </p:cNvPr>
          <p:cNvSpPr>
            <a:spLocks noGrp="1"/>
          </p:cNvSpPr>
          <p:nvPr>
            <p:ph type="body" sz="quarter" idx="19" hasCustomPrompt="1"/>
          </p:nvPr>
        </p:nvSpPr>
        <p:spPr>
          <a:xfrm>
            <a:off x="5429574"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18" name="Text Placeholder 4">
            <a:extLst>
              <a:ext uri="{FF2B5EF4-FFF2-40B4-BE49-F238E27FC236}">
                <a16:creationId xmlns:a16="http://schemas.microsoft.com/office/drawing/2014/main" xmlns="" id="{B41A1806-731A-4E83-BB0C-A9548663CFD0}"/>
              </a:ext>
            </a:extLst>
          </p:cNvPr>
          <p:cNvSpPr>
            <a:spLocks noGrp="1"/>
          </p:cNvSpPr>
          <p:nvPr>
            <p:ph type="body" sz="quarter" idx="20" hasCustomPrompt="1"/>
          </p:nvPr>
        </p:nvSpPr>
        <p:spPr>
          <a:xfrm>
            <a:off x="3062449" y="5314979"/>
            <a:ext cx="2093973" cy="184666"/>
          </a:xfrm>
        </p:spPr>
        <p:txBody>
          <a:bodyPr anchor="t">
            <a:noAutofit/>
          </a:bodyPr>
          <a:lstStyle>
            <a:lvl1pPr marL="0" marR="0" indent="0" algn="l" defTabSz="914400" rtl="0" eaLnBrk="1" fontAlgn="auto" latinLnBrk="0" hangingPunct="1">
              <a:lnSpc>
                <a:spcPct val="100000"/>
              </a:lnSpc>
              <a:spcBef>
                <a:spcPts val="0"/>
              </a:spcBef>
              <a:spcAft>
                <a:spcPts val="0"/>
              </a:spcAft>
              <a:buClrTx/>
              <a:buSzPct val="100000"/>
              <a:buFontTx/>
              <a:buNone/>
              <a:tabLst/>
              <a:defRPr sz="1200" b="1">
                <a:solidFill>
                  <a:schemeClr val="tx1"/>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lang="en-GB"/>
              <a:t>Click to add name</a:t>
            </a:r>
          </a:p>
        </p:txBody>
      </p:sp>
      <p:sp>
        <p:nvSpPr>
          <p:cNvPr id="19" name="Text Placeholder 4">
            <a:extLst>
              <a:ext uri="{FF2B5EF4-FFF2-40B4-BE49-F238E27FC236}">
                <a16:creationId xmlns:a16="http://schemas.microsoft.com/office/drawing/2014/main" xmlns="" id="{6F4CECFD-0A5E-4297-9C69-2A932A779749}"/>
              </a:ext>
            </a:extLst>
          </p:cNvPr>
          <p:cNvSpPr>
            <a:spLocks noGrp="1"/>
          </p:cNvSpPr>
          <p:nvPr>
            <p:ph type="body" sz="quarter" idx="21" hasCustomPrompt="1"/>
          </p:nvPr>
        </p:nvSpPr>
        <p:spPr>
          <a:xfrm>
            <a:off x="3062449" y="5505327"/>
            <a:ext cx="2093973" cy="553998"/>
          </a:xfrm>
        </p:spPr>
        <p:txBody>
          <a:bodyPr anchor="t">
            <a:noAutofit/>
          </a:bodyPr>
          <a:lstStyle>
            <a:lvl1pPr marL="0" indent="0">
              <a:spcBef>
                <a:spcPts val="0"/>
              </a:spcBef>
              <a:buFontTx/>
              <a:buNone/>
              <a:defRPr sz="1200">
                <a:solidFill>
                  <a:schemeClr val="tx1"/>
                </a:solidFill>
                <a:latin typeface="SwissReSans" panose="020B060402020202020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GB"/>
              <a:t>Job title</a:t>
            </a:r>
            <a:br>
              <a:rPr lang="en-GB"/>
            </a:br>
            <a:r>
              <a:rPr lang="en-GB"/>
              <a:t>name@swissre.com</a:t>
            </a:r>
            <a:br>
              <a:rPr lang="en-GB"/>
            </a:br>
            <a:r>
              <a:rPr lang="en-GB"/>
              <a:t>000 0000 0000</a:t>
            </a:r>
          </a:p>
        </p:txBody>
      </p:sp>
      <p:sp>
        <p:nvSpPr>
          <p:cNvPr id="20" name="Text Placeholder 4">
            <a:extLst>
              <a:ext uri="{FF2B5EF4-FFF2-40B4-BE49-F238E27FC236}">
                <a16:creationId xmlns:a16="http://schemas.microsoft.com/office/drawing/2014/main" xmlns="" id="{75837384-8E7C-48B1-93BA-43E60422F050}"/>
              </a:ext>
            </a:extLst>
          </p:cNvPr>
          <p:cNvSpPr>
            <a:spLocks noGrp="1"/>
          </p:cNvSpPr>
          <p:nvPr>
            <p:ph type="body" sz="quarter" idx="22"/>
          </p:nvPr>
        </p:nvSpPr>
        <p:spPr>
          <a:xfrm>
            <a:off x="8328173" y="4077072"/>
            <a:ext cx="3384402" cy="310639"/>
          </a:xfrm>
        </p:spPr>
        <p:txBody>
          <a:bodyPr anchor="t"/>
          <a:lstStyle>
            <a:lvl1pPr marL="0" indent="0">
              <a:spcBef>
                <a:spcPts val="0"/>
              </a:spcBef>
              <a:buFontTx/>
              <a:buNone/>
              <a:defRPr sz="1600">
                <a:solidFill>
                  <a:schemeClr val="tx2"/>
                </a:solidFill>
                <a:latin typeface="+mn-lt"/>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cxnSp>
        <p:nvCxnSpPr>
          <p:cNvPr id="11" name="Straight Connector 10">
            <a:extLst>
              <a:ext uri="{FF2B5EF4-FFF2-40B4-BE49-F238E27FC236}">
                <a16:creationId xmlns:a16="http://schemas.microsoft.com/office/drawing/2014/main" xmlns="" id="{E0F28C5D-8845-4047-8415-327CB3F2CACD}"/>
              </a:ext>
            </a:extLst>
          </p:cNvPr>
          <p:cNvCxnSpPr>
            <a:cxnSpLocks/>
          </p:cNvCxnSpPr>
          <p:nvPr userDrawn="1"/>
        </p:nvCxnSpPr>
        <p:spPr>
          <a:xfrm>
            <a:off x="8119367" y="4093739"/>
            <a:ext cx="0" cy="19440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xmlns="" id="{69F551F4-30A0-42FA-8222-588014C02762}"/>
              </a:ext>
            </a:extLst>
          </p:cNvPr>
          <p:cNvSpPr>
            <a:spLocks noGrp="1"/>
          </p:cNvSpPr>
          <p:nvPr>
            <p:ph type="pic" sz="quarter" idx="23" hasCustomPrompt="1"/>
          </p:nvPr>
        </p:nvSpPr>
        <p:spPr bwMode="gray">
          <a:xfrm>
            <a:off x="695325"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3" name="Picture Placeholder 3">
            <a:extLst>
              <a:ext uri="{FF2B5EF4-FFF2-40B4-BE49-F238E27FC236}">
                <a16:creationId xmlns:a16="http://schemas.microsoft.com/office/drawing/2014/main" xmlns="" id="{ADE6BCF2-2380-46A1-8C25-731905BB2B01}"/>
              </a:ext>
            </a:extLst>
          </p:cNvPr>
          <p:cNvSpPr>
            <a:spLocks noGrp="1"/>
          </p:cNvSpPr>
          <p:nvPr>
            <p:ph type="pic" sz="quarter" idx="24" hasCustomPrompt="1"/>
          </p:nvPr>
        </p:nvSpPr>
        <p:spPr bwMode="gray">
          <a:xfrm>
            <a:off x="3062449"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4" name="Picture Placeholder 3">
            <a:extLst>
              <a:ext uri="{FF2B5EF4-FFF2-40B4-BE49-F238E27FC236}">
                <a16:creationId xmlns:a16="http://schemas.microsoft.com/office/drawing/2014/main" xmlns="" id="{C7366075-1CD2-44CA-AA8D-8DB1F77AC580}"/>
              </a:ext>
            </a:extLst>
          </p:cNvPr>
          <p:cNvSpPr>
            <a:spLocks noGrp="1"/>
          </p:cNvSpPr>
          <p:nvPr>
            <p:ph type="pic" sz="quarter" idx="25" hasCustomPrompt="1"/>
          </p:nvPr>
        </p:nvSpPr>
        <p:spPr bwMode="gray">
          <a:xfrm>
            <a:off x="5429573" y="4427610"/>
            <a:ext cx="756000" cy="756000"/>
          </a:xfrm>
          <a:prstGeom prst="ellipse">
            <a:avLst/>
          </a:prstGeom>
        </p:spPr>
        <p:txBody>
          <a:bodyPr tIns="360000" anchor="ctr" anchorCtr="0"/>
          <a:lstStyle>
            <a:lvl1pPr marL="0" indent="0" algn="ctr">
              <a:buNone/>
              <a:defRPr sz="900">
                <a:solidFill>
                  <a:srgbClr val="A8BAB2"/>
                </a:solidFill>
              </a:defRPr>
            </a:lvl1pPr>
          </a:lstStyle>
          <a:p>
            <a:r>
              <a:rPr lang="en-US" noProof="0"/>
              <a:t>Add picture</a:t>
            </a:r>
          </a:p>
        </p:txBody>
      </p:sp>
      <p:sp>
        <p:nvSpPr>
          <p:cNvPr id="22" name="Picture Placeholder 9">
            <a:extLst>
              <a:ext uri="{FF2B5EF4-FFF2-40B4-BE49-F238E27FC236}">
                <a16:creationId xmlns:a16="http://schemas.microsoft.com/office/drawing/2014/main" xmlns="" id="{648D5C41-1D22-4084-B72C-691EECE7BD19}"/>
              </a:ext>
            </a:extLst>
          </p:cNvPr>
          <p:cNvSpPr>
            <a:spLocks noGrp="1"/>
          </p:cNvSpPr>
          <p:nvPr>
            <p:ph type="pic" sz="quarter" idx="26" hasCustomPrompt="1"/>
          </p:nvPr>
        </p:nvSpPr>
        <p:spPr>
          <a:xfrm>
            <a:off x="8325162" y="4595414"/>
            <a:ext cx="324000" cy="324000"/>
          </a:xfrm>
        </p:spPr>
        <p:txBody>
          <a:bodyPr/>
          <a:lstStyle>
            <a:lvl1pPr marL="0" indent="0">
              <a:buNone/>
              <a:defRPr sz="800">
                <a:solidFill>
                  <a:schemeClr val="bg1"/>
                </a:solidFill>
              </a:defRPr>
            </a:lvl1pPr>
          </a:lstStyle>
          <a:p>
            <a:r>
              <a:rPr lang="de-CH"/>
              <a:t> </a:t>
            </a:r>
          </a:p>
        </p:txBody>
      </p:sp>
      <p:sp>
        <p:nvSpPr>
          <p:cNvPr id="25" name="Picture Placeholder 9">
            <a:extLst>
              <a:ext uri="{FF2B5EF4-FFF2-40B4-BE49-F238E27FC236}">
                <a16:creationId xmlns:a16="http://schemas.microsoft.com/office/drawing/2014/main" xmlns="" id="{981C71BD-3572-4D3E-A439-282B46934A53}"/>
              </a:ext>
            </a:extLst>
          </p:cNvPr>
          <p:cNvSpPr>
            <a:spLocks noGrp="1"/>
          </p:cNvSpPr>
          <p:nvPr>
            <p:ph type="pic" sz="quarter" idx="27" hasCustomPrompt="1"/>
          </p:nvPr>
        </p:nvSpPr>
        <p:spPr>
          <a:xfrm>
            <a:off x="8793162" y="4595414"/>
            <a:ext cx="324000" cy="324000"/>
          </a:xfrm>
        </p:spPr>
        <p:txBody>
          <a:bodyPr/>
          <a:lstStyle>
            <a:lvl1pPr marL="0" indent="0">
              <a:buNone/>
              <a:defRPr sz="800">
                <a:solidFill>
                  <a:schemeClr val="bg1"/>
                </a:solidFill>
              </a:defRPr>
            </a:lvl1pPr>
          </a:lstStyle>
          <a:p>
            <a:r>
              <a:rPr lang="de-CH"/>
              <a:t> </a:t>
            </a:r>
          </a:p>
        </p:txBody>
      </p:sp>
      <p:sp>
        <p:nvSpPr>
          <p:cNvPr id="26" name="Picture Placeholder 9">
            <a:extLst>
              <a:ext uri="{FF2B5EF4-FFF2-40B4-BE49-F238E27FC236}">
                <a16:creationId xmlns:a16="http://schemas.microsoft.com/office/drawing/2014/main" xmlns="" id="{1E38F592-CD50-44D2-ADAF-E5E00BA23CFF}"/>
              </a:ext>
            </a:extLst>
          </p:cNvPr>
          <p:cNvSpPr>
            <a:spLocks noGrp="1"/>
          </p:cNvSpPr>
          <p:nvPr>
            <p:ph type="pic" sz="quarter" idx="28" hasCustomPrompt="1"/>
          </p:nvPr>
        </p:nvSpPr>
        <p:spPr>
          <a:xfrm>
            <a:off x="9261162" y="4595414"/>
            <a:ext cx="324000" cy="324000"/>
          </a:xfrm>
        </p:spPr>
        <p:txBody>
          <a:bodyPr/>
          <a:lstStyle>
            <a:lvl1pPr marL="0" indent="0">
              <a:buNone/>
              <a:defRPr sz="800">
                <a:solidFill>
                  <a:schemeClr val="bg1"/>
                </a:solidFill>
              </a:defRPr>
            </a:lvl1pPr>
          </a:lstStyle>
          <a:p>
            <a:r>
              <a:rPr lang="de-CH"/>
              <a:t> </a:t>
            </a:r>
          </a:p>
        </p:txBody>
      </p:sp>
      <p:sp>
        <p:nvSpPr>
          <p:cNvPr id="27" name="Picture Placeholder 9">
            <a:extLst>
              <a:ext uri="{FF2B5EF4-FFF2-40B4-BE49-F238E27FC236}">
                <a16:creationId xmlns:a16="http://schemas.microsoft.com/office/drawing/2014/main" xmlns="" id="{B9CBBAEC-D478-4957-A994-1732847F9DC2}"/>
              </a:ext>
            </a:extLst>
          </p:cNvPr>
          <p:cNvSpPr>
            <a:spLocks noGrp="1"/>
          </p:cNvSpPr>
          <p:nvPr>
            <p:ph type="pic" sz="quarter" idx="29" hasCustomPrompt="1"/>
          </p:nvPr>
        </p:nvSpPr>
        <p:spPr>
          <a:xfrm>
            <a:off x="9729162" y="4595414"/>
            <a:ext cx="324000" cy="324000"/>
          </a:xfrm>
        </p:spPr>
        <p:txBody>
          <a:bodyPr/>
          <a:lstStyle>
            <a:lvl1pPr marL="0" indent="0">
              <a:buNone/>
              <a:defRPr sz="800">
                <a:solidFill>
                  <a:schemeClr val="bg1"/>
                </a:solidFill>
              </a:defRPr>
            </a:lvl1pPr>
          </a:lstStyle>
          <a:p>
            <a:r>
              <a:rPr lang="de-CH"/>
              <a:t> </a:t>
            </a:r>
          </a:p>
        </p:txBody>
      </p:sp>
      <p:sp>
        <p:nvSpPr>
          <p:cNvPr id="28" name="Picture Placeholder 9">
            <a:extLst>
              <a:ext uri="{FF2B5EF4-FFF2-40B4-BE49-F238E27FC236}">
                <a16:creationId xmlns:a16="http://schemas.microsoft.com/office/drawing/2014/main" xmlns="" id="{F35FD1BB-F5B0-4478-8DB8-91AFB5811699}"/>
              </a:ext>
            </a:extLst>
          </p:cNvPr>
          <p:cNvSpPr>
            <a:spLocks noGrp="1"/>
          </p:cNvSpPr>
          <p:nvPr>
            <p:ph type="pic" sz="quarter" idx="30" hasCustomPrompt="1"/>
          </p:nvPr>
        </p:nvSpPr>
        <p:spPr>
          <a:xfrm>
            <a:off x="10197162" y="4595414"/>
            <a:ext cx="324000" cy="324000"/>
          </a:xfrm>
        </p:spPr>
        <p:txBody>
          <a:bodyPr/>
          <a:lstStyle>
            <a:lvl1pPr marL="0" indent="0">
              <a:buNone/>
              <a:defRPr sz="800">
                <a:solidFill>
                  <a:schemeClr val="bg1"/>
                </a:solidFill>
              </a:defRPr>
            </a:lvl1pPr>
          </a:lstStyle>
          <a:p>
            <a:r>
              <a:rPr lang="de-CH"/>
              <a:t> </a:t>
            </a:r>
          </a:p>
        </p:txBody>
      </p:sp>
      <p:pic>
        <p:nvPicPr>
          <p:cNvPr id="5" name="Picture 4">
            <a:extLst>
              <a:ext uri="{FF2B5EF4-FFF2-40B4-BE49-F238E27FC236}">
                <a16:creationId xmlns:a16="http://schemas.microsoft.com/office/drawing/2014/main" xmlns="" id="{037D6BBA-59BA-4F89-9EBE-9315BE756892}"/>
              </a:ext>
            </a:extLst>
          </p:cNvPr>
          <p:cNvPicPr>
            <a:picLocks noChangeAspect="1"/>
          </p:cNvPicPr>
          <p:nvPr userDrawn="1">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234568957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93313209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279DE1F-5E27-4B45-9D15-005F28CE4332}" type="slidenum">
              <a:rPr lang="en-GB"/>
              <a:pPr>
                <a:defRPr/>
              </a:pPr>
              <a:t>‹#›</a:t>
            </a:fld>
            <a:endParaRPr lang="en-GB"/>
          </a:p>
        </p:txBody>
      </p:sp>
    </p:spTree>
    <p:extLst>
      <p:ext uri="{BB962C8B-B14F-4D97-AF65-F5344CB8AC3E}">
        <p14:creationId xmlns:p14="http://schemas.microsoft.com/office/powerpoint/2010/main" val="2156837194"/>
      </p:ext>
    </p:extLst>
  </p:cSld>
  <p:clrMapOvr>
    <a:masterClrMapping/>
  </p:clrMapOvr>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A6321966-726A-4E9E-9E02-D49DCD2200A8}" type="slidenum">
              <a:rPr lang="en-GB"/>
              <a:pPr>
                <a:defRPr/>
              </a:pPr>
              <a:t>‹#›</a:t>
            </a:fld>
            <a:endParaRPr lang="en-GB"/>
          </a:p>
        </p:txBody>
      </p:sp>
    </p:spTree>
    <p:extLst>
      <p:ext uri="{BB962C8B-B14F-4D97-AF65-F5344CB8AC3E}">
        <p14:creationId xmlns:p14="http://schemas.microsoft.com/office/powerpoint/2010/main" val="13596831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5732559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573399038"/>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FA6E245-2043-4183-82FC-0A7BD6A0EBFD}" type="slidenum">
              <a:rPr lang="en-GB"/>
              <a:pPr>
                <a:defRPr/>
              </a:pPr>
              <a:t>‹#›</a:t>
            </a:fld>
            <a:endParaRPr lang="en-GB"/>
          </a:p>
        </p:txBody>
      </p:sp>
    </p:spTree>
    <p:extLst>
      <p:ext uri="{BB962C8B-B14F-4D97-AF65-F5344CB8AC3E}">
        <p14:creationId xmlns:p14="http://schemas.microsoft.com/office/powerpoint/2010/main" val="983871622"/>
      </p:ext>
    </p:extLst>
  </p:cSld>
  <p:clrMapOvr>
    <a:masterClrMapping/>
  </p:clrMapOvr>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endParaRPr lang="en-GB"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GB" dirty="0"/>
          </a:p>
        </p:txBody>
      </p:sp>
      <p:sp>
        <p:nvSpPr>
          <p:cNvPr id="7" name="Rectangle 6"/>
          <p:cNvSpPr>
            <a:spLocks noGrp="1" noChangeArrowheads="1"/>
          </p:cNvSpPr>
          <p:nvPr>
            <p:ph type="sldNum" sz="quarter" idx="12"/>
          </p:nvPr>
        </p:nvSpPr>
        <p:spPr>
          <a:ln/>
        </p:spPr>
        <p:txBody>
          <a:bodyPr/>
          <a:lstStyle>
            <a:lvl1pPr>
              <a:defRPr/>
            </a:lvl1pPr>
          </a:lstStyle>
          <a:p>
            <a:pPr>
              <a:defRPr/>
            </a:pPr>
            <a:fld id="{93A73AEE-D506-4373-89E6-5210E2A754A0}" type="slidenum">
              <a:rPr lang="en-GB"/>
              <a:pPr>
                <a:defRPr/>
              </a:pPr>
              <a:t>‹#›</a:t>
            </a:fld>
            <a:endParaRPr lang="en-GB" dirty="0"/>
          </a:p>
        </p:txBody>
      </p:sp>
      <p:grpSp>
        <p:nvGrpSpPr>
          <p:cNvPr id="8" name="Group 10"/>
          <p:cNvGrpSpPr/>
          <p:nvPr userDrawn="1"/>
        </p:nvGrpSpPr>
        <p:grpSpPr>
          <a:xfrm>
            <a:off x="359371" y="228600"/>
            <a:ext cx="11832629" cy="1284827"/>
            <a:chOff x="269528" y="5496973"/>
            <a:chExt cx="8874472" cy="1284827"/>
          </a:xfrm>
        </p:grpSpPr>
        <p:pic>
          <p:nvPicPr>
            <p:cNvPr id="9" name="Picture 2"/>
            <p:cNvPicPr>
              <a:picLocks noChangeAspect="1" noChangeArrowheads="1"/>
            </p:cNvPicPr>
            <p:nvPr/>
          </p:nvPicPr>
          <p:blipFill>
            <a:blip r:embed="rId2" cstate="print"/>
            <a:srcRect/>
            <a:stretch>
              <a:fillRect/>
            </a:stretch>
          </p:blipFill>
          <p:spPr bwMode="auto">
            <a:xfrm>
              <a:off x="269528" y="5496973"/>
              <a:ext cx="1483072" cy="1284827"/>
            </a:xfrm>
            <a:prstGeom prst="rect">
              <a:avLst/>
            </a:prstGeom>
            <a:noFill/>
            <a:ln w="9525">
              <a:noFill/>
              <a:miter lim="800000"/>
              <a:headEnd/>
              <a:tailEnd/>
            </a:ln>
          </p:spPr>
        </p:pic>
        <p:sp>
          <p:nvSpPr>
            <p:cNvPr id="10" name="Rectangle 5"/>
            <p:cNvSpPr>
              <a:spLocks noChangeArrowheads="1"/>
            </p:cNvSpPr>
            <p:nvPr/>
          </p:nvSpPr>
          <p:spPr bwMode="auto">
            <a:xfrm rot="10800000" flipV="1">
              <a:off x="1752600" y="5820488"/>
              <a:ext cx="73914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4000" b="1" i="0" u="none" strike="noStrike" cap="none" normalizeH="0" baseline="0" dirty="0">
                  <a:ln>
                    <a:noFill/>
                  </a:ln>
                  <a:solidFill>
                    <a:srgbClr val="1F497D"/>
                  </a:solidFill>
                  <a:effectLst/>
                  <a:latin typeface="Bahamas" pitchFamily="34" charset="0"/>
                  <a:cs typeface="Times New Roman" pitchFamily="18" charset="0"/>
                </a:rPr>
                <a:t>Institute of Actuaries of India</a:t>
              </a:r>
              <a:endParaRPr kumimoji="0" lang="en-US" sz="4000" b="1" i="0" u="none" strike="noStrike" cap="none" normalizeH="0" baseline="0" dirty="0">
                <a:ln>
                  <a:noFill/>
                </a:ln>
                <a:solidFill>
                  <a:schemeClr val="tx1"/>
                </a:solidFill>
                <a:effectLst/>
                <a:latin typeface="Bahamas" pitchFamily="34" charset="0"/>
                <a:cs typeface="Times New Roman" pitchFamily="18" charset="0"/>
              </a:endParaRPr>
            </a:p>
          </p:txBody>
        </p:sp>
      </p:grpSp>
      <p:sp>
        <p:nvSpPr>
          <p:cNvPr id="11" name="Rectangle 10"/>
          <p:cNvSpPr/>
          <p:nvPr userDrawn="1"/>
        </p:nvSpPr>
        <p:spPr>
          <a:xfrm>
            <a:off x="0" y="2743201"/>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Title</a:t>
            </a:r>
          </a:p>
        </p:txBody>
      </p:sp>
      <p:sp>
        <p:nvSpPr>
          <p:cNvPr id="12" name="Rectangle 11"/>
          <p:cNvSpPr/>
          <p:nvPr userDrawn="1"/>
        </p:nvSpPr>
        <p:spPr>
          <a:xfrm>
            <a:off x="0" y="3733800"/>
            <a:ext cx="12192000" cy="830997"/>
          </a:xfrm>
          <a:prstGeom prst="rect">
            <a:avLst/>
          </a:prstGeom>
        </p:spPr>
        <p:txBody>
          <a:bodyPr wrap="square">
            <a:spAutoFit/>
          </a:bodyPr>
          <a:lstStyle/>
          <a:p>
            <a:pPr algn="ctr">
              <a:buNone/>
            </a:pPr>
            <a:r>
              <a:rPr lang="en-US" sz="4800" b="1" dirty="0">
                <a:latin typeface="Garamond" pitchFamily="18" charset="0"/>
                <a:ea typeface="Verdana" pitchFamily="34" charset="0"/>
                <a:cs typeface="Verdana" pitchFamily="34" charset="0"/>
              </a:rPr>
              <a:t>By</a:t>
            </a:r>
          </a:p>
        </p:txBody>
      </p:sp>
    </p:spTree>
    <p:extLst>
      <p:ext uri="{BB962C8B-B14F-4D97-AF65-F5344CB8AC3E}">
        <p14:creationId xmlns:p14="http://schemas.microsoft.com/office/powerpoint/2010/main" val="4024360050"/>
      </p:ext>
    </p:extLst>
  </p:cSld>
  <p:clrMapOvr>
    <a:masterClrMapping/>
  </p:clrMapOvr>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2EF8FD5A-4369-451A-AE4B-9EB0FD82F618}" type="slidenum">
              <a:rPr lang="en-GB"/>
              <a:pPr>
                <a:defRPr/>
              </a:pPr>
              <a:t>‹#›</a:t>
            </a:fld>
            <a:endParaRPr lang="en-GB"/>
          </a:p>
        </p:txBody>
      </p:sp>
    </p:spTree>
    <p:extLst>
      <p:ext uri="{BB962C8B-B14F-4D97-AF65-F5344CB8AC3E}">
        <p14:creationId xmlns:p14="http://schemas.microsoft.com/office/powerpoint/2010/main" val="64258038"/>
      </p:ext>
    </p:extLst>
  </p:cSld>
  <p:clrMapOvr>
    <a:masterClrMapping/>
  </p:clrMapOvr>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D629C963-6CA3-4910-ACAB-89103C5891B0}" type="slidenum">
              <a:rPr lang="en-GB"/>
              <a:pPr>
                <a:defRPr/>
              </a:pPr>
              <a:t>‹#›</a:t>
            </a:fld>
            <a:endParaRPr lang="en-GB"/>
          </a:p>
        </p:txBody>
      </p:sp>
    </p:spTree>
    <p:extLst>
      <p:ext uri="{BB962C8B-B14F-4D97-AF65-F5344CB8AC3E}">
        <p14:creationId xmlns:p14="http://schemas.microsoft.com/office/powerpoint/2010/main" val="535559458"/>
      </p:ext>
    </p:extLst>
  </p:cSld>
  <p:clrMapOvr>
    <a:masterClrMapping/>
  </p:clrMapOv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162864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61555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4074950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4900267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6638206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40769703"/>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181014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377204507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770804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fld id="{6C9742EC-FA71-4C50-8BFD-30643A682C59}" type="datetime1">
              <a:rPr lang="en-US" smtClean="0">
                <a:solidFill>
                  <a:srgbClr val="000000"/>
                </a:solidFill>
              </a:rPr>
              <a:pPr>
                <a:defRPr/>
              </a:pPr>
              <a:t>8/26/2021</a:t>
            </a:fld>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279DE1F-5E27-4B45-9D15-005F28CE4332}"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046539110"/>
      </p:ext>
    </p:extLst>
  </p:cSld>
  <p:clrMapOvr>
    <a:masterClrMapping/>
  </p:clrMapOvr>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fld id="{A1250BF1-5465-4487-9321-9504D38595A9}" type="datetime1">
              <a:rPr lang="en-US" smtClean="0">
                <a:solidFill>
                  <a:srgbClr val="000000"/>
                </a:solidFill>
              </a:rPr>
              <a:pPr>
                <a:defRPr/>
              </a:pPr>
              <a:t>8/26/2021</a:t>
            </a:fld>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6321966-726A-4E9E-9E02-D49DCD2200A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094777036"/>
      </p:ext>
    </p:extLst>
  </p:cSld>
  <p:clrMapOvr>
    <a:masterClrMapping/>
  </p:clrMapOvr>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E4997345-A088-4875-9CF4-AD1C9B58EBA9}" type="datetime1">
              <a:rPr lang="en-US" smtClean="0">
                <a:solidFill>
                  <a:srgbClr val="000000"/>
                </a:solidFill>
              </a:rPr>
              <a:pPr>
                <a:defRPr/>
              </a:pPr>
              <a:t>8/26/2021</a:t>
            </a:fld>
            <a:endParaRPr lang="en-GB">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FA6E245-2043-4183-82FC-0A7BD6A0EBF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3045320796"/>
      </p:ext>
    </p:extLst>
  </p:cSld>
  <p:clrMapOvr>
    <a:masterClrMapping/>
  </p:clrMapOvr>
  <p:transition/>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a:spLocks noGrp="1" noChangeArrowheads="1"/>
          </p:cNvSpPr>
          <p:nvPr>
            <p:ph type="dt" sz="half" idx="10"/>
          </p:nvPr>
        </p:nvSpPr>
        <p:spPr>
          <a:ln/>
        </p:spPr>
        <p:txBody>
          <a:bodyPr/>
          <a:lstStyle>
            <a:lvl1pPr>
              <a:defRPr/>
            </a:lvl1pPr>
          </a:lstStyle>
          <a:p>
            <a:pPr>
              <a:defRPr/>
            </a:pPr>
            <a:fld id="{6C94AF2E-CDCB-43D0-90FA-8579A6DB77D7}" type="datetime1">
              <a:rPr lang="en-US" smtClean="0">
                <a:solidFill>
                  <a:srgbClr val="000000"/>
                </a:solidFill>
              </a:rPr>
              <a:pPr>
                <a:defRPr/>
              </a:pPr>
              <a:t>8/26/2021</a:t>
            </a:fld>
            <a:endParaRPr lang="en-GB"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GB"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3A73AEE-D506-4373-89E6-5210E2A754A0}" type="slidenum">
              <a:rPr lang="en-GB">
                <a:solidFill>
                  <a:srgbClr val="000000"/>
                </a:solidFill>
              </a:rPr>
              <a:pPr>
                <a:defRPr/>
              </a:pPr>
              <a:t>‹#›</a:t>
            </a:fld>
            <a:endParaRPr lang="en-GB" dirty="0">
              <a:solidFill>
                <a:srgbClr val="000000"/>
              </a:solidFill>
            </a:endParaRPr>
          </a:p>
        </p:txBody>
      </p:sp>
      <p:grpSp>
        <p:nvGrpSpPr>
          <p:cNvPr id="8" name="Group 10"/>
          <p:cNvGrpSpPr/>
          <p:nvPr userDrawn="1"/>
        </p:nvGrpSpPr>
        <p:grpSpPr>
          <a:xfrm>
            <a:off x="359371" y="228600"/>
            <a:ext cx="11832629" cy="1284827"/>
            <a:chOff x="269528" y="5496973"/>
            <a:chExt cx="8874472" cy="1284827"/>
          </a:xfrm>
        </p:grpSpPr>
        <p:pic>
          <p:nvPicPr>
            <p:cNvPr id="9" name="Picture 2"/>
            <p:cNvPicPr>
              <a:picLocks noChangeAspect="1" noChangeArrowheads="1"/>
            </p:cNvPicPr>
            <p:nvPr/>
          </p:nvPicPr>
          <p:blipFill>
            <a:blip r:embed="rId2" cstate="print"/>
            <a:srcRect/>
            <a:stretch>
              <a:fillRect/>
            </a:stretch>
          </p:blipFill>
          <p:spPr bwMode="auto">
            <a:xfrm>
              <a:off x="269528" y="5496973"/>
              <a:ext cx="1483072" cy="1284827"/>
            </a:xfrm>
            <a:prstGeom prst="rect">
              <a:avLst/>
            </a:prstGeom>
            <a:noFill/>
            <a:ln w="9525">
              <a:noFill/>
              <a:miter lim="800000"/>
              <a:headEnd/>
              <a:tailEnd/>
            </a:ln>
          </p:spPr>
        </p:pic>
        <p:sp>
          <p:nvSpPr>
            <p:cNvPr id="10" name="Rectangle 5"/>
            <p:cNvSpPr>
              <a:spLocks noChangeArrowheads="1"/>
            </p:cNvSpPr>
            <p:nvPr/>
          </p:nvSpPr>
          <p:spPr bwMode="auto">
            <a:xfrm rot="10800000" flipV="1">
              <a:off x="1752600" y="5820488"/>
              <a:ext cx="73914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fontAlgn="base">
                <a:spcBef>
                  <a:spcPct val="0"/>
                </a:spcBef>
                <a:spcAft>
                  <a:spcPct val="0"/>
                </a:spcAft>
              </a:pPr>
              <a:r>
                <a:rPr lang="en-US" sz="4000" b="1" dirty="0">
                  <a:solidFill>
                    <a:srgbClr val="1F497D"/>
                  </a:solidFill>
                  <a:latin typeface="Bahamas" pitchFamily="34" charset="0"/>
                  <a:cs typeface="Times New Roman" pitchFamily="18" charset="0"/>
                </a:rPr>
                <a:t>Institute of Actuaries of India</a:t>
              </a:r>
              <a:endParaRPr lang="en-US" sz="4000" b="1" dirty="0">
                <a:solidFill>
                  <a:srgbClr val="000000"/>
                </a:solidFill>
                <a:latin typeface="Bahamas" pitchFamily="34" charset="0"/>
                <a:cs typeface="Times New Roman" pitchFamily="18" charset="0"/>
              </a:endParaRPr>
            </a:p>
          </p:txBody>
        </p:sp>
      </p:grpSp>
      <p:sp>
        <p:nvSpPr>
          <p:cNvPr id="11" name="Rectangle 10"/>
          <p:cNvSpPr/>
          <p:nvPr userDrawn="1"/>
        </p:nvSpPr>
        <p:spPr>
          <a:xfrm>
            <a:off x="0" y="2743201"/>
            <a:ext cx="12192000" cy="830997"/>
          </a:xfrm>
          <a:prstGeom prst="rect">
            <a:avLst/>
          </a:prstGeom>
        </p:spPr>
        <p:txBody>
          <a:bodyPr wrap="square">
            <a:spAutoFit/>
          </a:bodyPr>
          <a:lstStyle/>
          <a:p>
            <a:pPr algn="ctr"/>
            <a:r>
              <a:rPr lang="en-US" sz="4800" b="1" dirty="0">
                <a:solidFill>
                  <a:srgbClr val="000000"/>
                </a:solidFill>
                <a:latin typeface="Garamond" pitchFamily="18" charset="0"/>
                <a:ea typeface="Verdana" pitchFamily="34" charset="0"/>
                <a:cs typeface="Verdana" pitchFamily="34" charset="0"/>
              </a:rPr>
              <a:t>Title</a:t>
            </a:r>
          </a:p>
        </p:txBody>
      </p:sp>
      <p:sp>
        <p:nvSpPr>
          <p:cNvPr id="12" name="Rectangle 11"/>
          <p:cNvSpPr/>
          <p:nvPr userDrawn="1"/>
        </p:nvSpPr>
        <p:spPr>
          <a:xfrm>
            <a:off x="0" y="3733800"/>
            <a:ext cx="12192000" cy="830997"/>
          </a:xfrm>
          <a:prstGeom prst="rect">
            <a:avLst/>
          </a:prstGeom>
        </p:spPr>
        <p:txBody>
          <a:bodyPr wrap="square">
            <a:spAutoFit/>
          </a:bodyPr>
          <a:lstStyle/>
          <a:p>
            <a:pPr algn="ctr"/>
            <a:r>
              <a:rPr lang="en-US" sz="4800" b="1" dirty="0">
                <a:solidFill>
                  <a:srgbClr val="000000"/>
                </a:solidFill>
                <a:latin typeface="Garamond" pitchFamily="18" charset="0"/>
                <a:ea typeface="Verdana" pitchFamily="34" charset="0"/>
                <a:cs typeface="Verdana" pitchFamily="34" charset="0"/>
              </a:rPr>
              <a:t>By</a:t>
            </a:r>
          </a:p>
        </p:txBody>
      </p:sp>
    </p:spTree>
    <p:extLst>
      <p:ext uri="{BB962C8B-B14F-4D97-AF65-F5344CB8AC3E}">
        <p14:creationId xmlns:p14="http://schemas.microsoft.com/office/powerpoint/2010/main" val="3103371061"/>
      </p:ext>
    </p:extLst>
  </p:cSld>
  <p:clrMapOvr>
    <a:masterClrMapping/>
  </p:clrMapOvr>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Rectangle 4"/>
          <p:cNvSpPr>
            <a:spLocks noGrp="1" noChangeArrowheads="1"/>
          </p:cNvSpPr>
          <p:nvPr>
            <p:ph type="dt" sz="half" idx="10"/>
          </p:nvPr>
        </p:nvSpPr>
        <p:spPr>
          <a:ln/>
        </p:spPr>
        <p:txBody>
          <a:bodyPr/>
          <a:lstStyle>
            <a:lvl1pPr>
              <a:defRPr/>
            </a:lvl1pPr>
          </a:lstStyle>
          <a:p>
            <a:pPr>
              <a:defRPr/>
            </a:pPr>
            <a:fld id="{77B19868-33E4-49D6-8C42-F0B9A2F149D5}" type="datetime1">
              <a:rPr lang="en-US" smtClean="0">
                <a:solidFill>
                  <a:srgbClr val="000000"/>
                </a:solidFill>
              </a:rPr>
              <a:pPr>
                <a:defRPr/>
              </a:pPr>
              <a:t>8/26/2021</a:t>
            </a:fld>
            <a:endParaRPr lang="en-GB">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2EF8FD5A-4369-451A-AE4B-9EB0FD82F618}"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1968438348"/>
      </p:ext>
    </p:extLst>
  </p:cSld>
  <p:clrMapOvr>
    <a:masterClrMapping/>
  </p:clrMapOvr>
  <p:transition/>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4FCA39E-71A5-49A9-9CE5-3A90C37F413D}" type="datetime1">
              <a:rPr lang="en-US" smtClean="0">
                <a:solidFill>
                  <a:srgbClr val="000000"/>
                </a:solidFill>
              </a:rPr>
              <a:pPr>
                <a:defRPr/>
              </a:pPr>
              <a:t>8/26/2021</a:t>
            </a:fld>
            <a:endParaRPr lang="en-GB">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GB">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D629C963-6CA3-4910-ACAB-89103C5891B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1907241"/>
      </p:ext>
    </p:extLst>
  </p:cSld>
  <p:clrMapOvr>
    <a:masterClrMapping/>
  </p:clrMapOvr>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xmlns="" id="{EA5A1565-39A6-47C9-8195-E044208BF2DA}"/>
              </a:ext>
            </a:extLst>
          </p:cNvPr>
          <p:cNvSpPr>
            <a:spLocks noGrp="1" noChangeArrowheads="1"/>
          </p:cNvSpPr>
          <p:nvPr>
            <p:ph type="sldNum" sz="quarter" idx="12"/>
          </p:nvPr>
        </p:nvSpPr>
        <p:spPr>
          <a:xfrm>
            <a:off x="8737600" y="6248400"/>
            <a:ext cx="2540000" cy="457200"/>
          </a:xfrm>
          <a:ln/>
        </p:spPr>
        <p:txBody>
          <a:bodyPr/>
          <a:lstStyle>
            <a:lvl1pPr>
              <a:defRPr/>
            </a:lvl1pPr>
          </a:lstStyle>
          <a:p>
            <a:pPr>
              <a:defRPr/>
            </a:pPr>
            <a:fld id="{D629C963-6CA3-4910-ACAB-89103C5891B0}"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40350819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7075192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noProof="0"/>
          </a:p>
        </p:txBody>
      </p:sp>
      <p:sp>
        <p:nvSpPr>
          <p:cNvPr id="6" name="Footer Placeholder 5"/>
          <p:cNvSpPr>
            <a:spLocks noGrp="1"/>
          </p:cNvSpPr>
          <p:nvPr>
            <p:ph type="ftr" sz="quarter" idx="11"/>
          </p:nvPr>
        </p:nvSpPr>
        <p:spPr/>
        <p:txBody>
          <a:bodyPr/>
          <a:lstStyle/>
          <a:p>
            <a:endParaRPr lang="en-GB" noProof="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noProof="0" smtClean="0"/>
              <a:pPr/>
              <a:t>‹#›</a:t>
            </a:fld>
            <a:endParaRPr lang="en-GB"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FFFFFF"/>
              </a:solidFill>
              <a:latin typeface="SwissReSans" pitchFamily="34" charset="0"/>
              <a:ea typeface="+mn-ea"/>
              <a:cs typeface="+mn-cs"/>
            </a:endParaRP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5543880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GB" noProof="1"/>
              <a:t>Click to browse for an own image. </a:t>
            </a:r>
            <a:br>
              <a:rPr lang="en-GB" noProof="1"/>
            </a:br>
            <a:r>
              <a:rPr lang="en-GB" noProof="1"/>
              <a:t>Be careful to avoid an image that clashes </a:t>
            </a:r>
            <a:br>
              <a:rPr lang="en-GB" noProof="1"/>
            </a:br>
            <a:r>
              <a:rPr lang="en-GB"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4081696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7194685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912286" y="692151"/>
            <a:ext cx="4703660"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2711161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4111959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a:t>Click to edit Master text styles</a:t>
            </a:r>
          </a:p>
        </p:txBody>
      </p:sp>
    </p:spTree>
    <p:extLst>
      <p:ext uri="{BB962C8B-B14F-4D97-AF65-F5344CB8AC3E}">
        <p14:creationId xmlns:p14="http://schemas.microsoft.com/office/powerpoint/2010/main" val="2610529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3" name="Textplatzhalter 4"/>
          <p:cNvSpPr>
            <a:spLocks noGrp="1"/>
          </p:cNvSpPr>
          <p:nvPr>
            <p:ph type="body" sz="quarter" idx="14"/>
          </p:nvPr>
        </p:nvSpPr>
        <p:spPr bwMode="gray">
          <a:xfrm>
            <a:off x="7584000" y="2349000"/>
            <a:ext cx="2880000" cy="2160000"/>
          </a:xfrm>
          <a:prstGeom prst="ellipse">
            <a:avLst/>
          </a:prstGeom>
          <a:gradFill flip="none" rotWithShape="1">
            <a:gsLst>
              <a:gs pos="0">
                <a:schemeClr val="tx2"/>
              </a:gs>
              <a:gs pos="100000">
                <a:schemeClr val="bg2"/>
              </a:gs>
            </a:gsLst>
            <a:lin ang="0" scaled="1"/>
            <a:tileRect/>
          </a:gradFill>
        </p:spPr>
        <p:txBody>
          <a:bodyPr lIns="0"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6949451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35583314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matchingName="Contact Persons (4 people)" preserve="1" userDrawn="1">
  <p:cSld name="Contact Persons (4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5080719" y="727075"/>
            <a:ext cx="2400000" cy="1800000"/>
          </a:xfrm>
          <a:prstGeom prst="ellipse">
            <a:avLst/>
          </a:prstGeom>
        </p:spPr>
        <p:txBody>
          <a:bodyPr tIns="504000" anchor="ctr" anchorCtr="0"/>
          <a:lstStyle>
            <a:lvl1pPr marL="0" indent="0" algn="ctr">
              <a:buNone/>
              <a:defRPr sz="1400">
                <a:solidFill>
                  <a:srgbClr val="A8BAB2"/>
                </a:solidFill>
              </a:defRPr>
            </a:lvl1pPr>
          </a:lstStyle>
          <a:p>
            <a:r>
              <a:rPr lang="en-GB" noProof="0"/>
              <a:t>Add picture</a:t>
            </a:r>
          </a:p>
        </p:txBody>
      </p:sp>
      <p:sp>
        <p:nvSpPr>
          <p:cNvPr id="12" name="Picture Placeholder 3">
            <a:extLst>
              <a:ext uri="{FF2B5EF4-FFF2-40B4-BE49-F238E27FC236}">
                <a16:creationId xmlns:a16="http://schemas.microsoft.com/office/drawing/2014/main" xmlns="" id="{E58544BF-BC4A-44D7-9E17-8B9643442469}"/>
              </a:ext>
            </a:extLst>
          </p:cNvPr>
          <p:cNvSpPr>
            <a:spLocks noGrp="1"/>
          </p:cNvSpPr>
          <p:nvPr>
            <p:ph type="pic" sz="quarter" idx="16" hasCustomPrompt="1"/>
          </p:nvPr>
        </p:nvSpPr>
        <p:spPr bwMode="gray">
          <a:xfrm>
            <a:off x="8781633" y="727075"/>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696901"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696901"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1" name="Text Placeholder 6">
            <a:extLst>
              <a:ext uri="{FF2B5EF4-FFF2-40B4-BE49-F238E27FC236}">
                <a16:creationId xmlns:a16="http://schemas.microsoft.com/office/drawing/2014/main" xmlns="" id="{55AAB84A-3B66-487C-8A02-A480F6A97D0B}"/>
              </a:ext>
            </a:extLst>
          </p:cNvPr>
          <p:cNvSpPr>
            <a:spLocks noGrp="1"/>
          </p:cNvSpPr>
          <p:nvPr>
            <p:ph type="body" sz="quarter" idx="21" hasCustomPrompt="1"/>
          </p:nvPr>
        </p:nvSpPr>
        <p:spPr>
          <a:xfrm>
            <a:off x="8400256" y="2641931"/>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2" name="Text Placeholder 6">
            <a:extLst>
              <a:ext uri="{FF2B5EF4-FFF2-40B4-BE49-F238E27FC236}">
                <a16:creationId xmlns:a16="http://schemas.microsoft.com/office/drawing/2014/main" xmlns="" id="{A5A245E9-E5FB-47F2-95DB-13A89943C69F}"/>
              </a:ext>
            </a:extLst>
          </p:cNvPr>
          <p:cNvSpPr>
            <a:spLocks noGrp="1"/>
          </p:cNvSpPr>
          <p:nvPr>
            <p:ph type="body" sz="quarter" idx="22" hasCustomPrompt="1"/>
          </p:nvPr>
        </p:nvSpPr>
        <p:spPr>
          <a:xfrm>
            <a:off x="8400256" y="2827875"/>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3" name="Picture Placeholder 3">
            <a:extLst>
              <a:ext uri="{FF2B5EF4-FFF2-40B4-BE49-F238E27FC236}">
                <a16:creationId xmlns:a16="http://schemas.microsoft.com/office/drawing/2014/main" xmlns="" id="{6A7757BB-A213-4163-BF91-13AA6EC0E71D}"/>
              </a:ext>
            </a:extLst>
          </p:cNvPr>
          <p:cNvSpPr>
            <a:spLocks noGrp="1"/>
          </p:cNvSpPr>
          <p:nvPr>
            <p:ph type="pic" sz="quarter" idx="23" hasCustomPrompt="1"/>
          </p:nvPr>
        </p:nvSpPr>
        <p:spPr bwMode="gray">
          <a:xfrm>
            <a:off x="5080719"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4" name="Picture Placeholder 3">
            <a:extLst>
              <a:ext uri="{FF2B5EF4-FFF2-40B4-BE49-F238E27FC236}">
                <a16:creationId xmlns:a16="http://schemas.microsoft.com/office/drawing/2014/main" xmlns="" id="{6198DA02-B0E3-483F-8B97-8F3A4CD22AB2}"/>
              </a:ext>
            </a:extLst>
          </p:cNvPr>
          <p:cNvSpPr>
            <a:spLocks noGrp="1"/>
          </p:cNvSpPr>
          <p:nvPr>
            <p:ph type="pic" sz="quarter" idx="24" hasCustomPrompt="1"/>
          </p:nvPr>
        </p:nvSpPr>
        <p:spPr bwMode="gray">
          <a:xfrm>
            <a:off x="8781633" y="3430871"/>
            <a:ext cx="2400000" cy="1800000"/>
          </a:xfrm>
          <a:prstGeom prst="ellipse">
            <a:avLst/>
          </a:prstGeom>
        </p:spPr>
        <p:txBody>
          <a:bodyPr tIns="504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4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25" name="Text Placeholder 6">
            <a:extLst>
              <a:ext uri="{FF2B5EF4-FFF2-40B4-BE49-F238E27FC236}">
                <a16:creationId xmlns:a16="http://schemas.microsoft.com/office/drawing/2014/main" xmlns="" id="{74054457-D9ED-47B3-B91D-AA148837D4E4}"/>
              </a:ext>
            </a:extLst>
          </p:cNvPr>
          <p:cNvSpPr>
            <a:spLocks noGrp="1"/>
          </p:cNvSpPr>
          <p:nvPr>
            <p:ph type="body" sz="quarter" idx="25" hasCustomPrompt="1"/>
          </p:nvPr>
        </p:nvSpPr>
        <p:spPr>
          <a:xfrm>
            <a:off x="4696901"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6" name="Text Placeholder 6">
            <a:extLst>
              <a:ext uri="{FF2B5EF4-FFF2-40B4-BE49-F238E27FC236}">
                <a16:creationId xmlns:a16="http://schemas.microsoft.com/office/drawing/2014/main" xmlns="" id="{4FDF488E-EB65-469B-80EC-6571C4D62177}"/>
              </a:ext>
            </a:extLst>
          </p:cNvPr>
          <p:cNvSpPr>
            <a:spLocks noGrp="1"/>
          </p:cNvSpPr>
          <p:nvPr>
            <p:ph type="body" sz="quarter" idx="26" hasCustomPrompt="1"/>
          </p:nvPr>
        </p:nvSpPr>
        <p:spPr>
          <a:xfrm>
            <a:off x="4696901"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7" name="Text Placeholder 6">
            <a:extLst>
              <a:ext uri="{FF2B5EF4-FFF2-40B4-BE49-F238E27FC236}">
                <a16:creationId xmlns:a16="http://schemas.microsoft.com/office/drawing/2014/main" xmlns="" id="{C90C4229-9FC0-4F48-BB9F-59F53CEB49EB}"/>
              </a:ext>
            </a:extLst>
          </p:cNvPr>
          <p:cNvSpPr>
            <a:spLocks noGrp="1"/>
          </p:cNvSpPr>
          <p:nvPr>
            <p:ph type="body" sz="quarter" idx="27" hasCustomPrompt="1"/>
          </p:nvPr>
        </p:nvSpPr>
        <p:spPr>
          <a:xfrm>
            <a:off x="8400256" y="5345727"/>
            <a:ext cx="3167635" cy="169277"/>
          </a:xfrm>
        </p:spPr>
        <p:txBody>
          <a:bodyPr wrap="none">
            <a:noAutofit/>
          </a:bodyPr>
          <a:lstStyle>
            <a:lvl1pPr marL="0" indent="0" algn="ctr">
              <a:lnSpc>
                <a:spcPct val="110000"/>
              </a:lnSpc>
              <a:spcBef>
                <a:spcPts val="0"/>
              </a:spcBef>
              <a:buNone/>
              <a:defRPr sz="11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8" name="Text Placeholder 6">
            <a:extLst>
              <a:ext uri="{FF2B5EF4-FFF2-40B4-BE49-F238E27FC236}">
                <a16:creationId xmlns:a16="http://schemas.microsoft.com/office/drawing/2014/main" xmlns="" id="{88219060-EC31-4C8F-9234-231801AF06F6}"/>
              </a:ext>
            </a:extLst>
          </p:cNvPr>
          <p:cNvSpPr>
            <a:spLocks noGrp="1"/>
          </p:cNvSpPr>
          <p:nvPr>
            <p:ph type="body" sz="quarter" idx="28" hasCustomPrompt="1"/>
          </p:nvPr>
        </p:nvSpPr>
        <p:spPr>
          <a:xfrm>
            <a:off x="8400256" y="5531671"/>
            <a:ext cx="3167635" cy="356957"/>
          </a:xfrm>
        </p:spPr>
        <p:txBody>
          <a:bodyPr wrap="square">
            <a:noAutofit/>
          </a:bodyPr>
          <a:lstStyle>
            <a:lvl1pPr marL="0" indent="0" algn="ctr">
              <a:lnSpc>
                <a:spcPct val="110000"/>
              </a:lnSpc>
              <a:spcBef>
                <a:spcPts val="0"/>
              </a:spcBef>
              <a:buNone/>
              <a:defRPr sz="11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29" name="Footer">
            <a:extLst>
              <a:ext uri="{FF2B5EF4-FFF2-40B4-BE49-F238E27FC236}">
                <a16:creationId xmlns:a16="http://schemas.microsoft.com/office/drawing/2014/main" xmlns="" id="{D8B8B772-355E-4783-A149-DAC9AE0122F4}"/>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204977093"/>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matchingName="Contact Persons (9 people)" preserve="1" userDrawn="1">
  <p:cSld name="Contact Persons (9 peo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4064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latin typeface="SwissReSans" pitchFamily="34" charset="0"/>
            </a:endParaRPr>
          </a:p>
        </p:txBody>
      </p:sp>
      <p:sp>
        <p:nvSpPr>
          <p:cNvPr id="8" name="Title 7"/>
          <p:cNvSpPr>
            <a:spLocks noGrp="1"/>
          </p:cNvSpPr>
          <p:nvPr>
            <p:ph type="title" hasCustomPrompt="1"/>
          </p:nvPr>
        </p:nvSpPr>
        <p:spPr bwMode="gray">
          <a:xfrm>
            <a:off x="912285" y="692151"/>
            <a:ext cx="2928000" cy="692647"/>
          </a:xfrm>
        </p:spPr>
        <p:txBody>
          <a:bodyPr/>
          <a:lstStyle>
            <a:lvl1pPr>
              <a:defRPr>
                <a:solidFill>
                  <a:srgbClr val="FFFFFF"/>
                </a:solidFill>
              </a:defRPr>
            </a:lvl1pPr>
          </a:lstStyle>
          <a:p>
            <a:r>
              <a:rPr lang="en-GB" noProof="0"/>
              <a:t>Enter team name here</a:t>
            </a:r>
          </a:p>
        </p:txBody>
      </p:sp>
      <p:sp>
        <p:nvSpPr>
          <p:cNvPr id="9" name="Date Placeholder 8"/>
          <p:cNvSpPr>
            <a:spLocks noGrp="1"/>
          </p:cNvSpPr>
          <p:nvPr>
            <p:ph type="dt" sz="half" idx="10"/>
          </p:nvPr>
        </p:nvSpPr>
        <p:spPr/>
        <p:txBody>
          <a:bodyPr/>
          <a:lstStyle/>
          <a:p>
            <a:endParaRPr lang="en-GB" noProof="0"/>
          </a:p>
        </p:txBody>
      </p:sp>
      <p:sp>
        <p:nvSpPr>
          <p:cNvPr id="10" name="Footer Placeholder 9"/>
          <p:cNvSpPr>
            <a:spLocks noGrp="1"/>
          </p:cNvSpPr>
          <p:nvPr>
            <p:ph type="ftr" sz="quarter" idx="11"/>
          </p:nvPr>
        </p:nvSpPr>
        <p:spPr/>
        <p:txBody>
          <a:bodyPr/>
          <a:lstStyle/>
          <a:p>
            <a:endParaRPr lang="en-GB" noProof="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noProof="0" smtClean="0"/>
              <a:pPr/>
              <a:t>‹#›</a:t>
            </a:fld>
            <a:endParaRPr lang="en-GB" noProof="0"/>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hasCustomPrompt="1"/>
          </p:nvPr>
        </p:nvSpPr>
        <p:spPr bwMode="gray">
          <a:xfrm>
            <a:off x="912284" y="1628772"/>
            <a:ext cx="2928000" cy="4392614"/>
          </a:xfrm>
        </p:spPr>
        <p:txBody>
          <a:bodyPr/>
          <a:lstStyle>
            <a:lvl1pPr marL="108000" indent="-108000">
              <a:spcBef>
                <a:spcPts val="600"/>
              </a:spcBef>
              <a:defRPr sz="1200">
                <a:solidFill>
                  <a:srgbClr val="FFFFFF"/>
                </a:solidFill>
              </a:defRPr>
            </a:lvl1pPr>
            <a:lvl2pPr marL="252000" indent="-144000">
              <a:spcBef>
                <a:spcPts val="600"/>
              </a:spcBef>
              <a:defRPr sz="1200">
                <a:solidFill>
                  <a:srgbClr val="FFFFFF"/>
                </a:solidFill>
              </a:defRPr>
            </a:lvl2pPr>
            <a:lvl3pPr marL="396000" indent="-144000">
              <a:spcBef>
                <a:spcPts val="600"/>
              </a:spcBef>
              <a:defRPr sz="1200">
                <a:solidFill>
                  <a:srgbClr val="FFFFFF"/>
                </a:solidFill>
              </a:defRPr>
            </a:lvl3pPr>
            <a:lvl4pPr marL="539750" indent="-144000">
              <a:spcBef>
                <a:spcPts val="600"/>
              </a:spcBef>
              <a:defRPr sz="1200">
                <a:solidFill>
                  <a:srgbClr val="FFFFFF"/>
                </a:solidFill>
              </a:defRPr>
            </a:lvl4pPr>
            <a:lvl5pPr marL="682625" indent="-142875">
              <a:spcBef>
                <a:spcPts val="600"/>
              </a:spcBef>
              <a:defRPr sz="1200">
                <a:solidFill>
                  <a:srgbClr val="FFFFFF"/>
                </a:solidFill>
              </a:defRPr>
            </a:lvl5pPr>
          </a:lstStyle>
          <a:p>
            <a:pPr lvl="0"/>
            <a:r>
              <a:rPr lang="en-GB" noProof="0"/>
              <a:t>Click to add text, for example team mission and/or capabilities, roles and responsibilities, other info.</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xmlns="" id="{9D5CF790-212D-426F-BB41-2F66095697F9}"/>
              </a:ext>
            </a:extLst>
          </p:cNvPr>
          <p:cNvSpPr>
            <a:spLocks noGrp="1"/>
          </p:cNvSpPr>
          <p:nvPr>
            <p:ph type="pic" sz="quarter" idx="15" hasCustomPrompt="1"/>
          </p:nvPr>
        </p:nvSpPr>
        <p:spPr bwMode="gray">
          <a:xfrm>
            <a:off x="479730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7" name="Text Placeholder 6">
            <a:extLst>
              <a:ext uri="{FF2B5EF4-FFF2-40B4-BE49-F238E27FC236}">
                <a16:creationId xmlns:a16="http://schemas.microsoft.com/office/drawing/2014/main" xmlns="" id="{B9CA1CCB-8ABA-4D44-BE3C-7A01E39DBDE9}"/>
              </a:ext>
            </a:extLst>
          </p:cNvPr>
          <p:cNvSpPr>
            <a:spLocks noGrp="1"/>
          </p:cNvSpPr>
          <p:nvPr>
            <p:ph type="body" sz="quarter" idx="19" hasCustomPrompt="1"/>
          </p:nvPr>
        </p:nvSpPr>
        <p:spPr>
          <a:xfrm>
            <a:off x="441190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20" name="Text Placeholder 6">
            <a:extLst>
              <a:ext uri="{FF2B5EF4-FFF2-40B4-BE49-F238E27FC236}">
                <a16:creationId xmlns:a16="http://schemas.microsoft.com/office/drawing/2014/main" xmlns="" id="{6D446E72-B34F-4C0B-B826-09AF433ABB24}"/>
              </a:ext>
            </a:extLst>
          </p:cNvPr>
          <p:cNvSpPr>
            <a:spLocks noGrp="1"/>
          </p:cNvSpPr>
          <p:nvPr>
            <p:ph type="body" sz="quarter" idx="20" hasCustomPrompt="1"/>
          </p:nvPr>
        </p:nvSpPr>
        <p:spPr>
          <a:xfrm>
            <a:off x="441190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4" name="Picture Placeholder 3">
            <a:extLst>
              <a:ext uri="{FF2B5EF4-FFF2-40B4-BE49-F238E27FC236}">
                <a16:creationId xmlns:a16="http://schemas.microsoft.com/office/drawing/2014/main" xmlns="" id="{8F915F33-B107-4028-BC7C-399D8445B9D4}"/>
              </a:ext>
            </a:extLst>
          </p:cNvPr>
          <p:cNvSpPr>
            <a:spLocks noGrp="1"/>
          </p:cNvSpPr>
          <p:nvPr>
            <p:ph type="pic" sz="quarter" idx="21" hasCustomPrompt="1"/>
          </p:nvPr>
        </p:nvSpPr>
        <p:spPr bwMode="gray">
          <a:xfrm>
            <a:off x="7271145" y="738628"/>
            <a:ext cx="1440000" cy="1080000"/>
          </a:xfrm>
          <a:prstGeom prst="ellipse">
            <a:avLst/>
          </a:prstGeom>
        </p:spPr>
        <p:txBody>
          <a:bodyPr tIns="468000" anchor="ctr" anchorCtr="0"/>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sz="1000">
                <a:solidFill>
                  <a:srgbClr val="A8BAB2"/>
                </a:solidFill>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noProof="0"/>
              <a:t>Add picture</a:t>
            </a:r>
          </a:p>
        </p:txBody>
      </p:sp>
      <p:sp>
        <p:nvSpPr>
          <p:cNvPr id="35" name="Text Placeholder 6">
            <a:extLst>
              <a:ext uri="{FF2B5EF4-FFF2-40B4-BE49-F238E27FC236}">
                <a16:creationId xmlns:a16="http://schemas.microsoft.com/office/drawing/2014/main" xmlns="" id="{6B3D4651-F0A5-48DA-9B00-0F5C3BDB4D2C}"/>
              </a:ext>
            </a:extLst>
          </p:cNvPr>
          <p:cNvSpPr>
            <a:spLocks noGrp="1"/>
          </p:cNvSpPr>
          <p:nvPr>
            <p:ph type="body" sz="quarter" idx="22" hasCustomPrompt="1"/>
          </p:nvPr>
        </p:nvSpPr>
        <p:spPr>
          <a:xfrm>
            <a:off x="6885743"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6" name="Text Placeholder 6">
            <a:extLst>
              <a:ext uri="{FF2B5EF4-FFF2-40B4-BE49-F238E27FC236}">
                <a16:creationId xmlns:a16="http://schemas.microsoft.com/office/drawing/2014/main" xmlns="" id="{F4E98608-F4EB-42AD-B3D8-72C0CE5D1798}"/>
              </a:ext>
            </a:extLst>
          </p:cNvPr>
          <p:cNvSpPr>
            <a:spLocks noGrp="1"/>
          </p:cNvSpPr>
          <p:nvPr>
            <p:ph type="body" sz="quarter" idx="23" hasCustomPrompt="1"/>
          </p:nvPr>
        </p:nvSpPr>
        <p:spPr>
          <a:xfrm>
            <a:off x="6885743"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37" name="Picture Placeholder 3">
            <a:extLst>
              <a:ext uri="{FF2B5EF4-FFF2-40B4-BE49-F238E27FC236}">
                <a16:creationId xmlns:a16="http://schemas.microsoft.com/office/drawing/2014/main" xmlns="" id="{E155C6F2-78C6-4926-AE41-F59C555CC788}"/>
              </a:ext>
            </a:extLst>
          </p:cNvPr>
          <p:cNvSpPr>
            <a:spLocks noGrp="1"/>
          </p:cNvSpPr>
          <p:nvPr>
            <p:ph type="pic" sz="quarter" idx="24" hasCustomPrompt="1"/>
          </p:nvPr>
        </p:nvSpPr>
        <p:spPr bwMode="gray">
          <a:xfrm>
            <a:off x="9744987" y="738628"/>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38" name="Text Placeholder 6">
            <a:extLst>
              <a:ext uri="{FF2B5EF4-FFF2-40B4-BE49-F238E27FC236}">
                <a16:creationId xmlns:a16="http://schemas.microsoft.com/office/drawing/2014/main" xmlns="" id="{DC45A350-A4B4-4382-9409-3FDF6188CB72}"/>
              </a:ext>
            </a:extLst>
          </p:cNvPr>
          <p:cNvSpPr>
            <a:spLocks noGrp="1"/>
          </p:cNvSpPr>
          <p:nvPr>
            <p:ph type="body" sz="quarter" idx="25" hasCustomPrompt="1"/>
          </p:nvPr>
        </p:nvSpPr>
        <p:spPr>
          <a:xfrm>
            <a:off x="9359584" y="1883003"/>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39" name="Text Placeholder 6">
            <a:extLst>
              <a:ext uri="{FF2B5EF4-FFF2-40B4-BE49-F238E27FC236}">
                <a16:creationId xmlns:a16="http://schemas.microsoft.com/office/drawing/2014/main" xmlns="" id="{2705013D-687D-44CE-81A4-8E3A1C5DA879}"/>
              </a:ext>
            </a:extLst>
          </p:cNvPr>
          <p:cNvSpPr>
            <a:spLocks noGrp="1"/>
          </p:cNvSpPr>
          <p:nvPr>
            <p:ph type="body" sz="quarter" idx="26" hasCustomPrompt="1"/>
          </p:nvPr>
        </p:nvSpPr>
        <p:spPr>
          <a:xfrm>
            <a:off x="9359584" y="2049899"/>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0" name="Picture Placeholder 3">
            <a:extLst>
              <a:ext uri="{FF2B5EF4-FFF2-40B4-BE49-F238E27FC236}">
                <a16:creationId xmlns:a16="http://schemas.microsoft.com/office/drawing/2014/main" xmlns="" id="{555CBE39-FFF0-4990-B383-0C2D0555B44C}"/>
              </a:ext>
            </a:extLst>
          </p:cNvPr>
          <p:cNvSpPr>
            <a:spLocks noGrp="1"/>
          </p:cNvSpPr>
          <p:nvPr>
            <p:ph type="pic" sz="quarter" idx="27" hasCustomPrompt="1"/>
          </p:nvPr>
        </p:nvSpPr>
        <p:spPr bwMode="gray">
          <a:xfrm>
            <a:off x="479730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1" name="Text Placeholder 6">
            <a:extLst>
              <a:ext uri="{FF2B5EF4-FFF2-40B4-BE49-F238E27FC236}">
                <a16:creationId xmlns:a16="http://schemas.microsoft.com/office/drawing/2014/main" xmlns="" id="{41412AC5-73C4-41F8-B070-D55246425FAC}"/>
              </a:ext>
            </a:extLst>
          </p:cNvPr>
          <p:cNvSpPr>
            <a:spLocks noGrp="1"/>
          </p:cNvSpPr>
          <p:nvPr>
            <p:ph type="body" sz="quarter" idx="28" hasCustomPrompt="1"/>
          </p:nvPr>
        </p:nvSpPr>
        <p:spPr>
          <a:xfrm>
            <a:off x="441190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2" name="Text Placeholder 6">
            <a:extLst>
              <a:ext uri="{FF2B5EF4-FFF2-40B4-BE49-F238E27FC236}">
                <a16:creationId xmlns:a16="http://schemas.microsoft.com/office/drawing/2014/main" xmlns="" id="{487A69AB-2F8C-4365-AB32-3EB9255CE01A}"/>
              </a:ext>
            </a:extLst>
          </p:cNvPr>
          <p:cNvSpPr>
            <a:spLocks noGrp="1"/>
          </p:cNvSpPr>
          <p:nvPr>
            <p:ph type="body" sz="quarter" idx="29" hasCustomPrompt="1"/>
          </p:nvPr>
        </p:nvSpPr>
        <p:spPr>
          <a:xfrm>
            <a:off x="441190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3" name="Picture Placeholder 3">
            <a:extLst>
              <a:ext uri="{FF2B5EF4-FFF2-40B4-BE49-F238E27FC236}">
                <a16:creationId xmlns:a16="http://schemas.microsoft.com/office/drawing/2014/main" xmlns="" id="{E36FA0EB-2ED7-4107-83C7-7DE930A10E37}"/>
              </a:ext>
            </a:extLst>
          </p:cNvPr>
          <p:cNvSpPr>
            <a:spLocks noGrp="1"/>
          </p:cNvSpPr>
          <p:nvPr>
            <p:ph type="pic" sz="quarter" idx="30" hasCustomPrompt="1"/>
          </p:nvPr>
        </p:nvSpPr>
        <p:spPr bwMode="gray">
          <a:xfrm>
            <a:off x="7271145"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4" name="Text Placeholder 6">
            <a:extLst>
              <a:ext uri="{FF2B5EF4-FFF2-40B4-BE49-F238E27FC236}">
                <a16:creationId xmlns:a16="http://schemas.microsoft.com/office/drawing/2014/main" xmlns="" id="{F058B365-069A-4DF0-B5CF-A5126ED2C9F3}"/>
              </a:ext>
            </a:extLst>
          </p:cNvPr>
          <p:cNvSpPr>
            <a:spLocks noGrp="1"/>
          </p:cNvSpPr>
          <p:nvPr>
            <p:ph type="body" sz="quarter" idx="31" hasCustomPrompt="1"/>
          </p:nvPr>
        </p:nvSpPr>
        <p:spPr>
          <a:xfrm>
            <a:off x="6885743"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5" name="Text Placeholder 6">
            <a:extLst>
              <a:ext uri="{FF2B5EF4-FFF2-40B4-BE49-F238E27FC236}">
                <a16:creationId xmlns:a16="http://schemas.microsoft.com/office/drawing/2014/main" xmlns="" id="{161BBAA9-4C7E-4EB1-8905-A2AE3C94366F}"/>
              </a:ext>
            </a:extLst>
          </p:cNvPr>
          <p:cNvSpPr>
            <a:spLocks noGrp="1"/>
          </p:cNvSpPr>
          <p:nvPr>
            <p:ph type="body" sz="quarter" idx="32" hasCustomPrompt="1"/>
          </p:nvPr>
        </p:nvSpPr>
        <p:spPr>
          <a:xfrm>
            <a:off x="6885743"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6" name="Picture Placeholder 3">
            <a:extLst>
              <a:ext uri="{FF2B5EF4-FFF2-40B4-BE49-F238E27FC236}">
                <a16:creationId xmlns:a16="http://schemas.microsoft.com/office/drawing/2014/main" xmlns="" id="{FAA84460-45AB-4AC8-95FF-A0DF352594F8}"/>
              </a:ext>
            </a:extLst>
          </p:cNvPr>
          <p:cNvSpPr>
            <a:spLocks noGrp="1"/>
          </p:cNvSpPr>
          <p:nvPr>
            <p:ph type="pic" sz="quarter" idx="33" hasCustomPrompt="1"/>
          </p:nvPr>
        </p:nvSpPr>
        <p:spPr bwMode="gray">
          <a:xfrm>
            <a:off x="9744987" y="2557409"/>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47" name="Text Placeholder 6">
            <a:extLst>
              <a:ext uri="{FF2B5EF4-FFF2-40B4-BE49-F238E27FC236}">
                <a16:creationId xmlns:a16="http://schemas.microsoft.com/office/drawing/2014/main" xmlns="" id="{74509D59-5653-4082-8B40-14535FD541D0}"/>
              </a:ext>
            </a:extLst>
          </p:cNvPr>
          <p:cNvSpPr>
            <a:spLocks noGrp="1"/>
          </p:cNvSpPr>
          <p:nvPr>
            <p:ph type="body" sz="quarter" idx="34" hasCustomPrompt="1"/>
          </p:nvPr>
        </p:nvSpPr>
        <p:spPr>
          <a:xfrm>
            <a:off x="9359584" y="3701784"/>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48" name="Text Placeholder 6">
            <a:extLst>
              <a:ext uri="{FF2B5EF4-FFF2-40B4-BE49-F238E27FC236}">
                <a16:creationId xmlns:a16="http://schemas.microsoft.com/office/drawing/2014/main" xmlns="" id="{60505DF3-63D7-4EA8-AA80-D73B723DADB7}"/>
              </a:ext>
            </a:extLst>
          </p:cNvPr>
          <p:cNvSpPr>
            <a:spLocks noGrp="1"/>
          </p:cNvSpPr>
          <p:nvPr>
            <p:ph type="body" sz="quarter" idx="35" hasCustomPrompt="1"/>
          </p:nvPr>
        </p:nvSpPr>
        <p:spPr>
          <a:xfrm>
            <a:off x="9359584" y="3868680"/>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49" name="Picture Placeholder 3">
            <a:extLst>
              <a:ext uri="{FF2B5EF4-FFF2-40B4-BE49-F238E27FC236}">
                <a16:creationId xmlns:a16="http://schemas.microsoft.com/office/drawing/2014/main" xmlns="" id="{7D62F644-29A7-4899-885B-FFC75CCD9EBA}"/>
              </a:ext>
            </a:extLst>
          </p:cNvPr>
          <p:cNvSpPr>
            <a:spLocks noGrp="1"/>
          </p:cNvSpPr>
          <p:nvPr>
            <p:ph type="pic" sz="quarter" idx="36" hasCustomPrompt="1"/>
          </p:nvPr>
        </p:nvSpPr>
        <p:spPr bwMode="gray">
          <a:xfrm>
            <a:off x="479730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0" name="Text Placeholder 6">
            <a:extLst>
              <a:ext uri="{FF2B5EF4-FFF2-40B4-BE49-F238E27FC236}">
                <a16:creationId xmlns:a16="http://schemas.microsoft.com/office/drawing/2014/main" xmlns="" id="{0D653BDD-643D-4B4B-A3D8-48508D6FE6A9}"/>
              </a:ext>
            </a:extLst>
          </p:cNvPr>
          <p:cNvSpPr>
            <a:spLocks noGrp="1"/>
          </p:cNvSpPr>
          <p:nvPr>
            <p:ph type="body" sz="quarter" idx="37" hasCustomPrompt="1"/>
          </p:nvPr>
        </p:nvSpPr>
        <p:spPr>
          <a:xfrm>
            <a:off x="441190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1" name="Text Placeholder 6">
            <a:extLst>
              <a:ext uri="{FF2B5EF4-FFF2-40B4-BE49-F238E27FC236}">
                <a16:creationId xmlns:a16="http://schemas.microsoft.com/office/drawing/2014/main" xmlns="" id="{9230CE95-C237-487F-B2C7-FBE956DA2BFF}"/>
              </a:ext>
            </a:extLst>
          </p:cNvPr>
          <p:cNvSpPr>
            <a:spLocks noGrp="1"/>
          </p:cNvSpPr>
          <p:nvPr>
            <p:ph type="body" sz="quarter" idx="38" hasCustomPrompt="1"/>
          </p:nvPr>
        </p:nvSpPr>
        <p:spPr>
          <a:xfrm>
            <a:off x="441190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2" name="Picture Placeholder 3">
            <a:extLst>
              <a:ext uri="{FF2B5EF4-FFF2-40B4-BE49-F238E27FC236}">
                <a16:creationId xmlns:a16="http://schemas.microsoft.com/office/drawing/2014/main" xmlns="" id="{1E27EBD6-B6D2-4685-98F9-E50BEB15C330}"/>
              </a:ext>
            </a:extLst>
          </p:cNvPr>
          <p:cNvSpPr>
            <a:spLocks noGrp="1"/>
          </p:cNvSpPr>
          <p:nvPr>
            <p:ph type="pic" sz="quarter" idx="39" hasCustomPrompt="1"/>
          </p:nvPr>
        </p:nvSpPr>
        <p:spPr bwMode="gray">
          <a:xfrm>
            <a:off x="7271145"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3" name="Text Placeholder 6">
            <a:extLst>
              <a:ext uri="{FF2B5EF4-FFF2-40B4-BE49-F238E27FC236}">
                <a16:creationId xmlns:a16="http://schemas.microsoft.com/office/drawing/2014/main" xmlns="" id="{06DE3C3A-582C-4782-8C6C-CEB6D5AB9FBD}"/>
              </a:ext>
            </a:extLst>
          </p:cNvPr>
          <p:cNvSpPr>
            <a:spLocks noGrp="1"/>
          </p:cNvSpPr>
          <p:nvPr>
            <p:ph type="body" sz="quarter" idx="40" hasCustomPrompt="1"/>
          </p:nvPr>
        </p:nvSpPr>
        <p:spPr>
          <a:xfrm>
            <a:off x="6885743"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4" name="Text Placeholder 6">
            <a:extLst>
              <a:ext uri="{FF2B5EF4-FFF2-40B4-BE49-F238E27FC236}">
                <a16:creationId xmlns:a16="http://schemas.microsoft.com/office/drawing/2014/main" xmlns="" id="{2EF094C6-AF64-4170-AAF4-F2F390DA3E8E}"/>
              </a:ext>
            </a:extLst>
          </p:cNvPr>
          <p:cNvSpPr>
            <a:spLocks noGrp="1"/>
          </p:cNvSpPr>
          <p:nvPr>
            <p:ph type="body" sz="quarter" idx="41" hasCustomPrompt="1"/>
          </p:nvPr>
        </p:nvSpPr>
        <p:spPr>
          <a:xfrm>
            <a:off x="6885743"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5" name="Picture Placeholder 3">
            <a:extLst>
              <a:ext uri="{FF2B5EF4-FFF2-40B4-BE49-F238E27FC236}">
                <a16:creationId xmlns:a16="http://schemas.microsoft.com/office/drawing/2014/main" xmlns="" id="{A0345AB4-5964-4A43-99C1-266AC113F0A9}"/>
              </a:ext>
            </a:extLst>
          </p:cNvPr>
          <p:cNvSpPr>
            <a:spLocks noGrp="1"/>
          </p:cNvSpPr>
          <p:nvPr>
            <p:ph type="pic" sz="quarter" idx="42" hasCustomPrompt="1"/>
          </p:nvPr>
        </p:nvSpPr>
        <p:spPr bwMode="gray">
          <a:xfrm>
            <a:off x="9744987" y="4379592"/>
            <a:ext cx="1440000" cy="1080000"/>
          </a:xfrm>
          <a:prstGeom prst="ellipse">
            <a:avLst/>
          </a:prstGeom>
        </p:spPr>
        <p:txBody>
          <a:bodyPr tIns="468000" anchor="ctr" anchorCtr="0"/>
          <a:lstStyle>
            <a:lvl1pPr marL="0" indent="0" algn="ctr">
              <a:buNone/>
              <a:defRPr sz="1000">
                <a:solidFill>
                  <a:srgbClr val="A8BAB2"/>
                </a:solidFill>
              </a:defRPr>
            </a:lvl1pPr>
          </a:lstStyle>
          <a:p>
            <a:r>
              <a:rPr lang="en-GB" noProof="0"/>
              <a:t>Add picture</a:t>
            </a:r>
          </a:p>
        </p:txBody>
      </p:sp>
      <p:sp>
        <p:nvSpPr>
          <p:cNvPr id="56" name="Text Placeholder 6">
            <a:extLst>
              <a:ext uri="{FF2B5EF4-FFF2-40B4-BE49-F238E27FC236}">
                <a16:creationId xmlns:a16="http://schemas.microsoft.com/office/drawing/2014/main" xmlns="" id="{DCFFD279-F338-4532-9592-3FDCDA896030}"/>
              </a:ext>
            </a:extLst>
          </p:cNvPr>
          <p:cNvSpPr>
            <a:spLocks noGrp="1"/>
          </p:cNvSpPr>
          <p:nvPr>
            <p:ph type="body" sz="quarter" idx="43" hasCustomPrompt="1"/>
          </p:nvPr>
        </p:nvSpPr>
        <p:spPr>
          <a:xfrm>
            <a:off x="9359584" y="5523967"/>
            <a:ext cx="2208000" cy="153632"/>
          </a:xfrm>
        </p:spPr>
        <p:txBody>
          <a:bodyPr wrap="none">
            <a:noAutofit/>
          </a:bodyPr>
          <a:lstStyle>
            <a:lvl1pPr marL="0" indent="0" algn="ctr">
              <a:lnSpc>
                <a:spcPct val="110000"/>
              </a:lnSpc>
              <a:spcBef>
                <a:spcPts val="0"/>
              </a:spcBef>
              <a:buNone/>
              <a:defRPr sz="1000" b="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Click to add name</a:t>
            </a:r>
          </a:p>
        </p:txBody>
      </p:sp>
      <p:sp>
        <p:nvSpPr>
          <p:cNvPr id="57" name="Text Placeholder 6">
            <a:extLst>
              <a:ext uri="{FF2B5EF4-FFF2-40B4-BE49-F238E27FC236}">
                <a16:creationId xmlns:a16="http://schemas.microsoft.com/office/drawing/2014/main" xmlns="" id="{09CD8D62-4D15-4DED-9D55-CECB31EA82B3}"/>
              </a:ext>
            </a:extLst>
          </p:cNvPr>
          <p:cNvSpPr>
            <a:spLocks noGrp="1"/>
          </p:cNvSpPr>
          <p:nvPr>
            <p:ph type="body" sz="quarter" idx="44" hasCustomPrompt="1"/>
          </p:nvPr>
        </p:nvSpPr>
        <p:spPr>
          <a:xfrm>
            <a:off x="9359584" y="5690863"/>
            <a:ext cx="2208000" cy="324512"/>
          </a:xfrm>
        </p:spPr>
        <p:txBody>
          <a:bodyPr wrap="square">
            <a:noAutofit/>
          </a:bodyPr>
          <a:lstStyle>
            <a:lvl1pPr marL="0" indent="0" algn="ctr">
              <a:lnSpc>
                <a:spcPct val="110000"/>
              </a:lnSpc>
              <a:spcBef>
                <a:spcPts val="0"/>
              </a:spcBef>
              <a:buNone/>
              <a:defRPr sz="1000" b="0" i="1"/>
            </a:lvl1pPr>
            <a:lvl2pPr marL="182562" indent="0">
              <a:buNone/>
              <a:defRPr sz="1100"/>
            </a:lvl2pPr>
            <a:lvl3pPr marL="444500" indent="0">
              <a:buNone/>
              <a:defRPr sz="1100"/>
            </a:lvl3pPr>
            <a:lvl4pPr marL="715963" indent="0">
              <a:buNone/>
              <a:defRPr sz="1100"/>
            </a:lvl4pPr>
            <a:lvl5pPr marL="985838" indent="0">
              <a:buNone/>
              <a:defRPr sz="1100"/>
            </a:lvl5pPr>
          </a:lstStyle>
          <a:p>
            <a:pPr lvl="0"/>
            <a:r>
              <a:rPr lang="en-GB" noProof="0"/>
              <a:t>Job title</a:t>
            </a:r>
            <a:br>
              <a:rPr lang="en-GB" noProof="0"/>
            </a:br>
            <a:r>
              <a:rPr lang="en-GB" noProof="0"/>
              <a:t>Contact information</a:t>
            </a:r>
          </a:p>
        </p:txBody>
      </p:sp>
      <p:sp>
        <p:nvSpPr>
          <p:cNvPr id="58" name="Footer">
            <a:extLst>
              <a:ext uri="{FF2B5EF4-FFF2-40B4-BE49-F238E27FC236}">
                <a16:creationId xmlns:a16="http://schemas.microsoft.com/office/drawing/2014/main" xmlns="" id="{1D8EC07E-650E-4C64-8B17-CB5F04FDA920}"/>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81706337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grpSp>
        <p:nvGrpSpPr>
          <p:cNvPr id="10" name="Group 9"/>
          <p:cNvGrpSpPr/>
          <p:nvPr userDrawn="1"/>
        </p:nvGrpSpPr>
        <p:grpSpPr>
          <a:xfrm>
            <a:off x="4176185" y="1989139"/>
            <a:ext cx="3839633" cy="2879725"/>
            <a:chOff x="3132138" y="1989138"/>
            <a:chExt cx="2879725" cy="2879725"/>
          </a:xfrm>
        </p:grpSpPr>
        <p:sp>
          <p:nvSpPr>
            <p:cNvPr id="9" name="Rectangle 8"/>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Tree>
    <p:extLst>
      <p:ext uri="{BB962C8B-B14F-4D97-AF65-F5344CB8AC3E}">
        <p14:creationId xmlns:p14="http://schemas.microsoft.com/office/powerpoint/2010/main" val="5655620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16" name="Picture 15"/>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gray">
          <a:xfrm>
            <a:off x="912285" y="1628775"/>
            <a:ext cx="969621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a:t>Click to edit Master title style</a:t>
            </a:r>
          </a:p>
        </p:txBody>
      </p:sp>
      <p:sp>
        <p:nvSpPr>
          <p:cNvPr id="3" name="Date Placeholder 2"/>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a:p>
        </p:txBody>
      </p:sp>
      <p:sp>
        <p:nvSpPr>
          <p:cNvPr id="9" name="Text Placeholder 9"/>
          <p:cNvSpPr>
            <a:spLocks noGrp="1"/>
          </p:cNvSpPr>
          <p:nvPr>
            <p:ph type="body" sz="quarter" idx="13"/>
          </p:nvPr>
        </p:nvSpPr>
        <p:spPr>
          <a:xfrm>
            <a:off x="912285" y="3573016"/>
            <a:ext cx="969621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a:t>Click to edit Master text styles</a:t>
            </a:r>
          </a:p>
        </p:txBody>
      </p:sp>
      <p:sp>
        <p:nvSpPr>
          <p:cNvPr id="10" name="Classification"/>
          <p:cNvSpPr txBox="1">
            <a:spLocks noChangeArrowheads="1"/>
          </p:cNvSpPr>
          <p:nvPr userDrawn="1">
            <p:custDataLst>
              <p:tags r:id="rId4"/>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11" name="Picture 10"/>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882733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matchingName="Section Header - Gradient" userDrawn="1">
  <p:cSld name="Section Header -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1628774"/>
            <a:ext cx="11017251" cy="1296168"/>
          </a:xfrm>
        </p:spPr>
        <p:txBody>
          <a:bodyPr vert="horz" lIns="0" tIns="0" rIns="0" bIns="0" rtlCol="0" anchor="t" anchorCtr="0">
            <a:noAutofit/>
          </a:bodyPr>
          <a:lstStyle>
            <a:lvl1pPr algn="l" defTabSz="685800" rtl="0" eaLnBrk="1" latinLnBrk="0" hangingPunct="1">
              <a:lnSpc>
                <a:spcPct val="80000"/>
              </a:lnSpc>
              <a:spcBef>
                <a:spcPct val="0"/>
              </a:spcBef>
              <a:buNone/>
              <a:defRPr lang="en-GB" sz="3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p:nvPr>
        </p:nvSpPr>
        <p:spPr>
          <a:xfrm>
            <a:off x="695325" y="2996954"/>
            <a:ext cx="11017251" cy="2544487"/>
          </a:xfrm>
        </p:spPr>
        <p:txBody>
          <a:bodyPr/>
          <a:lstStyle>
            <a:lvl1pPr>
              <a:spcBef>
                <a:spcPts val="0"/>
              </a:spcBef>
              <a:defRPr sz="1350">
                <a:solidFill>
                  <a:schemeClr val="bg1"/>
                </a:solidFill>
                <a:latin typeface="SwissReSans Light" panose="020B0504020202020204" pitchFamily="34" charset="0"/>
              </a:defRPr>
            </a:lvl1pPr>
            <a:lvl2pPr>
              <a:spcBef>
                <a:spcPts val="0"/>
              </a:spcBef>
              <a:defRPr sz="1200">
                <a:solidFill>
                  <a:schemeClr val="bg1"/>
                </a:solidFill>
                <a:latin typeface="SwissReSans Light" panose="020B0504020202020204" pitchFamily="34" charset="0"/>
              </a:defRPr>
            </a:lvl2pPr>
            <a:lvl3pPr>
              <a:spcBef>
                <a:spcPts val="0"/>
              </a:spcBef>
              <a:defRPr sz="1200">
                <a:solidFill>
                  <a:schemeClr val="bg1"/>
                </a:solidFill>
                <a:latin typeface="SwissReSans Light" panose="020B0504020202020204" pitchFamily="34" charset="0"/>
              </a:defRPr>
            </a:lvl3pPr>
            <a:lvl4pPr>
              <a:spcBef>
                <a:spcPts val="0"/>
              </a:spcBef>
              <a:defRPr sz="1200">
                <a:solidFill>
                  <a:schemeClr val="bg1"/>
                </a:solidFill>
                <a:latin typeface="SwissReSans Light" panose="020B0504020202020204" pitchFamily="34" charset="0"/>
              </a:defRPr>
            </a:lvl4pPr>
            <a:lvl5pPr>
              <a:spcBef>
                <a:spcPts val="0"/>
              </a:spcBef>
              <a:defRPr sz="1200">
                <a:solidFill>
                  <a:schemeClr val="bg1"/>
                </a:solidFill>
                <a:latin typeface="SwissReSans Light" panose="020B05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Date Placeholder 2"/>
          <p:cNvSpPr>
            <a:spLocks noGrp="1"/>
          </p:cNvSpPr>
          <p:nvPr>
            <p:ph type="dt" sz="half" idx="13"/>
          </p:nvPr>
        </p:nvSpPr>
        <p:spPr/>
        <p:txBody>
          <a:bodyPr/>
          <a:lstStyle/>
          <a:p>
            <a:endParaRPr lang="en-GB"/>
          </a:p>
        </p:txBody>
      </p:sp>
      <p:sp>
        <p:nvSpPr>
          <p:cNvPr id="4" name="Footer Placeholder 3"/>
          <p:cNvSpPr>
            <a:spLocks noGrp="1"/>
          </p:cNvSpPr>
          <p:nvPr>
            <p:ph type="ftr" sz="quarter" idx="14"/>
          </p:nvPr>
        </p:nvSpPr>
        <p:spPr/>
        <p:txBody>
          <a:bodyPr/>
          <a:lstStyle/>
          <a:p>
            <a:endParaRPr lang="en-GB"/>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chemeClr val="bg1"/>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chemeClr val="bg1"/>
                </a:solidFill>
                <a:latin typeface="SwissReSans" pitchFamily="34" charset="0"/>
                <a:ea typeface="+mn-ea"/>
                <a:cs typeface="+mn-cs"/>
              </a:rPr>
              <a:t>Financial Statements | May 2020 | Reinsurance IFRS 17 Implementation</a:t>
            </a:r>
          </a:p>
        </p:txBody>
      </p:sp>
      <p:pic>
        <p:nvPicPr>
          <p:cNvPr id="6" name="Picture 5">
            <a:extLst>
              <a:ext uri="{FF2B5EF4-FFF2-40B4-BE49-F238E27FC236}">
                <a16:creationId xmlns:a16="http://schemas.microsoft.com/office/drawing/2014/main" xmlns="" id="{27C768EE-EB03-4977-94AD-4A1E67B35100}"/>
              </a:ext>
            </a:extLst>
          </p:cNvPr>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42413974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42D5DF7-747C-4ED2-9D65-953D3BFFEB7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xmlns="" id="{D90A0090-8FF9-4642-9AFA-808CAA035BA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C6866ADD-3A9D-41D5-B066-E1C0F3ECCC58}"/>
              </a:ext>
            </a:extLst>
          </p:cNvPr>
          <p:cNvSpPr>
            <a:spLocks noGrp="1"/>
          </p:cNvSpPr>
          <p:nvPr>
            <p:ph type="dt" sz="half" idx="10"/>
          </p:nvPr>
        </p:nvSpPr>
        <p:spPr/>
        <p:txBody>
          <a:bodyPr/>
          <a:lstStyle/>
          <a:p>
            <a:fld id="{4E4BE869-1650-4E31-85F2-6D10A05E7C7D}" type="datetimeFigureOut">
              <a:rPr lang="en-GB" smtClean="0"/>
              <a:t>26/08/2021</a:t>
            </a:fld>
            <a:endParaRPr lang="en-GB"/>
          </a:p>
        </p:txBody>
      </p:sp>
      <p:sp>
        <p:nvSpPr>
          <p:cNvPr id="5" name="Footer Placeholder 4">
            <a:extLst>
              <a:ext uri="{FF2B5EF4-FFF2-40B4-BE49-F238E27FC236}">
                <a16:creationId xmlns:a16="http://schemas.microsoft.com/office/drawing/2014/main" xmlns="" id="{3B7B6645-B01F-4C27-94E9-26B819563C5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xmlns="" id="{91F44189-FC4F-48C4-A882-2BE5719C4755}"/>
              </a:ext>
            </a:extLst>
          </p:cNvPr>
          <p:cNvSpPr>
            <a:spLocks noGrp="1"/>
          </p:cNvSpPr>
          <p:nvPr>
            <p:ph type="sldNum" sz="quarter" idx="12"/>
          </p:nvPr>
        </p:nvSpPr>
        <p:spPr/>
        <p:txBody>
          <a:bodyPr/>
          <a:lstStyle/>
          <a:p>
            <a:fld id="{A5D15DC4-C496-4666-BEAA-92D9A2BE7764}" type="slidenum">
              <a:rPr lang="en-GB" smtClean="0"/>
              <a:t>‹#›</a:t>
            </a:fld>
            <a:endParaRPr lang="en-GB"/>
          </a:p>
        </p:txBody>
      </p:sp>
    </p:spTree>
    <p:extLst>
      <p:ext uri="{BB962C8B-B14F-4D97-AF65-F5344CB8AC3E}">
        <p14:creationId xmlns:p14="http://schemas.microsoft.com/office/powerpoint/2010/main" val="766657525"/>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ext and small Image" userDrawn="1">
  <p:cSld name="Text and small Image">
    <p:spTree>
      <p:nvGrpSpPr>
        <p:cNvPr id="1" name=""/>
        <p:cNvGrpSpPr/>
        <p:nvPr/>
      </p:nvGrpSpPr>
      <p:grpSpPr>
        <a:xfrm>
          <a:off x="0" y="0"/>
          <a:ext cx="0" cy="0"/>
          <a:chOff x="0" y="0"/>
          <a:chExt cx="0" cy="0"/>
        </a:xfrm>
      </p:grpSpPr>
      <p:sp>
        <p:nvSpPr>
          <p:cNvPr id="12" name="Picture Placeholder 7"/>
          <p:cNvSpPr>
            <a:spLocks noGrp="1"/>
          </p:cNvSpPr>
          <p:nvPr>
            <p:ph type="pic" sz="quarter" idx="13"/>
          </p:nvPr>
        </p:nvSpPr>
        <p:spPr bwMode="gray">
          <a:xfrm>
            <a:off x="6096000" y="0"/>
            <a:ext cx="6096000" cy="6858000"/>
          </a:xfrm>
        </p:spPr>
        <p:txBody>
          <a:bodyPr lIns="0" tIns="576000" anchor="ctr"/>
          <a:lstStyle>
            <a:lvl1pPr marL="0" indent="0" algn="ctr">
              <a:buFontTx/>
              <a:buNone/>
              <a:defRPr sz="900">
                <a:solidFill>
                  <a:srgbClr val="A8BAB2"/>
                </a:solidFill>
                <a:latin typeface="SwissReSans" pitchFamily="34" charset="0"/>
              </a:defRPr>
            </a:lvl1pPr>
          </a:lstStyle>
          <a:p>
            <a:r>
              <a:rPr lang="en-GB" noProof="1"/>
              <a:t>Click icon to add picture</a:t>
            </a:r>
          </a:p>
        </p:txBody>
      </p:sp>
      <p:sp>
        <p:nvSpPr>
          <p:cNvPr id="3" name="Content Placeholder 2"/>
          <p:cNvSpPr>
            <a:spLocks noGrp="1"/>
          </p:cNvSpPr>
          <p:nvPr>
            <p:ph sz="half" idx="1"/>
          </p:nvPr>
        </p:nvSpPr>
        <p:spPr bwMode="black">
          <a:xfrm>
            <a:off x="695325" y="1628774"/>
            <a:ext cx="4920624" cy="4392614"/>
          </a:xfrm>
        </p:spPr>
        <p:txBody>
          <a:bodyPr/>
          <a:lstStyle>
            <a:lvl1pPr>
              <a:defRPr sz="1350">
                <a:latin typeface="SwissReSans" pitchFamily="34" charset="0"/>
              </a:defRPr>
            </a:lvl1pPr>
            <a:lvl2pPr>
              <a:defRPr sz="1200">
                <a:latin typeface="SwissReSans" pitchFamily="34" charset="0"/>
              </a:defRPr>
            </a:lvl2pPr>
            <a:lvl3pPr>
              <a:defRPr sz="1200">
                <a:latin typeface="SwissReSans" pitchFamily="34" charset="0"/>
              </a:defRPr>
            </a:lvl3pPr>
            <a:lvl4pPr>
              <a:defRPr sz="1200">
                <a:latin typeface="SwissReSans" pitchFamily="34" charset="0"/>
              </a:defRPr>
            </a:lvl4pPr>
            <a:lvl5pPr>
              <a:defRPr sz="1200">
                <a:latin typeface="SwissReSans" pitchFamily="34" charset="0"/>
              </a:defRPr>
            </a:lvl5pPr>
            <a:lvl6pPr>
              <a:defRPr sz="1350"/>
            </a:lvl6pPr>
            <a:lvl7pPr>
              <a:defRPr sz="1350"/>
            </a:lvl7pPr>
            <a:lvl8pPr>
              <a:defRPr sz="1350"/>
            </a:lvl8pPr>
            <a:lvl9pPr>
              <a:defRPr sz="135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Title 7"/>
          <p:cNvSpPr>
            <a:spLocks noGrp="1"/>
          </p:cNvSpPr>
          <p:nvPr>
            <p:ph type="title"/>
          </p:nvPr>
        </p:nvSpPr>
        <p:spPr>
          <a:xfrm>
            <a:off x="695326" y="692152"/>
            <a:ext cx="4920621" cy="692647"/>
          </a:xfrm>
        </p:spPr>
        <p:txBody>
          <a:body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Tree>
    <p:extLst>
      <p:ext uri="{BB962C8B-B14F-4D97-AF65-F5344CB8AC3E}">
        <p14:creationId xmlns:p14="http://schemas.microsoft.com/office/powerpoint/2010/main" val="862956285"/>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Small Image and Three Columns" userDrawn="1">
  <p:cSld name="Small 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2521744"/>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9" name="Title 8"/>
          <p:cNvSpPr>
            <a:spLocks noGrp="1"/>
          </p:cNvSpPr>
          <p:nvPr>
            <p:ph type="title"/>
          </p:nvPr>
        </p:nvSpPr>
        <p:spPr/>
        <p:txBody>
          <a:bodyPr/>
          <a:lstStyle>
            <a:lvl1pPr>
              <a:defRPr>
                <a:solidFill>
                  <a:srgbClr val="FFFFFF"/>
                </a:solidFill>
              </a:defRPr>
            </a:lvl1pPr>
          </a:lstStyle>
          <a:p>
            <a:r>
              <a:rPr lang="en-GB"/>
              <a:t>Click to edit Master title style</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279"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279"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492" y="2972475"/>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492" y="3429000"/>
            <a:ext cx="3096000" cy="2592388"/>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en-GB"/>
              <a:t>Click to edit Master text styles</a:t>
            </a:r>
          </a:p>
        </p:txBody>
      </p:sp>
    </p:spTree>
    <p:extLst>
      <p:ext uri="{BB962C8B-B14F-4D97-AF65-F5344CB8AC3E}">
        <p14:creationId xmlns:p14="http://schemas.microsoft.com/office/powerpoint/2010/main" val="2488630771"/>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Image and Three Columns" userDrawn="1">
  <p:cSld name="Image and Three Columns">
    <p:spTree>
      <p:nvGrpSpPr>
        <p:cNvPr id="1" name=""/>
        <p:cNvGrpSpPr/>
        <p:nvPr/>
      </p:nvGrpSpPr>
      <p:grpSpPr>
        <a:xfrm>
          <a:off x="0" y="0"/>
          <a:ext cx="0" cy="0"/>
          <a:chOff x="0" y="0"/>
          <a:chExt cx="0" cy="0"/>
        </a:xfrm>
      </p:grpSpPr>
      <p:sp>
        <p:nvSpPr>
          <p:cNvPr id="10" name="Picture Placeholder 7">
            <a:extLst>
              <a:ext uri="{FF2B5EF4-FFF2-40B4-BE49-F238E27FC236}">
                <a16:creationId xmlns:a16="http://schemas.microsoft.com/office/drawing/2014/main" xmlns="" id="{2C9C7621-C294-4C5C-B63E-B212B4490F76}"/>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900">
                <a:solidFill>
                  <a:srgbClr val="A8BAB2"/>
                </a:solidFill>
                <a:latin typeface="SwissReSans" pitchFamily="34" charset="0"/>
              </a:defRPr>
            </a:lvl1pPr>
          </a:lstStyle>
          <a:p>
            <a:r>
              <a:rPr lang="de-DE"/>
              <a:t>Bild durch Klicken auf Symbol hinzufügen</a:t>
            </a:r>
            <a:endParaRPr lang="en-GB"/>
          </a:p>
        </p:txBody>
      </p:sp>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lvl1pPr>
              <a:defRPr>
                <a:solidFill>
                  <a:srgbClr val="FFFFFF"/>
                </a:solidFill>
              </a:defRPr>
            </a:lvl1pPr>
          </a:lstStyle>
          <a:p>
            <a:r>
              <a:rPr lang="de-DE"/>
              <a:t>Mastertitelformat bearbeiten</a:t>
            </a:r>
          </a:p>
        </p:txBody>
      </p:sp>
      <p:sp>
        <p:nvSpPr>
          <p:cNvPr id="5" name="Text Placeholder 4">
            <a:extLst>
              <a:ext uri="{FF2B5EF4-FFF2-40B4-BE49-F238E27FC236}">
                <a16:creationId xmlns:a16="http://schemas.microsoft.com/office/drawing/2014/main" xmlns="" id="{C20B8947-327C-427F-B775-4F62AC4C7113}"/>
              </a:ext>
            </a:extLst>
          </p:cNvPr>
          <p:cNvSpPr>
            <a:spLocks noGrp="1"/>
          </p:cNvSpPr>
          <p:nvPr>
            <p:ph type="body" sz="quarter" idx="14"/>
          </p:nvPr>
        </p:nvSpPr>
        <p:spPr>
          <a:xfrm>
            <a:off x="696704"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3" name="Text Placeholder 4">
            <a:extLst>
              <a:ext uri="{FF2B5EF4-FFF2-40B4-BE49-F238E27FC236}">
                <a16:creationId xmlns:a16="http://schemas.microsoft.com/office/drawing/2014/main" xmlns="" id="{7EC8F45C-BAFD-43A7-91EA-CF42FEBBAD8B}"/>
              </a:ext>
            </a:extLst>
          </p:cNvPr>
          <p:cNvSpPr>
            <a:spLocks noGrp="1"/>
          </p:cNvSpPr>
          <p:nvPr>
            <p:ph type="body" sz="quarter" idx="15"/>
          </p:nvPr>
        </p:nvSpPr>
        <p:spPr>
          <a:xfrm>
            <a:off x="696704"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4" name="Text Placeholder 4">
            <a:extLst>
              <a:ext uri="{FF2B5EF4-FFF2-40B4-BE49-F238E27FC236}">
                <a16:creationId xmlns:a16="http://schemas.microsoft.com/office/drawing/2014/main" xmlns="" id="{0949FF6D-ECD5-4EF9-B93A-911AAE13ACE9}"/>
              </a:ext>
            </a:extLst>
          </p:cNvPr>
          <p:cNvSpPr>
            <a:spLocks noGrp="1"/>
          </p:cNvSpPr>
          <p:nvPr>
            <p:ph type="body" sz="quarter" idx="16"/>
          </p:nvPr>
        </p:nvSpPr>
        <p:spPr>
          <a:xfrm>
            <a:off x="8616575"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5" name="Text Placeholder 4">
            <a:extLst>
              <a:ext uri="{FF2B5EF4-FFF2-40B4-BE49-F238E27FC236}">
                <a16:creationId xmlns:a16="http://schemas.microsoft.com/office/drawing/2014/main" xmlns="" id="{8255D96C-685D-4030-9E22-9140C31C4976}"/>
              </a:ext>
            </a:extLst>
          </p:cNvPr>
          <p:cNvSpPr>
            <a:spLocks noGrp="1"/>
          </p:cNvSpPr>
          <p:nvPr>
            <p:ph type="body" sz="quarter" idx="17"/>
          </p:nvPr>
        </p:nvSpPr>
        <p:spPr>
          <a:xfrm>
            <a:off x="8616575"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6" name="Text Placeholder 4">
            <a:extLst>
              <a:ext uri="{FF2B5EF4-FFF2-40B4-BE49-F238E27FC236}">
                <a16:creationId xmlns:a16="http://schemas.microsoft.com/office/drawing/2014/main" xmlns="" id="{93CDDBB4-45F4-4435-8E51-B805CE8785C6}"/>
              </a:ext>
            </a:extLst>
          </p:cNvPr>
          <p:cNvSpPr>
            <a:spLocks noGrp="1"/>
          </p:cNvSpPr>
          <p:nvPr>
            <p:ph type="body" sz="quarter" idx="18"/>
          </p:nvPr>
        </p:nvSpPr>
        <p:spPr>
          <a:xfrm>
            <a:off x="4656639" y="3585598"/>
            <a:ext cx="3096000" cy="276999"/>
          </a:xfrm>
        </p:spPr>
        <p:txBody>
          <a:bodyPr>
            <a:noAutofit/>
          </a:bodyPr>
          <a:lstStyle>
            <a:lvl1pPr marL="0" indent="0">
              <a:spcBef>
                <a:spcPts val="0"/>
              </a:spcBef>
              <a:buNone/>
              <a:defRPr sz="1350" b="1">
                <a:solidFill>
                  <a:schemeClr val="tx2"/>
                </a:solidFill>
              </a:defRPr>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
        <p:nvSpPr>
          <p:cNvPr id="17" name="Text Placeholder 4">
            <a:extLst>
              <a:ext uri="{FF2B5EF4-FFF2-40B4-BE49-F238E27FC236}">
                <a16:creationId xmlns:a16="http://schemas.microsoft.com/office/drawing/2014/main" xmlns="" id="{00068D67-3239-43C4-8B4E-1F698F876A9B}"/>
              </a:ext>
            </a:extLst>
          </p:cNvPr>
          <p:cNvSpPr>
            <a:spLocks noGrp="1"/>
          </p:cNvSpPr>
          <p:nvPr>
            <p:ph type="body" sz="quarter" idx="19"/>
          </p:nvPr>
        </p:nvSpPr>
        <p:spPr>
          <a:xfrm>
            <a:off x="4656639" y="4040556"/>
            <a:ext cx="3096000" cy="1980832"/>
          </a:xfrm>
        </p:spPr>
        <p:txBody>
          <a:bodyPr/>
          <a:lstStyle>
            <a:lvl1pPr marL="0" indent="0">
              <a:spcBef>
                <a:spcPts val="0"/>
              </a:spcBef>
              <a:buNone/>
              <a:defRPr sz="1050" b="0"/>
            </a:lvl1pPr>
            <a:lvl2pPr marL="136922" indent="0">
              <a:buNone/>
              <a:defRPr sz="1350" b="1"/>
            </a:lvl2pPr>
            <a:lvl3pPr marL="333375" indent="0">
              <a:buNone/>
              <a:defRPr sz="1350" b="1"/>
            </a:lvl3pPr>
            <a:lvl4pPr marL="536972" indent="0">
              <a:buNone/>
              <a:defRPr sz="1350" b="1"/>
            </a:lvl4pPr>
            <a:lvl5pPr marL="739379" indent="0">
              <a:buNone/>
              <a:defRPr sz="1350" b="1"/>
            </a:lvl5pPr>
          </a:lstStyle>
          <a:p>
            <a:pPr lvl="0"/>
            <a:r>
              <a:rPr lang="de-DE"/>
              <a:t>Mastertextformat bearbeiten</a:t>
            </a:r>
          </a:p>
        </p:txBody>
      </p:sp>
    </p:spTree>
    <p:extLst>
      <p:ext uri="{BB962C8B-B14F-4D97-AF65-F5344CB8AC3E}">
        <p14:creationId xmlns:p14="http://schemas.microsoft.com/office/powerpoint/2010/main" val="16939583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Section Header - Gradient and Number" userDrawn="1">
  <p:cSld name="Section Header - Gradient and Number">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95325" y="692150"/>
            <a:ext cx="11017250"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GB"/>
              <a:t>Click to add section title</a:t>
            </a:r>
          </a:p>
        </p:txBody>
      </p:sp>
      <p:sp>
        <p:nvSpPr>
          <p:cNvPr id="10" name="Text Placeholder 9"/>
          <p:cNvSpPr>
            <a:spLocks noGrp="1"/>
          </p:cNvSpPr>
          <p:nvPr>
            <p:ph type="body" sz="quarter" idx="12" hasCustomPrompt="1"/>
          </p:nvPr>
        </p:nvSpPr>
        <p:spPr>
          <a:xfrm>
            <a:off x="482227" y="1558252"/>
            <a:ext cx="6693893" cy="4607598"/>
          </a:xfrm>
        </p:spPr>
        <p:txBody>
          <a:bodyPr wrap="none" anchor="t" anchorCtr="0">
            <a:noAutofit/>
          </a:bodyPr>
          <a:lstStyle>
            <a:lvl1pPr marL="0" indent="0">
              <a:lnSpc>
                <a:spcPct val="100000"/>
              </a:lnSpc>
              <a:spcBef>
                <a:spcPts val="0"/>
              </a:spcBef>
              <a:buFontTx/>
              <a:buNone/>
              <a:defRPr sz="35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8" name="Slide Number Placeholder 7"/>
          <p:cNvSpPr>
            <a:spLocks noGrp="1"/>
          </p:cNvSpPr>
          <p:nvPr>
            <p:ph type="sldNum" sz="quarter" idx="15"/>
            <p:custDataLst>
              <p:tags r:id="rId2"/>
            </p:custDataLst>
          </p:nvPr>
        </p:nvSpPr>
        <p:spPr/>
        <p:txBody>
          <a:bodyPr/>
          <a:lstStyle>
            <a:lvl1pPr>
              <a:defRPr>
                <a:solidFill>
                  <a:schemeClr val="bg1"/>
                </a:solidFill>
              </a:defRPr>
            </a:lvl1pPr>
          </a:lstStyle>
          <a:p>
            <a:fld id="{5E4D2043-7E31-4A53-BD33-72A88E682172}" type="slidenum">
              <a:rPr lang="en-GB" smtClean="0"/>
              <a:pPr/>
              <a:t>‹#›</a:t>
            </a:fld>
            <a:endParaRPr lang="en-GB"/>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chemeClr val="bg1"/>
              </a:solidFill>
              <a:latin typeface="SwissReSans" pitchFamily="34" charset="0"/>
            </a:endParaRPr>
          </a:p>
        </p:txBody>
      </p:sp>
      <p:pic>
        <p:nvPicPr>
          <p:cNvPr id="6" name="Picture 5">
            <a:extLst>
              <a:ext uri="{FF2B5EF4-FFF2-40B4-BE49-F238E27FC236}">
                <a16:creationId xmlns:a16="http://schemas.microsoft.com/office/drawing/2014/main" xmlns="" id="{53CA2B31-CBAE-4FCE-8922-2157B75354DA}"/>
              </a:ext>
            </a:extLst>
          </p:cNvPr>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40526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flip="none" rotWithShape="1">
          <a:gsLst>
            <a:gs pos="0">
              <a:schemeClr val="tx2"/>
            </a:gs>
            <a:gs pos="100000">
              <a:schemeClr val="bg2"/>
            </a:gs>
          </a:gsLst>
          <a:lin ang="0" scaled="1"/>
          <a:tileRect/>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noProof="0"/>
          </a:p>
        </p:txBody>
      </p:sp>
      <p:sp>
        <p:nvSpPr>
          <p:cNvPr id="6" name="Footer Placeholder 5"/>
          <p:cNvSpPr>
            <a:spLocks noGrp="1"/>
          </p:cNvSpPr>
          <p:nvPr>
            <p:ph type="ftr" sz="quarter" idx="11"/>
          </p:nvPr>
        </p:nvSpPr>
        <p:spPr/>
        <p:txBody>
          <a:bodyPr/>
          <a:lstStyle/>
          <a:p>
            <a:endParaRPr lang="en-GB" noProof="0"/>
          </a:p>
        </p:txBody>
      </p:sp>
      <p:sp>
        <p:nvSpPr>
          <p:cNvPr id="7" name="Slide Number Placeholder 6"/>
          <p:cNvSpPr>
            <a:spLocks noGrp="1"/>
          </p:cNvSpPr>
          <p:nvPr>
            <p:ph type="sldNum" sz="quarter" idx="12"/>
            <p:custDataLst>
              <p:tags r:id="rId2"/>
            </p:custDataLst>
          </p:nvPr>
        </p:nvSpPr>
        <p:spPr/>
        <p:txBody>
          <a:bodyPr/>
          <a:lstStyle>
            <a:lvl1pPr>
              <a:defRPr>
                <a:solidFill>
                  <a:srgbClr val="FFFFFF"/>
                </a:solidFill>
              </a:defRPr>
            </a:lvl1pPr>
          </a:lstStyle>
          <a:p>
            <a:fld id="{5E4D2043-7E31-4A53-BD33-72A88E682172}" type="slidenum">
              <a:rPr lang="en-GB" noProof="0" smtClean="0"/>
              <a:pPr/>
              <a:t>‹#›</a:t>
            </a:fld>
            <a:endParaRPr lang="en-GB"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3"/>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FFFFFF"/>
              </a:solidFill>
              <a:latin typeface="SwissReSans" pitchFamily="34" charset="0"/>
              <a:ea typeface="+mn-ea"/>
              <a:cs typeface="+mn-cs"/>
            </a:endParaRPr>
          </a:p>
        </p:txBody>
      </p:sp>
      <p:pic>
        <p:nvPicPr>
          <p:cNvPr id="4" name="Picture 3"/>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5961427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Title Slide - Gradient only" preserve="1" userDrawn="1">
  <p:cSld name="Title Slide - Gradient only">
    <p:bg bwMode="gray">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363500C3-07FC-43C1-8AA6-4A125F9B2E5E}"/>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36317328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Title Slide - Gradient horizontal" preserve="1" userDrawn="1">
  <p:cSld name="Title Slide - Gradient horizontal">
    <p:bg bwMode="gray">
      <p:bgPr>
        <a:solidFill>
          <a:srgbClr val="D1DCD6"/>
        </a:solidFill>
        <a:effectLst/>
      </p:bgPr>
    </p:bg>
    <p:spTree>
      <p:nvGrpSpPr>
        <p:cNvPr id="1" name=""/>
        <p:cNvGrpSpPr/>
        <p:nvPr/>
      </p:nvGrpSpPr>
      <p:grpSpPr>
        <a:xfrm>
          <a:off x="0" y="0"/>
          <a:ext cx="0" cy="0"/>
          <a:chOff x="0" y="0"/>
          <a:chExt cx="0" cy="0"/>
        </a:xfrm>
      </p:grpSpPr>
      <p:sp>
        <p:nvSpPr>
          <p:cNvPr id="7" name="Gradient">
            <a:extLst>
              <a:ext uri="{FF2B5EF4-FFF2-40B4-BE49-F238E27FC236}">
                <a16:creationId xmlns:a16="http://schemas.microsoft.com/office/drawing/2014/main" xmlns="" id="{2F68CC6E-9B5E-4F55-8E27-9CB09E9C01FB}"/>
              </a:ext>
            </a:extLst>
          </p:cNvPr>
          <p:cNvSpPr/>
          <p:nvPr userDrawn="1">
            <p:custDataLst>
              <p:tags r:id="rId1"/>
            </p:custDataLst>
          </p:nvPr>
        </p:nvSpPr>
        <p:spPr bwMode="gray">
          <a:xfrm>
            <a:off x="0" y="0"/>
            <a:ext cx="12192000" cy="3429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Picture Placeholder 7"/>
          <p:cNvSpPr>
            <a:spLocks noGrp="1"/>
          </p:cNvSpPr>
          <p:nvPr>
            <p:ph type="pic" sz="quarter" idx="12"/>
          </p:nvPr>
        </p:nvSpPr>
        <p:spPr bwMode="gray">
          <a:xfrm>
            <a:off x="0" y="3429000"/>
            <a:ext cx="12192000" cy="3429000"/>
          </a:xfrm>
        </p:spPr>
        <p:txBody>
          <a:bodyPr tIns="504000" anchor="ctr"/>
          <a:lstStyle>
            <a:lvl1pPr marL="0" indent="0" algn="ctr">
              <a:spcBef>
                <a:spcPts val="0"/>
              </a:spcBef>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D189FCD9-A861-40AC-AD6E-26994FF0F68F}"/>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75401641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Title Slide - Gradient vertical" preserve="1" userDrawn="1">
  <p:cSld name="Title Slide - Gradient vertical">
    <p:bg bwMode="gray">
      <p:bgPr>
        <a:solidFill>
          <a:srgbClr val="D1DCD6"/>
        </a:solidFill>
        <a:effectLst/>
      </p:bgPr>
    </p:bg>
    <p:spTree>
      <p:nvGrpSpPr>
        <p:cNvPr id="1" name=""/>
        <p:cNvGrpSpPr/>
        <p:nvPr/>
      </p:nvGrpSpPr>
      <p:grpSpPr>
        <a:xfrm>
          <a:off x="0" y="0"/>
          <a:ext cx="0" cy="0"/>
          <a:chOff x="0" y="0"/>
          <a:chExt cx="0" cy="0"/>
        </a:xfrm>
      </p:grpSpPr>
      <p:sp>
        <p:nvSpPr>
          <p:cNvPr id="7" name="Gradient">
            <a:extLst>
              <a:ext uri="{FF2B5EF4-FFF2-40B4-BE49-F238E27FC236}">
                <a16:creationId xmlns:a16="http://schemas.microsoft.com/office/drawing/2014/main" xmlns="" id="{2F68CC6E-9B5E-4F55-8E27-9CB09E9C01FB}"/>
              </a:ext>
            </a:extLst>
          </p:cNvPr>
          <p:cNvSpPr/>
          <p:nvPr userDrawn="1">
            <p:custDataLst>
              <p:tags r:id="rId1"/>
            </p:custDataLst>
          </p:nvPr>
        </p:nvSpPr>
        <p:spPr bwMode="gray">
          <a:xfrm>
            <a:off x="0" y="0"/>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Picture Placeholder 7"/>
          <p:cNvSpPr>
            <a:spLocks noGrp="1"/>
          </p:cNvSpPr>
          <p:nvPr>
            <p:ph type="pic" sz="quarter" idx="12"/>
          </p:nvPr>
        </p:nvSpPr>
        <p:spPr bwMode="gray">
          <a:xfrm>
            <a:off x="6096000" y="0"/>
            <a:ext cx="6096000" cy="6858000"/>
          </a:xfrm>
        </p:spPr>
        <p:txBody>
          <a:bodyPr tIns="504000" anchor="ctr"/>
          <a:lstStyle>
            <a:lvl1pPr marL="0" indent="0" algn="ctr">
              <a:spcBef>
                <a:spcPts val="0"/>
              </a:spcBef>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912285" y="1628776"/>
            <a:ext cx="4895684"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4895684"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F616987F-2898-4706-8FCB-7B5C270C7AD5}"/>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0661622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Title Slide - Image" preserve="1" userDrawn="1">
  <p:cSld name="Title Slide - Image">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p:spPr>
        <p:txBody>
          <a:bodyPr tIns="504000" anchor="ctr"/>
          <a:lstStyle>
            <a:lvl1pPr marL="0" indent="0" algn="ctr">
              <a:spcBef>
                <a:spcPts val="0"/>
              </a:spcBef>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48B1128C-CD1B-4BA7-B862-D1B044EA688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642361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Title Slide - Gradient horizontal (transparent)" preserve="1" userDrawn="1">
  <p:cSld name="Title Slide - Gradient horizontal (transparent)">
    <p:bg bwMode="gray">
      <p:bgPr>
        <a:solidFill>
          <a:srgbClr val="D1DCD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0E626A95-89A9-4910-A0B0-ED6E27A6C96F}"/>
              </a:ext>
            </a:extLst>
          </p:cNvPr>
          <p:cNvSpPr/>
          <p:nvPr userDrawn="1"/>
        </p:nvSpPr>
        <p:spPr>
          <a:xfrm>
            <a:off x="0" y="0"/>
            <a:ext cx="12192000" cy="3429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04000" anchor="ctr"/>
          <a:lstStyle>
            <a:lvl1pPr marL="0" indent="0" algn="ctr">
              <a:spcBef>
                <a:spcPts val="0"/>
              </a:spcBef>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912285" y="1628776"/>
            <a:ext cx="9696217"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969621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6" name="Picture 5">
            <a:extLst>
              <a:ext uri="{FF2B5EF4-FFF2-40B4-BE49-F238E27FC236}">
                <a16:creationId xmlns:a16="http://schemas.microsoft.com/office/drawing/2014/main" xmlns="" id="{5D09FED2-46A4-4F6A-B40F-66D8561BB52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6830898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Slide - Gradient vertical (transparent)" preserve="1" userDrawn="1">
  <p:cSld name="Title Slide - Gradient vertical (transparent)">
    <p:bg bwMode="gray">
      <p:bgPr>
        <a:solidFill>
          <a:srgbClr val="D1DCD6"/>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C75108B1-4FF0-4458-8738-40DFBFE5E390}"/>
              </a:ext>
            </a:extLst>
          </p:cNvPr>
          <p:cNvSpPr/>
          <p:nvPr userDrawn="1"/>
        </p:nvSpPr>
        <p:spPr>
          <a:xfrm>
            <a:off x="0" y="0"/>
            <a:ext cx="6096000" cy="6858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Picture Placeholder 7"/>
          <p:cNvSpPr>
            <a:spLocks noGrp="1"/>
          </p:cNvSpPr>
          <p:nvPr>
            <p:ph type="pic" sz="quarter" idx="12"/>
          </p:nvPr>
        </p:nvSpPr>
        <p:spPr bwMode="gray">
          <a:xfrm>
            <a:off x="0" y="0"/>
            <a:ext cx="12192000" cy="6858000"/>
          </a:xfrm>
        </p:spPr>
        <p:txBody>
          <a:bodyPr tIns="504000" anchor="ctr"/>
          <a:lstStyle>
            <a:lvl1pPr marL="0" indent="0" algn="ctr">
              <a:spcBef>
                <a:spcPts val="0"/>
              </a:spcBef>
              <a:buFontTx/>
              <a:buNone/>
              <a:defRPr sz="1200">
                <a:solidFill>
                  <a:srgbClr val="A8BAB2"/>
                </a:solidFill>
                <a:latin typeface="SwissReSans" pitchFamily="34" charset="0"/>
              </a:defRPr>
            </a:lvl1pPr>
          </a:lstStyle>
          <a:p>
            <a:r>
              <a:rPr lang="en-US"/>
              <a:t>Click icon to add picture</a:t>
            </a:r>
            <a:endParaRPr lang="en-GB"/>
          </a:p>
        </p:txBody>
      </p:sp>
      <p:sp>
        <p:nvSpPr>
          <p:cNvPr id="2" name="Title 1"/>
          <p:cNvSpPr>
            <a:spLocks noGrp="1"/>
          </p:cNvSpPr>
          <p:nvPr>
            <p:ph type="ctrTitle"/>
          </p:nvPr>
        </p:nvSpPr>
        <p:spPr bwMode="white">
          <a:xfrm>
            <a:off x="912285" y="1628776"/>
            <a:ext cx="4895684" cy="1296168"/>
          </a:xfrm>
        </p:spPr>
        <p:txBody>
          <a:bodyPr>
            <a:noAutofit/>
          </a:bodyPr>
          <a:lstStyle>
            <a:lvl1pPr algn="l">
              <a:lnSpc>
                <a:spcPct val="80000"/>
              </a:lnSpc>
              <a:defRPr sz="3600">
                <a:solidFill>
                  <a:srgbClr val="FFFFFF"/>
                </a:solidFill>
                <a:latin typeface="SwissReSans Light" pitchFamily="34" charset="0"/>
              </a:defRPr>
            </a:lvl1pPr>
          </a:lstStyle>
          <a:p>
            <a:r>
              <a:rPr lang="en-US"/>
              <a:t>Click to edit Master title style</a:t>
            </a:r>
            <a:endParaRPr lang="en-GB"/>
          </a:p>
        </p:txBody>
      </p:sp>
      <p:sp>
        <p:nvSpPr>
          <p:cNvPr id="3" name="Subtitle 2"/>
          <p:cNvSpPr>
            <a:spLocks noGrp="1"/>
          </p:cNvSpPr>
          <p:nvPr>
            <p:ph type="subTitle" idx="1"/>
          </p:nvPr>
        </p:nvSpPr>
        <p:spPr bwMode="white">
          <a:xfrm>
            <a:off x="912285" y="2996952"/>
            <a:ext cx="4895684"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pic>
        <p:nvPicPr>
          <p:cNvPr id="5" name="Picture 4">
            <a:extLst>
              <a:ext uri="{FF2B5EF4-FFF2-40B4-BE49-F238E27FC236}">
                <a16:creationId xmlns:a16="http://schemas.microsoft.com/office/drawing/2014/main" xmlns="" id="{FF7331D5-D626-4003-ABC7-7C1E0EB58A77}"/>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351235" y="301052"/>
            <a:ext cx="1838903" cy="324512"/>
          </a:xfrm>
          <a:prstGeom prst="rect">
            <a:avLst/>
          </a:prstGeom>
        </p:spPr>
      </p:pic>
    </p:spTree>
    <p:extLst>
      <p:ext uri="{BB962C8B-B14F-4D97-AF65-F5344CB8AC3E}">
        <p14:creationId xmlns:p14="http://schemas.microsoft.com/office/powerpoint/2010/main" val="17083918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Section Header - Gradient" preserve="1" userDrawn="1">
  <p:cSld name="Section Header - Gradient">
    <p:bg bwMode="gray">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912285" y="1628776"/>
            <a:ext cx="10640484" cy="1296168"/>
          </a:xfrm>
        </p:spPr>
        <p:txBody>
          <a:bodyPr>
            <a:noAutofit/>
          </a:bodyPr>
          <a:lstStyle>
            <a:lvl1pPr algn="l">
              <a:lnSpc>
                <a:spcPct val="80000"/>
              </a:lnSpc>
              <a:defRPr sz="3600">
                <a:solidFill>
                  <a:srgbClr val="FFFFFF"/>
                </a:solidFill>
                <a:latin typeface="SwissReSans Light" pitchFamily="34" charset="0"/>
              </a:defRPr>
            </a:lvl1pPr>
          </a:lstStyle>
          <a:p>
            <a:r>
              <a:rPr lang="en-GB"/>
              <a:t>Click to add section title</a:t>
            </a:r>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12" name="Datumsplatzhalter 11">
            <a:extLst>
              <a:ext uri="{FF2B5EF4-FFF2-40B4-BE49-F238E27FC236}">
                <a16:creationId xmlns:a16="http://schemas.microsoft.com/office/drawing/2014/main" xmlns="" id="{587EDDAA-BE1E-4C09-95B4-63BAA427AE3C}"/>
              </a:ext>
            </a:extLst>
          </p:cNvPr>
          <p:cNvSpPr>
            <a:spLocks noGrp="1"/>
          </p:cNvSpPr>
          <p:nvPr>
            <p:ph type="dt" sz="half" idx="10"/>
          </p:nvPr>
        </p:nvSpPr>
        <p:spPr/>
        <p:txBody>
          <a:bodyPr/>
          <a:lstStyle/>
          <a:p>
            <a:endParaRPr lang="en-GB"/>
          </a:p>
        </p:txBody>
      </p:sp>
      <p:sp>
        <p:nvSpPr>
          <p:cNvPr id="13" name="Fußzeilenplatzhalter 12">
            <a:extLst>
              <a:ext uri="{FF2B5EF4-FFF2-40B4-BE49-F238E27FC236}">
                <a16:creationId xmlns:a16="http://schemas.microsoft.com/office/drawing/2014/main" xmlns="" id="{737A1096-46A2-4775-9147-FD747FBEA34B}"/>
              </a:ext>
            </a:extLst>
          </p:cNvPr>
          <p:cNvSpPr>
            <a:spLocks noGrp="1"/>
          </p:cNvSpPr>
          <p:nvPr>
            <p:ph type="ftr" sz="quarter" idx="11"/>
          </p:nvPr>
        </p:nvSpPr>
        <p:spPr/>
        <p:txBody>
          <a:bodyPr/>
          <a:lstStyle/>
          <a:p>
            <a:endParaRPr lang="en-GB"/>
          </a:p>
        </p:txBody>
      </p:sp>
      <p:sp>
        <p:nvSpPr>
          <p:cNvPr id="14" name="Foliennummernplatzhalter 13">
            <a:extLst>
              <a:ext uri="{FF2B5EF4-FFF2-40B4-BE49-F238E27FC236}">
                <a16:creationId xmlns:a16="http://schemas.microsoft.com/office/drawing/2014/main" xmlns="" id="{B543D2E2-3A49-4B5D-A541-501648B6A548}"/>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5" name="Text Placeholder 9">
            <a:extLst>
              <a:ext uri="{FF2B5EF4-FFF2-40B4-BE49-F238E27FC236}">
                <a16:creationId xmlns:a16="http://schemas.microsoft.com/office/drawing/2014/main" xmlns="" id="{E33DA8C1-B8D5-4D23-A058-1B3C82EADF51}"/>
              </a:ext>
            </a:extLst>
          </p:cNvPr>
          <p:cNvSpPr>
            <a:spLocks noGrp="1"/>
          </p:cNvSpPr>
          <p:nvPr>
            <p:ph type="body" sz="quarter" idx="13"/>
          </p:nvPr>
        </p:nvSpPr>
        <p:spPr>
          <a:xfrm>
            <a:off x="912285" y="2996953"/>
            <a:ext cx="10640484" cy="2544487"/>
          </a:xfrm>
        </p:spPr>
        <p:txBody>
          <a:bodyPr/>
          <a:lstStyle>
            <a:lvl1pPr>
              <a:spcBef>
                <a:spcPts val="0"/>
              </a:spcBef>
              <a:defRPr sz="1800">
                <a:solidFill>
                  <a:schemeClr val="bg1"/>
                </a:solidFill>
                <a:latin typeface="SwissReSans Light" panose="020B0504020202020204" pitchFamily="34" charset="0"/>
              </a:defRPr>
            </a:lvl1pPr>
            <a:lvl2pPr>
              <a:spcBef>
                <a:spcPts val="0"/>
              </a:spcBef>
              <a:defRPr sz="1600">
                <a:solidFill>
                  <a:schemeClr val="bg1"/>
                </a:solidFill>
                <a:latin typeface="SwissReSans Light" panose="020B0504020202020204" pitchFamily="34" charset="0"/>
              </a:defRPr>
            </a:lvl2pPr>
            <a:lvl3pPr>
              <a:spcBef>
                <a:spcPts val="0"/>
              </a:spcBef>
              <a:defRPr sz="1600">
                <a:solidFill>
                  <a:schemeClr val="bg1"/>
                </a:solidFill>
                <a:latin typeface="SwissReSans Light" panose="020B0504020202020204" pitchFamily="34" charset="0"/>
              </a:defRPr>
            </a:lvl3pPr>
            <a:lvl4pPr>
              <a:spcBef>
                <a:spcPts val="0"/>
              </a:spcBef>
              <a:defRPr sz="1600">
                <a:solidFill>
                  <a:schemeClr val="bg1"/>
                </a:solidFill>
                <a:latin typeface="SwissReSans Light" panose="020B0504020202020204" pitchFamily="34" charset="0"/>
              </a:defRPr>
            </a:lvl4pPr>
            <a:lvl5pPr>
              <a:spcBef>
                <a:spcPts val="0"/>
              </a:spcBef>
              <a:defRPr sz="1600">
                <a:solidFill>
                  <a:schemeClr val="bg1"/>
                </a:solidFill>
                <a:latin typeface="SwissReSans Light" panose="020B05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xmlns="" id="{82AC6EE3-8B78-4C1E-A9D9-5C730B7EF8A6}"/>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4684597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matchingName="Section Header - Gradient and Number" preserve="1" userDrawn="1">
  <p:cSld name="Section Header - Gradient and Number">
    <p:bg bwMode="gray">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12" name="Datumsplatzhalter 11">
            <a:extLst>
              <a:ext uri="{FF2B5EF4-FFF2-40B4-BE49-F238E27FC236}">
                <a16:creationId xmlns:a16="http://schemas.microsoft.com/office/drawing/2014/main" xmlns="" id="{587EDDAA-BE1E-4C09-95B4-63BAA427AE3C}"/>
              </a:ext>
            </a:extLst>
          </p:cNvPr>
          <p:cNvSpPr>
            <a:spLocks noGrp="1"/>
          </p:cNvSpPr>
          <p:nvPr>
            <p:ph type="dt" sz="half" idx="10"/>
          </p:nvPr>
        </p:nvSpPr>
        <p:spPr/>
        <p:txBody>
          <a:bodyPr/>
          <a:lstStyle/>
          <a:p>
            <a:endParaRPr lang="en-GB"/>
          </a:p>
        </p:txBody>
      </p:sp>
      <p:sp>
        <p:nvSpPr>
          <p:cNvPr id="13" name="Fußzeilenplatzhalter 12">
            <a:extLst>
              <a:ext uri="{FF2B5EF4-FFF2-40B4-BE49-F238E27FC236}">
                <a16:creationId xmlns:a16="http://schemas.microsoft.com/office/drawing/2014/main" xmlns="" id="{737A1096-46A2-4775-9147-FD747FBEA34B}"/>
              </a:ext>
            </a:extLst>
          </p:cNvPr>
          <p:cNvSpPr>
            <a:spLocks noGrp="1"/>
          </p:cNvSpPr>
          <p:nvPr>
            <p:ph type="ftr" sz="quarter" idx="11"/>
          </p:nvPr>
        </p:nvSpPr>
        <p:spPr/>
        <p:txBody>
          <a:bodyPr/>
          <a:lstStyle/>
          <a:p>
            <a:endParaRPr lang="en-GB"/>
          </a:p>
        </p:txBody>
      </p:sp>
      <p:sp>
        <p:nvSpPr>
          <p:cNvPr id="14" name="Foliennummernplatzhalter 13">
            <a:extLst>
              <a:ext uri="{FF2B5EF4-FFF2-40B4-BE49-F238E27FC236}">
                <a16:creationId xmlns:a16="http://schemas.microsoft.com/office/drawing/2014/main" xmlns="" id="{B543D2E2-3A49-4B5D-A541-501648B6A548}"/>
              </a:ext>
            </a:extLst>
          </p:cNvPr>
          <p:cNvSpPr>
            <a:spLocks noGrp="1"/>
          </p:cNvSpPr>
          <p:nvPr>
            <p:ph type="sldNum" sz="quarter" idx="12"/>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0" name="Title 1">
            <a:extLst>
              <a:ext uri="{FF2B5EF4-FFF2-40B4-BE49-F238E27FC236}">
                <a16:creationId xmlns:a16="http://schemas.microsoft.com/office/drawing/2014/main" xmlns="" id="{0F59A09E-3FBE-4FD8-8C4A-51C187E8CB15}"/>
              </a:ext>
            </a:extLst>
          </p:cNvPr>
          <p:cNvSpPr>
            <a:spLocks noGrp="1"/>
          </p:cNvSpPr>
          <p:nvPr>
            <p:ph type="title" hasCustomPrompt="1"/>
          </p:nvPr>
        </p:nvSpPr>
        <p:spPr bwMode="gray">
          <a:xfrm>
            <a:off x="927100" y="692150"/>
            <a:ext cx="10640483"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5" name="Text Placeholder 9">
            <a:extLst>
              <a:ext uri="{FF2B5EF4-FFF2-40B4-BE49-F238E27FC236}">
                <a16:creationId xmlns:a16="http://schemas.microsoft.com/office/drawing/2014/main" xmlns="" id="{E238014F-70EA-440F-9706-A8C648C26288}"/>
              </a:ext>
            </a:extLst>
          </p:cNvPr>
          <p:cNvSpPr>
            <a:spLocks noGrp="1"/>
          </p:cNvSpPr>
          <p:nvPr>
            <p:ph type="body" sz="quarter" idx="13" hasCustomPrompt="1"/>
          </p:nvPr>
        </p:nvSpPr>
        <p:spPr>
          <a:xfrm>
            <a:off x="653873" y="1939122"/>
            <a:ext cx="6993103" cy="4537074"/>
          </a:xfrm>
        </p:spPr>
        <p:txBody>
          <a:bodyPr wrap="none" anchor="t">
            <a:noAutofit/>
          </a:bodyPr>
          <a:lstStyle>
            <a:lvl1pPr marL="0" indent="0">
              <a:spcBef>
                <a:spcPts val="0"/>
              </a:spcBef>
              <a:buFontTx/>
              <a:buNone/>
              <a:defRPr sz="32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pic>
        <p:nvPicPr>
          <p:cNvPr id="3" name="Picture 2">
            <a:extLst>
              <a:ext uri="{FF2B5EF4-FFF2-40B4-BE49-F238E27FC236}">
                <a16:creationId xmlns:a16="http://schemas.microsoft.com/office/drawing/2014/main" xmlns="" id="{79C38BFC-4ECA-4C14-8875-EAC26B0C02A0}"/>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088723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Section Header - Gradient, Image and Number" preserve="1" userDrawn="1">
  <p:cSld name="Section Header - Gradient, Image and Number">
    <p:bg bwMode="gray">
      <p:bgPr>
        <a:solidFill>
          <a:srgbClr val="D1DCD6"/>
        </a:solidFill>
        <a:effectLst/>
      </p:bgPr>
    </p:bg>
    <p:spTree>
      <p:nvGrpSpPr>
        <p:cNvPr id="1" name=""/>
        <p:cNvGrpSpPr/>
        <p:nvPr/>
      </p:nvGrpSpPr>
      <p:grpSpPr>
        <a:xfrm>
          <a:off x="0" y="0"/>
          <a:ext cx="0" cy="0"/>
          <a:chOff x="0" y="0"/>
          <a:chExt cx="0" cy="0"/>
        </a:xfrm>
      </p:grpSpPr>
      <p:sp>
        <p:nvSpPr>
          <p:cNvPr id="7" name="Gradient">
            <a:extLst>
              <a:ext uri="{FF2B5EF4-FFF2-40B4-BE49-F238E27FC236}">
                <a16:creationId xmlns:a16="http://schemas.microsoft.com/office/drawing/2014/main" xmlns="" id="{2F68CC6E-9B5E-4F55-8E27-9CB09E9C01FB}"/>
              </a:ext>
            </a:extLst>
          </p:cNvPr>
          <p:cNvSpPr/>
          <p:nvPr userDrawn="1">
            <p:custDataLst>
              <p:tags r:id="rId1"/>
            </p:custDataLst>
          </p:nvPr>
        </p:nvSpPr>
        <p:spPr bwMode="gray">
          <a:xfrm>
            <a:off x="0" y="0"/>
            <a:ext cx="6096000" cy="6858000"/>
          </a:xfrm>
          <a:prstGeom prst="rect">
            <a:avLst/>
          </a:prstGeom>
          <a:gradFill flip="none" rotWithShape="1">
            <a:gsLst>
              <a:gs pos="0">
                <a:schemeClr val="tx2"/>
              </a:gs>
              <a:gs pos="100000">
                <a:schemeClr val="bg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8" name="Picture Placeholder 7"/>
          <p:cNvSpPr>
            <a:spLocks noGrp="1"/>
          </p:cNvSpPr>
          <p:nvPr>
            <p:ph type="pic" sz="quarter" idx="12" hasCustomPrompt="1"/>
          </p:nvPr>
        </p:nvSpPr>
        <p:spPr bwMode="gray">
          <a:xfrm>
            <a:off x="6096000" y="0"/>
            <a:ext cx="6096000" cy="6858000"/>
          </a:xfrm>
        </p:spPr>
        <p:txBody>
          <a:bodyPr tIns="504000" anchor="ctr"/>
          <a:lstStyle>
            <a:lvl1pPr algn="ctr">
              <a:buFontTx/>
              <a:buNone/>
              <a:defRPr sz="1200">
                <a:solidFill>
                  <a:srgbClr val="A8BAB2"/>
                </a:solidFill>
                <a:latin typeface="SwissReSans" pitchFamily="34" charset="0"/>
              </a:defRPr>
            </a:lvl1pPr>
          </a:lstStyle>
          <a:p>
            <a:r>
              <a:rPr lang="de-DE"/>
              <a:t>Bild durch Klicken auf Symbol hinzufügen</a:t>
            </a:r>
            <a:endParaRPr lang="en-GB"/>
          </a:p>
        </p:txBody>
      </p:sp>
      <p:sp>
        <p:nvSpPr>
          <p:cNvPr id="11" name="Classification"/>
          <p:cNvSpPr txBox="1">
            <a:spLocks noChangeArrowheads="1"/>
          </p:cNvSpPr>
          <p:nvPr userDrawn="1">
            <p:custDataLst>
              <p:tags r:id="rId2"/>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12" name="Title 1">
            <a:extLst>
              <a:ext uri="{FF2B5EF4-FFF2-40B4-BE49-F238E27FC236}">
                <a16:creationId xmlns:a16="http://schemas.microsoft.com/office/drawing/2014/main" xmlns="" id="{BA70B0C1-E20B-414F-8FEB-E9B0076DE664}"/>
              </a:ext>
            </a:extLst>
          </p:cNvPr>
          <p:cNvSpPr>
            <a:spLocks noGrp="1"/>
          </p:cNvSpPr>
          <p:nvPr>
            <p:ph type="title" hasCustomPrompt="1"/>
          </p:nvPr>
        </p:nvSpPr>
        <p:spPr bwMode="gray">
          <a:xfrm>
            <a:off x="927101" y="692150"/>
            <a:ext cx="10640484"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3" name="Text Placeholder 9">
            <a:extLst>
              <a:ext uri="{FF2B5EF4-FFF2-40B4-BE49-F238E27FC236}">
                <a16:creationId xmlns:a16="http://schemas.microsoft.com/office/drawing/2014/main" xmlns="" id="{CE2321DE-EC3A-468E-8E34-3C5036245E06}"/>
              </a:ext>
            </a:extLst>
          </p:cNvPr>
          <p:cNvSpPr>
            <a:spLocks noGrp="1"/>
          </p:cNvSpPr>
          <p:nvPr>
            <p:ph type="body" sz="quarter" idx="13" hasCustomPrompt="1"/>
          </p:nvPr>
        </p:nvSpPr>
        <p:spPr>
          <a:xfrm>
            <a:off x="744294" y="3211810"/>
            <a:ext cx="4766263" cy="3385542"/>
          </a:xfrm>
        </p:spPr>
        <p:txBody>
          <a:bodyPr wrap="none" anchor="t">
            <a:noAutofit/>
          </a:bodyPr>
          <a:lstStyle>
            <a:lvl1pPr marL="0" indent="0">
              <a:spcBef>
                <a:spcPts val="0"/>
              </a:spcBef>
              <a:buFontTx/>
              <a:buNone/>
              <a:defRPr sz="22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4" name="Datumsplatzhalter 3">
            <a:extLst>
              <a:ext uri="{FF2B5EF4-FFF2-40B4-BE49-F238E27FC236}">
                <a16:creationId xmlns:a16="http://schemas.microsoft.com/office/drawing/2014/main" xmlns="" id="{2BC02D70-D880-4808-AEAB-928C4B2FFC93}"/>
              </a:ext>
            </a:extLst>
          </p:cNvPr>
          <p:cNvSpPr>
            <a:spLocks noGrp="1"/>
          </p:cNvSpPr>
          <p:nvPr>
            <p:ph type="dt" sz="half" idx="14"/>
          </p:nvPr>
        </p:nvSpPr>
        <p:spPr/>
        <p:txBody>
          <a:bodyPr/>
          <a:lstStyle/>
          <a:p>
            <a:endParaRPr lang="en-GB"/>
          </a:p>
        </p:txBody>
      </p:sp>
      <p:sp>
        <p:nvSpPr>
          <p:cNvPr id="5" name="Fußzeilenplatzhalter 4">
            <a:extLst>
              <a:ext uri="{FF2B5EF4-FFF2-40B4-BE49-F238E27FC236}">
                <a16:creationId xmlns:a16="http://schemas.microsoft.com/office/drawing/2014/main" xmlns="" id="{B39523B8-AE73-4B48-95A1-C99A92ECDEAD}"/>
              </a:ext>
            </a:extLst>
          </p:cNvPr>
          <p:cNvSpPr>
            <a:spLocks noGrp="1"/>
          </p:cNvSpPr>
          <p:nvPr>
            <p:ph type="ftr" sz="quarter" idx="15"/>
          </p:nvPr>
        </p:nvSpPr>
        <p:spPr/>
        <p:txBody>
          <a:bodyPr/>
          <a:lstStyle/>
          <a:p>
            <a:endParaRPr lang="en-GB"/>
          </a:p>
        </p:txBody>
      </p:sp>
      <p:sp>
        <p:nvSpPr>
          <p:cNvPr id="6" name="Foliennummernplatzhalter 5">
            <a:extLst>
              <a:ext uri="{FF2B5EF4-FFF2-40B4-BE49-F238E27FC236}">
                <a16:creationId xmlns:a16="http://schemas.microsoft.com/office/drawing/2014/main" xmlns="" id="{81CB4AED-135F-40A0-ADDE-A30D9C6FE7A9}"/>
              </a:ext>
            </a:extLst>
          </p:cNvPr>
          <p:cNvSpPr>
            <a:spLocks noGrp="1"/>
          </p:cNvSpPr>
          <p:nvPr>
            <p:ph type="sldNum" sz="quarter" idx="16"/>
          </p:nvPr>
        </p:nvSpPr>
        <p:spPr/>
        <p:txBody>
          <a:bodyPr/>
          <a:lstStyle>
            <a:lvl1pPr>
              <a:defRPr>
                <a:solidFill>
                  <a:schemeClr val="bg1"/>
                </a:solidFill>
              </a:defRPr>
            </a:lvl1pPr>
          </a:lstStyle>
          <a:p>
            <a:fld id="{5E4D2043-7E31-4A53-BD33-72A88E682172}" type="slidenum">
              <a:rPr lang="de-DE" smtClean="0"/>
              <a:pPr/>
              <a:t>‹#›</a:t>
            </a:fld>
            <a:endParaRPr lang="de-DE"/>
          </a:p>
        </p:txBody>
      </p:sp>
      <p:pic>
        <p:nvPicPr>
          <p:cNvPr id="3" name="Picture 2">
            <a:extLst>
              <a:ext uri="{FF2B5EF4-FFF2-40B4-BE49-F238E27FC236}">
                <a16:creationId xmlns:a16="http://schemas.microsoft.com/office/drawing/2014/main" xmlns="" id="{B9127580-73A2-48D4-82EF-254AE24BC550}"/>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2441719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Section Header - Image and Number" preserve="1" userDrawn="1">
  <p:cSld name="Section Header - Image and Number">
    <p:bg bwMode="gray">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12192000" cy="6858000"/>
          </a:xfrm>
          <a:solidFill>
            <a:srgbClr val="D1DCD6"/>
          </a:solidFill>
        </p:spPr>
        <p:txBody>
          <a:bodyPr bIns="648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11" name="Classification"/>
          <p:cNvSpPr txBox="1">
            <a:spLocks noChangeArrowheads="1"/>
          </p:cNvSpPr>
          <p:nvPr userDrawn="1">
            <p:custDataLst>
              <p:tags r:id="rId1"/>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12" name="Title 1">
            <a:extLst>
              <a:ext uri="{FF2B5EF4-FFF2-40B4-BE49-F238E27FC236}">
                <a16:creationId xmlns:a16="http://schemas.microsoft.com/office/drawing/2014/main" xmlns="" id="{BA70B0C1-E20B-414F-8FEB-E9B0076DE664}"/>
              </a:ext>
            </a:extLst>
          </p:cNvPr>
          <p:cNvSpPr>
            <a:spLocks noGrp="1"/>
          </p:cNvSpPr>
          <p:nvPr>
            <p:ph type="title" hasCustomPrompt="1"/>
          </p:nvPr>
        </p:nvSpPr>
        <p:spPr bwMode="gray">
          <a:xfrm>
            <a:off x="927101" y="692150"/>
            <a:ext cx="10640484" cy="623071"/>
          </a:xfrm>
        </p:spPr>
        <p:txBody>
          <a:bodyPr vert="horz" lIns="0" tIns="0" rIns="0" bIns="0" rtlCol="0" anchor="t" anchorCtr="0">
            <a:noAutofit/>
          </a:bodyPr>
          <a:lstStyle>
            <a:lvl1pPr algn="l" defTabSz="914400" rtl="0" eaLnBrk="1" latinLnBrk="0" hangingPunct="1">
              <a:lnSpc>
                <a:spcPct val="90000"/>
              </a:lnSpc>
              <a:spcBef>
                <a:spcPct val="0"/>
              </a:spcBef>
              <a:buNone/>
              <a:defRPr lang="en-GB" sz="1600" kern="1200" dirty="0">
                <a:solidFill>
                  <a:schemeClr val="bg1"/>
                </a:solidFill>
                <a:latin typeface="SwissReSans Light" pitchFamily="34" charset="0"/>
                <a:ea typeface="+mj-ea"/>
                <a:cs typeface="+mj-cs"/>
              </a:defRPr>
            </a:lvl1pPr>
          </a:lstStyle>
          <a:p>
            <a:r>
              <a:rPr lang="en-US"/>
              <a:t>Click to add section title</a:t>
            </a:r>
            <a:endParaRPr lang="en-GB"/>
          </a:p>
        </p:txBody>
      </p:sp>
      <p:sp>
        <p:nvSpPr>
          <p:cNvPr id="13" name="Text Placeholder 9">
            <a:extLst>
              <a:ext uri="{FF2B5EF4-FFF2-40B4-BE49-F238E27FC236}">
                <a16:creationId xmlns:a16="http://schemas.microsoft.com/office/drawing/2014/main" xmlns="" id="{CE2321DE-EC3A-468E-8E34-3C5036245E06}"/>
              </a:ext>
            </a:extLst>
          </p:cNvPr>
          <p:cNvSpPr>
            <a:spLocks noGrp="1"/>
          </p:cNvSpPr>
          <p:nvPr>
            <p:ph type="body" sz="quarter" idx="13" hasCustomPrompt="1"/>
          </p:nvPr>
        </p:nvSpPr>
        <p:spPr>
          <a:xfrm>
            <a:off x="744294" y="3211810"/>
            <a:ext cx="4766263" cy="3385542"/>
          </a:xfrm>
        </p:spPr>
        <p:txBody>
          <a:bodyPr wrap="none" anchor="t">
            <a:noAutofit/>
          </a:bodyPr>
          <a:lstStyle>
            <a:lvl1pPr marL="0" indent="0">
              <a:spcBef>
                <a:spcPts val="0"/>
              </a:spcBef>
              <a:buFontTx/>
              <a:buNone/>
              <a:defRPr sz="22000" b="1">
                <a:solidFill>
                  <a:schemeClr val="bg1"/>
                </a:solidFill>
                <a:latin typeface="SwissReSans Light" panose="020B0504020202020204" pitchFamily="34" charset="0"/>
              </a:defRPr>
            </a:lvl1pPr>
            <a:lvl2pPr marL="182562" indent="0">
              <a:spcBef>
                <a:spcPts val="0"/>
              </a:spcBef>
              <a:buFontTx/>
              <a:buNone/>
              <a:defRPr sz="35000">
                <a:solidFill>
                  <a:schemeClr val="bg1"/>
                </a:solidFill>
                <a:latin typeface="SwissReSans Light" panose="020B0504020202020204" pitchFamily="34" charset="0"/>
              </a:defRPr>
            </a:lvl2pPr>
            <a:lvl3pPr marL="444500" indent="0">
              <a:spcBef>
                <a:spcPts val="0"/>
              </a:spcBef>
              <a:buFontTx/>
              <a:buNone/>
              <a:defRPr sz="35000">
                <a:solidFill>
                  <a:schemeClr val="bg1"/>
                </a:solidFill>
                <a:latin typeface="SwissReSans Light" panose="020B0504020202020204" pitchFamily="34" charset="0"/>
              </a:defRPr>
            </a:lvl3pPr>
            <a:lvl4pPr marL="715963" indent="0">
              <a:spcBef>
                <a:spcPts val="0"/>
              </a:spcBef>
              <a:buFontTx/>
              <a:buNone/>
              <a:defRPr sz="35000">
                <a:solidFill>
                  <a:schemeClr val="bg1"/>
                </a:solidFill>
                <a:latin typeface="SwissReSans Light" panose="020B0504020202020204" pitchFamily="34" charset="0"/>
              </a:defRPr>
            </a:lvl4pPr>
            <a:lvl5pPr marL="985838" indent="0">
              <a:spcBef>
                <a:spcPts val="0"/>
              </a:spcBef>
              <a:buFontTx/>
              <a:buNone/>
              <a:defRPr sz="35000">
                <a:solidFill>
                  <a:schemeClr val="bg1"/>
                </a:solidFill>
                <a:latin typeface="SwissReSans Light" panose="020B0504020202020204" pitchFamily="34" charset="0"/>
              </a:defRPr>
            </a:lvl5pPr>
          </a:lstStyle>
          <a:p>
            <a:pPr lvl="0"/>
            <a:r>
              <a:rPr lang="en-GB"/>
              <a:t>00</a:t>
            </a:r>
          </a:p>
        </p:txBody>
      </p:sp>
      <p:sp>
        <p:nvSpPr>
          <p:cNvPr id="2" name="Datumsplatzhalter 1">
            <a:extLst>
              <a:ext uri="{FF2B5EF4-FFF2-40B4-BE49-F238E27FC236}">
                <a16:creationId xmlns:a16="http://schemas.microsoft.com/office/drawing/2014/main" xmlns="" id="{B03DEA64-FF33-4B30-83B5-8AD7189A999A}"/>
              </a:ext>
            </a:extLst>
          </p:cNvPr>
          <p:cNvSpPr>
            <a:spLocks noGrp="1"/>
          </p:cNvSpPr>
          <p:nvPr>
            <p:ph type="dt" sz="half" idx="14"/>
          </p:nvPr>
        </p:nvSpPr>
        <p:spPr/>
        <p:txBody>
          <a:bodyPr/>
          <a:lstStyle/>
          <a:p>
            <a:endParaRPr lang="en-GB"/>
          </a:p>
        </p:txBody>
      </p:sp>
      <p:sp>
        <p:nvSpPr>
          <p:cNvPr id="3" name="Fußzeilenplatzhalter 2">
            <a:extLst>
              <a:ext uri="{FF2B5EF4-FFF2-40B4-BE49-F238E27FC236}">
                <a16:creationId xmlns:a16="http://schemas.microsoft.com/office/drawing/2014/main" xmlns="" id="{C9C2C0E8-A0E4-40FC-9CD7-D2F8A0AEB961}"/>
              </a:ext>
            </a:extLst>
          </p:cNvPr>
          <p:cNvSpPr>
            <a:spLocks noGrp="1"/>
          </p:cNvSpPr>
          <p:nvPr>
            <p:ph type="ftr" sz="quarter" idx="15"/>
          </p:nvPr>
        </p:nvSpPr>
        <p:spPr/>
        <p:txBody>
          <a:bodyPr/>
          <a:lstStyle/>
          <a:p>
            <a:endParaRPr lang="en-GB"/>
          </a:p>
        </p:txBody>
      </p:sp>
      <p:sp>
        <p:nvSpPr>
          <p:cNvPr id="4" name="Foliennummernplatzhalter 3">
            <a:extLst>
              <a:ext uri="{FF2B5EF4-FFF2-40B4-BE49-F238E27FC236}">
                <a16:creationId xmlns:a16="http://schemas.microsoft.com/office/drawing/2014/main" xmlns="" id="{D39A0EF6-B587-4A33-900A-D26D4E3D77E7}"/>
              </a:ext>
            </a:extLst>
          </p:cNvPr>
          <p:cNvSpPr>
            <a:spLocks noGrp="1"/>
          </p:cNvSpPr>
          <p:nvPr>
            <p:ph type="sldNum" sz="quarter" idx="16"/>
          </p:nvPr>
        </p:nvSpPr>
        <p:spPr/>
        <p:txBody>
          <a:bodyPr/>
          <a:lstStyle>
            <a:lvl1pPr>
              <a:defRPr>
                <a:solidFill>
                  <a:schemeClr val="bg1"/>
                </a:solidFill>
              </a:defRPr>
            </a:lvl1pPr>
          </a:lstStyle>
          <a:p>
            <a:fld id="{5E4D2043-7E31-4A53-BD33-72A88E682172}" type="slidenum">
              <a:rPr lang="de-DE" smtClean="0"/>
              <a:pPr/>
              <a:t>‹#›</a:t>
            </a:fld>
            <a:endParaRPr lang="de-DE"/>
          </a:p>
        </p:txBody>
      </p:sp>
      <p:pic>
        <p:nvPicPr>
          <p:cNvPr id="6" name="Picture 5">
            <a:extLst>
              <a:ext uri="{FF2B5EF4-FFF2-40B4-BE49-F238E27FC236}">
                <a16:creationId xmlns:a16="http://schemas.microsoft.com/office/drawing/2014/main" xmlns="" id="{05FFE187-AE95-44DE-B606-072E51142C35}"/>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997892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GB" noProof="1"/>
              <a:t>Click to browse for an own image. </a:t>
            </a:r>
            <a:br>
              <a:rPr lang="en-GB" noProof="1"/>
            </a:br>
            <a:r>
              <a:rPr lang="en-GB" noProof="1"/>
              <a:t>Be careful to avoid an image that clashes </a:t>
            </a:r>
            <a:br>
              <a:rPr lang="en-GB" noProof="1"/>
            </a:br>
            <a:r>
              <a:rPr lang="en-GB"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GB"/>
              <a:t>Click to edit Master title style</a:t>
            </a:r>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4" name="Picture 3"/>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0341789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912285" y="1628776"/>
            <a:ext cx="1065530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9803541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bwMode="black">
          <a:xfrm>
            <a:off x="6384032" y="1628776"/>
            <a:ext cx="5183552" cy="4392613"/>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42207424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a:p>
        </p:txBody>
      </p:sp>
      <p:sp>
        <p:nvSpPr>
          <p:cNvPr id="7" name="Footer Placeholder 6"/>
          <p:cNvSpPr>
            <a:spLocks noGrp="1"/>
          </p:cNvSpPr>
          <p:nvPr>
            <p:ph type="ftr" sz="quarter" idx="11"/>
          </p:nvPr>
        </p:nvSpPr>
        <p:spPr/>
        <p:txBody>
          <a:bodyPr/>
          <a:lstStyle/>
          <a:p>
            <a:endParaRPr lang="en-GB"/>
          </a:p>
        </p:txBody>
      </p:sp>
      <p:sp>
        <p:nvSpPr>
          <p:cNvPr id="8" name="Slide Number Placeholder 7"/>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9" name="Title 8"/>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203044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hart/Table slide" preserve="1" userDrawn="1">
  <p:cSld name="Chart/Table slide">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0" name="Rechteck 9">
            <a:extLst>
              <a:ext uri="{FF2B5EF4-FFF2-40B4-BE49-F238E27FC236}">
                <a16:creationId xmlns:a16="http://schemas.microsoft.com/office/drawing/2014/main" xmlns="" id="{33771BC4-A541-423B-97BA-857C8C1C4EF2}"/>
              </a:ext>
            </a:extLst>
          </p:cNvPr>
          <p:cNvSpPr>
            <a:spLocks/>
          </p:cNvSpPr>
          <p:nvPr userDrawn="1"/>
        </p:nvSpPr>
        <p:spPr>
          <a:xfrm>
            <a:off x="912286" y="1628776"/>
            <a:ext cx="10655300" cy="43925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4" name="Inhaltsplatzhalter 3">
            <a:extLst>
              <a:ext uri="{FF2B5EF4-FFF2-40B4-BE49-F238E27FC236}">
                <a16:creationId xmlns:a16="http://schemas.microsoft.com/office/drawing/2014/main" xmlns="" id="{F32B7EBA-0324-4D9B-8313-CACEE9BD825D}"/>
              </a:ext>
            </a:extLst>
          </p:cNvPr>
          <p:cNvSpPr>
            <a:spLocks noGrp="1"/>
          </p:cNvSpPr>
          <p:nvPr>
            <p:ph sz="quarter" idx="14" hasCustomPrompt="1"/>
          </p:nvPr>
        </p:nvSpPr>
        <p:spPr>
          <a:xfrm>
            <a:off x="1210159" y="1849178"/>
            <a:ext cx="10068861" cy="3956086"/>
          </a:xfrm>
        </p:spPr>
        <p:txBody>
          <a:bodyPr/>
          <a:lstStyle>
            <a:lvl1pPr marL="0" indent="0" algn="ctr">
              <a:buNone/>
              <a:defRPr/>
            </a:lvl1pPr>
          </a:lstStyle>
          <a:p>
            <a:pPr lvl="0"/>
            <a:r>
              <a:rPr lang="en-GB"/>
              <a:t>Add chart or table</a:t>
            </a:r>
          </a:p>
        </p:txBody>
      </p:sp>
    </p:spTree>
    <p:extLst>
      <p:ext uri="{BB962C8B-B14F-4D97-AF65-F5344CB8AC3E}">
        <p14:creationId xmlns:p14="http://schemas.microsoft.com/office/powerpoint/2010/main" val="10331280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Content and Chart/Table slide" preserve="1" userDrawn="1">
  <p:cSld name="Content and Chart/Table slid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de-DE" smtClean="0"/>
              <a:pPr/>
              <a:t>‹#›</a:t>
            </a:fld>
            <a:endParaRPr lang="de-DE"/>
          </a:p>
        </p:txBody>
      </p:sp>
      <p:sp>
        <p:nvSpPr>
          <p:cNvPr id="13" name="Rechteck 12">
            <a:extLst>
              <a:ext uri="{FF2B5EF4-FFF2-40B4-BE49-F238E27FC236}">
                <a16:creationId xmlns:a16="http://schemas.microsoft.com/office/drawing/2014/main" xmlns="" id="{2F9A9211-1E7F-4C6F-BC1A-E83C83D83C94}"/>
              </a:ext>
            </a:extLst>
          </p:cNvPr>
          <p:cNvSpPr>
            <a:spLocks/>
          </p:cNvSpPr>
          <p:nvPr userDrawn="1"/>
        </p:nvSpPr>
        <p:spPr>
          <a:xfrm>
            <a:off x="6384032" y="1628776"/>
            <a:ext cx="5183552" cy="43926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5" name="Inhaltsplatzhalter 3">
            <a:extLst>
              <a:ext uri="{FF2B5EF4-FFF2-40B4-BE49-F238E27FC236}">
                <a16:creationId xmlns:a16="http://schemas.microsoft.com/office/drawing/2014/main" xmlns="" id="{DC5425E7-741F-4359-8E5B-F2475B85B64D}"/>
              </a:ext>
            </a:extLst>
          </p:cNvPr>
          <p:cNvSpPr>
            <a:spLocks noGrp="1"/>
          </p:cNvSpPr>
          <p:nvPr>
            <p:ph sz="quarter" idx="14" hasCustomPrompt="1"/>
          </p:nvPr>
        </p:nvSpPr>
        <p:spPr>
          <a:xfrm>
            <a:off x="6668305" y="1844775"/>
            <a:ext cx="4611412" cy="396729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p:txBody>
      </p:sp>
    </p:spTree>
    <p:extLst>
      <p:ext uri="{BB962C8B-B14F-4D97-AF65-F5344CB8AC3E}">
        <p14:creationId xmlns:p14="http://schemas.microsoft.com/office/powerpoint/2010/main" val="40084717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Two Chart/Table Slide" preserve="1" userDrawn="1">
  <p:cSld name="Two Chart/Table Sli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de-DE" smtClean="0"/>
              <a:pPr/>
              <a:t>‹#›</a:t>
            </a:fld>
            <a:endParaRPr lang="de-DE"/>
          </a:p>
        </p:txBody>
      </p:sp>
      <p:sp>
        <p:nvSpPr>
          <p:cNvPr id="12" name="Rechteck 11">
            <a:extLst>
              <a:ext uri="{FF2B5EF4-FFF2-40B4-BE49-F238E27FC236}">
                <a16:creationId xmlns:a16="http://schemas.microsoft.com/office/drawing/2014/main" xmlns="" id="{EB159A43-BFC4-40DD-B102-B062148B6C7E}"/>
              </a:ext>
            </a:extLst>
          </p:cNvPr>
          <p:cNvSpPr>
            <a:spLocks/>
          </p:cNvSpPr>
          <p:nvPr userDrawn="1"/>
        </p:nvSpPr>
        <p:spPr>
          <a:xfrm>
            <a:off x="6384032" y="1628776"/>
            <a:ext cx="5183552" cy="4392613"/>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4" name="Rechteck 13">
            <a:extLst>
              <a:ext uri="{FF2B5EF4-FFF2-40B4-BE49-F238E27FC236}">
                <a16:creationId xmlns:a16="http://schemas.microsoft.com/office/drawing/2014/main" xmlns="" id="{45BB5A63-809A-4C83-B1F0-AA5383287DA9}"/>
              </a:ext>
            </a:extLst>
          </p:cNvPr>
          <p:cNvSpPr>
            <a:spLocks/>
          </p:cNvSpPr>
          <p:nvPr userDrawn="1"/>
        </p:nvSpPr>
        <p:spPr>
          <a:xfrm>
            <a:off x="912284" y="1628773"/>
            <a:ext cx="5183717" cy="439261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latin typeface="SwissReSans" pitchFamily="34" charset="0"/>
            </a:endParaRPr>
          </a:p>
        </p:txBody>
      </p:sp>
      <p:sp>
        <p:nvSpPr>
          <p:cNvPr id="16" name="Inhaltsplatzhalter 3">
            <a:extLst>
              <a:ext uri="{FF2B5EF4-FFF2-40B4-BE49-F238E27FC236}">
                <a16:creationId xmlns:a16="http://schemas.microsoft.com/office/drawing/2014/main" xmlns="" id="{DF5F10C7-772D-492C-8CC2-C5E84FD592ED}"/>
              </a:ext>
            </a:extLst>
          </p:cNvPr>
          <p:cNvSpPr>
            <a:spLocks noGrp="1"/>
          </p:cNvSpPr>
          <p:nvPr>
            <p:ph sz="quarter" idx="14" hasCustomPrompt="1"/>
          </p:nvPr>
        </p:nvSpPr>
        <p:spPr>
          <a:xfrm>
            <a:off x="1199456" y="1844775"/>
            <a:ext cx="4608512" cy="396729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a:p>
            <a:pPr lvl="0"/>
            <a:endParaRPr lang="en-GB"/>
          </a:p>
        </p:txBody>
      </p:sp>
      <p:sp>
        <p:nvSpPr>
          <p:cNvPr id="17" name="Inhaltsplatzhalter 3">
            <a:extLst>
              <a:ext uri="{FF2B5EF4-FFF2-40B4-BE49-F238E27FC236}">
                <a16:creationId xmlns:a16="http://schemas.microsoft.com/office/drawing/2014/main" xmlns="" id="{27D4EF90-533D-48DC-8C0B-95052C121AEC}"/>
              </a:ext>
            </a:extLst>
          </p:cNvPr>
          <p:cNvSpPr>
            <a:spLocks noGrp="1"/>
          </p:cNvSpPr>
          <p:nvPr>
            <p:ph sz="quarter" idx="15" hasCustomPrompt="1"/>
          </p:nvPr>
        </p:nvSpPr>
        <p:spPr>
          <a:xfrm>
            <a:off x="6668305" y="1844775"/>
            <a:ext cx="4611412" cy="3967293"/>
          </a:xfrm>
        </p:spPr>
        <p:txBody>
          <a:bodyPr/>
          <a:lstStyle>
            <a:lvl1pPr marL="0" marR="0" indent="0" algn="ctr" defTabSz="914400" rtl="0" eaLnBrk="1" fontAlgn="auto" latinLnBrk="0" hangingPunct="1">
              <a:lnSpc>
                <a:spcPct val="100000"/>
              </a:lnSpc>
              <a:spcBef>
                <a:spcPts val="1200"/>
              </a:spcBef>
              <a:spcAft>
                <a:spcPts val="0"/>
              </a:spcAft>
              <a:buClrTx/>
              <a:buSzPct val="100000"/>
              <a:buFont typeface="Arial" pitchFamily="34" charset="0"/>
              <a:buNone/>
              <a:tabLst/>
              <a:defRPr/>
            </a:lvl1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lang="en-GB"/>
              <a:t>Add chart or table</a:t>
            </a:r>
          </a:p>
          <a:p>
            <a:pPr lvl="0"/>
            <a:endParaRPr lang="en-GB"/>
          </a:p>
        </p:txBody>
      </p:sp>
    </p:spTree>
    <p:extLst>
      <p:ext uri="{BB962C8B-B14F-4D97-AF65-F5344CB8AC3E}">
        <p14:creationId xmlns:p14="http://schemas.microsoft.com/office/powerpoint/2010/main" val="6113724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hree Content and Image" preserve="1" userDrawn="1">
  <p:cSld name="Three Content and Image">
    <p:spTree>
      <p:nvGrpSpPr>
        <p:cNvPr id="1" name=""/>
        <p:cNvGrpSpPr/>
        <p:nvPr/>
      </p:nvGrpSpPr>
      <p:grpSpPr>
        <a:xfrm>
          <a:off x="0" y="0"/>
          <a:ext cx="0" cy="0"/>
          <a:chOff x="0" y="0"/>
          <a:chExt cx="0" cy="0"/>
        </a:xfrm>
      </p:grpSpPr>
      <p:sp>
        <p:nvSpPr>
          <p:cNvPr id="8" name="Title 7"/>
          <p:cNvSpPr>
            <a:spLocks noGrp="1"/>
          </p:cNvSpPr>
          <p:nvPr>
            <p:ph type="title"/>
          </p:nvPr>
        </p:nvSpPr>
        <p:spPr>
          <a:xfrm>
            <a:off x="912285" y="692151"/>
            <a:ext cx="10655299"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nvPr>
        </p:nvSpPr>
        <p:spPr/>
        <p:txBody>
          <a:bodyPr/>
          <a:lstStyle/>
          <a:p>
            <a:fld id="{5E4D2043-7E31-4A53-BD33-72A88E682172}" type="slidenum">
              <a:rPr lang="de-DE" smtClean="0"/>
              <a:pPr/>
              <a:t>‹#›</a:t>
            </a:fld>
            <a:endParaRPr lang="de-DE"/>
          </a:p>
        </p:txBody>
      </p:sp>
      <p:sp>
        <p:nvSpPr>
          <p:cNvPr id="12" name="Text Placeholder 4">
            <a:extLst>
              <a:ext uri="{FF2B5EF4-FFF2-40B4-BE49-F238E27FC236}">
                <a16:creationId xmlns:a16="http://schemas.microsoft.com/office/drawing/2014/main" xmlns="" id="{D6C1AE61-1603-4B19-8A3E-7B99D2216D96}"/>
              </a:ext>
            </a:extLst>
          </p:cNvPr>
          <p:cNvSpPr>
            <a:spLocks noGrp="1"/>
          </p:cNvSpPr>
          <p:nvPr>
            <p:ph type="body" sz="quarter" idx="15" hasCustomPrompt="1"/>
          </p:nvPr>
        </p:nvSpPr>
        <p:spPr>
          <a:xfrm>
            <a:off x="939801" y="5409209"/>
            <a:ext cx="10655299" cy="612178"/>
          </a:xfrm>
          <a:solidFill>
            <a:schemeClr val="bg2"/>
          </a:solidFill>
        </p:spPr>
        <p:txBody>
          <a:bodyPr lIns="180000" rIns="180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Add conclusion here</a:t>
            </a:r>
          </a:p>
        </p:txBody>
      </p:sp>
      <p:sp>
        <p:nvSpPr>
          <p:cNvPr id="13" name="Picture Placeholder 6">
            <a:extLst>
              <a:ext uri="{FF2B5EF4-FFF2-40B4-BE49-F238E27FC236}">
                <a16:creationId xmlns:a16="http://schemas.microsoft.com/office/drawing/2014/main" xmlns="" id="{C1C916DB-EA49-4899-8BE1-A724F43C491C}"/>
              </a:ext>
            </a:extLst>
          </p:cNvPr>
          <p:cNvSpPr>
            <a:spLocks noGrp="1"/>
          </p:cNvSpPr>
          <p:nvPr>
            <p:ph type="pic" sz="quarter" idx="16"/>
          </p:nvPr>
        </p:nvSpPr>
        <p:spPr>
          <a:xfrm>
            <a:off x="8999584" y="1628774"/>
            <a:ext cx="2568000" cy="3641316"/>
          </a:xfrm>
        </p:spPr>
        <p:txBody>
          <a:bodyPr/>
          <a:lstStyle>
            <a:lvl1pPr marL="0" indent="0" algn="ctr">
              <a:spcBef>
                <a:spcPts val="0"/>
              </a:spcBef>
              <a:buNone/>
              <a:defRPr sz="1400"/>
            </a:lvl1pPr>
          </a:lstStyle>
          <a:p>
            <a:r>
              <a:rPr lang="en-US"/>
              <a:t>Click icon to add picture</a:t>
            </a:r>
          </a:p>
        </p:txBody>
      </p:sp>
      <p:sp>
        <p:nvSpPr>
          <p:cNvPr id="14" name="Text Placeholder 4">
            <a:extLst>
              <a:ext uri="{FF2B5EF4-FFF2-40B4-BE49-F238E27FC236}">
                <a16:creationId xmlns:a16="http://schemas.microsoft.com/office/drawing/2014/main" xmlns="" id="{348504CE-24BE-4BBC-9BA6-ACE2B8C32137}"/>
              </a:ext>
            </a:extLst>
          </p:cNvPr>
          <p:cNvSpPr>
            <a:spLocks noGrp="1"/>
          </p:cNvSpPr>
          <p:nvPr>
            <p:ph type="body" sz="quarter" idx="17"/>
          </p:nvPr>
        </p:nvSpPr>
        <p:spPr>
          <a:xfrm>
            <a:off x="927101" y="2564904"/>
            <a:ext cx="2568000" cy="2705186"/>
          </a:xfrm>
          <a:solidFill>
            <a:schemeClr val="accent4">
              <a:lumMod val="20000"/>
              <a:lumOff val="80000"/>
            </a:schemeClr>
          </a:solidFill>
        </p:spPr>
        <p:txBody>
          <a:bodyPr lIns="108000" tIns="504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5" name="Text Placeholder 4">
            <a:extLst>
              <a:ext uri="{FF2B5EF4-FFF2-40B4-BE49-F238E27FC236}">
                <a16:creationId xmlns:a16="http://schemas.microsoft.com/office/drawing/2014/main" xmlns="" id="{53F2773E-BDF7-44C2-A3AD-525F4B5360FB}"/>
              </a:ext>
            </a:extLst>
          </p:cNvPr>
          <p:cNvSpPr>
            <a:spLocks noGrp="1"/>
          </p:cNvSpPr>
          <p:nvPr>
            <p:ph type="body" sz="quarter" idx="18"/>
          </p:nvPr>
        </p:nvSpPr>
        <p:spPr>
          <a:xfrm>
            <a:off x="3617929" y="2564904"/>
            <a:ext cx="2568000" cy="2705186"/>
          </a:xfrm>
          <a:solidFill>
            <a:schemeClr val="accent4">
              <a:lumMod val="20000"/>
              <a:lumOff val="80000"/>
            </a:schemeClr>
          </a:solidFill>
        </p:spPr>
        <p:txBody>
          <a:bodyPr lIns="108000" tIns="504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6" name="Text Placeholder 4">
            <a:extLst>
              <a:ext uri="{FF2B5EF4-FFF2-40B4-BE49-F238E27FC236}">
                <a16:creationId xmlns:a16="http://schemas.microsoft.com/office/drawing/2014/main" xmlns="" id="{CB77F064-DA88-42B4-9701-D58E8DC64F51}"/>
              </a:ext>
            </a:extLst>
          </p:cNvPr>
          <p:cNvSpPr>
            <a:spLocks noGrp="1"/>
          </p:cNvSpPr>
          <p:nvPr>
            <p:ph type="body" sz="quarter" idx="19"/>
          </p:nvPr>
        </p:nvSpPr>
        <p:spPr>
          <a:xfrm>
            <a:off x="6308757" y="2564904"/>
            <a:ext cx="2568000" cy="2705186"/>
          </a:xfrm>
          <a:solidFill>
            <a:schemeClr val="accent4">
              <a:lumMod val="20000"/>
              <a:lumOff val="80000"/>
            </a:schemeClr>
          </a:solidFill>
        </p:spPr>
        <p:txBody>
          <a:bodyPr lIns="108000" tIns="504000" rIns="72000" anchor="t"/>
          <a:lstStyle>
            <a:lvl1pPr marL="0" indent="0" algn="l">
              <a:spcBef>
                <a:spcPts val="0"/>
              </a:spcBef>
              <a:buNone/>
              <a:defRPr sz="1200"/>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7" name="Text Placeholder 4">
            <a:extLst>
              <a:ext uri="{FF2B5EF4-FFF2-40B4-BE49-F238E27FC236}">
                <a16:creationId xmlns:a16="http://schemas.microsoft.com/office/drawing/2014/main" xmlns="" id="{27E19E1A-398F-414F-B243-2070B74671F2}"/>
              </a:ext>
            </a:extLst>
          </p:cNvPr>
          <p:cNvSpPr>
            <a:spLocks noGrp="1"/>
          </p:cNvSpPr>
          <p:nvPr>
            <p:ph type="body" sz="quarter" idx="20"/>
          </p:nvPr>
        </p:nvSpPr>
        <p:spPr>
          <a:xfrm>
            <a:off x="927101" y="1628775"/>
            <a:ext cx="2568000" cy="1224000"/>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8" name="Text Placeholder 4">
            <a:extLst>
              <a:ext uri="{FF2B5EF4-FFF2-40B4-BE49-F238E27FC236}">
                <a16:creationId xmlns:a16="http://schemas.microsoft.com/office/drawing/2014/main" xmlns="" id="{731884AA-2F4C-40B6-B1B1-7F7D30852587}"/>
              </a:ext>
            </a:extLst>
          </p:cNvPr>
          <p:cNvSpPr>
            <a:spLocks noGrp="1"/>
          </p:cNvSpPr>
          <p:nvPr>
            <p:ph type="body" sz="quarter" idx="21"/>
          </p:nvPr>
        </p:nvSpPr>
        <p:spPr>
          <a:xfrm>
            <a:off x="3617929" y="1628775"/>
            <a:ext cx="2568000" cy="1224000"/>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
        <p:nvSpPr>
          <p:cNvPr id="19" name="Text Placeholder 4">
            <a:extLst>
              <a:ext uri="{FF2B5EF4-FFF2-40B4-BE49-F238E27FC236}">
                <a16:creationId xmlns:a16="http://schemas.microsoft.com/office/drawing/2014/main" xmlns="" id="{094C259F-C9E4-4321-B033-75C5634EA149}"/>
              </a:ext>
            </a:extLst>
          </p:cNvPr>
          <p:cNvSpPr>
            <a:spLocks noGrp="1"/>
          </p:cNvSpPr>
          <p:nvPr>
            <p:ph type="body" sz="quarter" idx="22"/>
          </p:nvPr>
        </p:nvSpPr>
        <p:spPr>
          <a:xfrm>
            <a:off x="6308757" y="1628775"/>
            <a:ext cx="2568000" cy="1224000"/>
          </a:xfrm>
          <a:prstGeom prst="flowChartOffpageConnector">
            <a:avLst/>
          </a:prstGeom>
          <a:solidFill>
            <a:schemeClr val="tx2"/>
          </a:solidFill>
        </p:spPr>
        <p:txBody>
          <a:bodyPr lIns="108000" tIns="0" rIns="72000" anchor="ctr"/>
          <a:lstStyle>
            <a:lvl1pPr marL="0" indent="0" algn="ctr">
              <a:spcBef>
                <a:spcPts val="0"/>
              </a:spcBef>
              <a:buNone/>
              <a:defRPr sz="1600">
                <a:solidFill>
                  <a:srgbClr val="FFFFFF"/>
                </a:solidFill>
              </a:defRPr>
            </a:lvl1pPr>
            <a:lvl2pPr marL="182562" indent="0">
              <a:buNone/>
              <a:defRPr sz="1600"/>
            </a:lvl2pPr>
            <a:lvl3pPr marL="444500" indent="0">
              <a:buNone/>
              <a:defRPr sz="1600"/>
            </a:lvl3pPr>
            <a:lvl4pPr marL="715963" indent="0">
              <a:buNone/>
              <a:defRPr sz="1600"/>
            </a:lvl4pPr>
            <a:lvl5pPr marL="985838" indent="0">
              <a:buNone/>
              <a:defRPr sz="1600"/>
            </a:lvl5pPr>
          </a:lstStyle>
          <a:p>
            <a:pPr lvl="0"/>
            <a:r>
              <a:rPr lang="en-US"/>
              <a:t>Click to edit Master text styles</a:t>
            </a:r>
          </a:p>
        </p:txBody>
      </p:sp>
    </p:spTree>
    <p:extLst>
      <p:ext uri="{BB962C8B-B14F-4D97-AF65-F5344CB8AC3E}">
        <p14:creationId xmlns:p14="http://schemas.microsoft.com/office/powerpoint/2010/main" val="358783430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418013786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Key Message with Gradient" preserve="1" userDrawn="1">
  <p:cSld name="Key Message with Gradient">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pic>
        <p:nvPicPr>
          <p:cNvPr id="3" name="Picture 2">
            <a:extLst>
              <a:ext uri="{FF2B5EF4-FFF2-40B4-BE49-F238E27FC236}">
                <a16:creationId xmlns:a16="http://schemas.microsoft.com/office/drawing/2014/main" xmlns="" id="{31FE2A92-57F5-451C-B409-203512ADC2B1}"/>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0153114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Key Message with Image" preserve="1" userDrawn="1">
  <p:cSld name="Key Message with Image">
    <p:bg>
      <p:bgPr>
        <a:solidFill>
          <a:srgbClr val="D1DCD6"/>
        </a:solidFill>
        <a:effectLst/>
      </p:bgPr>
    </p:bg>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xmlns="" id="{795DB466-9D61-48B7-BD46-9D5A1CD15C29}"/>
              </a:ext>
            </a:extLst>
          </p:cNvPr>
          <p:cNvSpPr>
            <a:spLocks noGrp="1"/>
          </p:cNvSpPr>
          <p:nvPr>
            <p:ph type="pic" sz="quarter" idx="13"/>
          </p:nvPr>
        </p:nvSpPr>
        <p:spPr bwMode="gray">
          <a:xfrm>
            <a:off x="0" y="0"/>
            <a:ext cx="12192000" cy="6858000"/>
          </a:xfrm>
          <a:solidFill>
            <a:srgbClr val="D1DCD6"/>
          </a:solidFill>
        </p:spPr>
        <p:txBody>
          <a:bodyPr tIns="504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US" noProof="0"/>
          </a:p>
        </p:txBody>
      </p:sp>
      <p:sp>
        <p:nvSpPr>
          <p:cNvPr id="6" name="Footer Placeholder 5"/>
          <p:cNvSpPr>
            <a:spLocks noGrp="1"/>
          </p:cNvSpPr>
          <p:nvPr>
            <p:ph type="ftr" sz="quarter" idx="11"/>
          </p:nvPr>
        </p:nvSpPr>
        <p:spPr/>
        <p:txBody>
          <a:bodyPr/>
          <a:lstStyle/>
          <a:p>
            <a:endParaRPr lang="en-US" noProof="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US" noProof="0" smtClean="0"/>
              <a:pPr/>
              <a:t>‹#›</a:t>
            </a:fld>
            <a:endParaRPr lang="en-US"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2"/>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pic>
        <p:nvPicPr>
          <p:cNvPr id="4" name="Picture 3">
            <a:extLst>
              <a:ext uri="{FF2B5EF4-FFF2-40B4-BE49-F238E27FC236}">
                <a16:creationId xmlns:a16="http://schemas.microsoft.com/office/drawing/2014/main" xmlns="" id="{6BFC7B4C-756F-478D-8ACD-C7929B9EDEB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254622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Click icon to add picture</a:t>
            </a:r>
          </a:p>
        </p:txBody>
      </p:sp>
      <p:sp>
        <p:nvSpPr>
          <p:cNvPr id="6" name="Date Placeholder 5"/>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a:p>
        </p:txBody>
      </p:sp>
      <p:sp>
        <p:nvSpPr>
          <p:cNvPr id="10" name="Classification"/>
          <p:cNvSpPr txBox="1">
            <a:spLocks noChangeArrowheads="1"/>
          </p:cNvSpPr>
          <p:nvPr userDrawn="1">
            <p:custDataLst>
              <p:tags r:id="rId3"/>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pic>
        <p:nvPicPr>
          <p:cNvPr id="4" name="Picture 3"/>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7873157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Key Message with Circle" preserve="1" userDrawn="1">
  <p:cSld name="Key Message with Circle">
    <p:bg>
      <p:bgPr>
        <a:gradFill>
          <a:gsLst>
            <a:gs pos="0">
              <a:schemeClr val="tx2"/>
            </a:gs>
            <a:gs pos="100000">
              <a:schemeClr val="bg2"/>
            </a:gs>
          </a:gsLst>
          <a:lin ang="0" scaled="1"/>
        </a:gra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xmlns="" id="{D2AB1016-26D3-4BF9-9498-94FA233BE64F}"/>
              </a:ext>
            </a:extLst>
          </p:cNvPr>
          <p:cNvSpPr>
            <a:spLocks noGrp="1"/>
          </p:cNvSpPr>
          <p:nvPr>
            <p:ph type="pic" sz="quarter" idx="14" hasCustomPrompt="1"/>
          </p:nvPr>
        </p:nvSpPr>
        <p:spPr bwMode="gray">
          <a:xfrm>
            <a:off x="0" y="0"/>
            <a:ext cx="12192000" cy="6858000"/>
          </a:xfrm>
        </p:spPr>
        <p:txBody>
          <a:bodyPr lIns="0" tIns="756000" rIns="252000" anchor="ctr"/>
          <a:lstStyle>
            <a:lvl1pPr marL="0" indent="0" algn="ctr">
              <a:buFontTx/>
              <a:buNone/>
              <a:defRPr sz="1200">
                <a:solidFill>
                  <a:srgbClr val="A8BAB2"/>
                </a:solidFill>
                <a:latin typeface="SwissReSans" pitchFamily="34" charset="0"/>
              </a:defRPr>
            </a:lvl1pPr>
          </a:lstStyle>
          <a:p>
            <a:r>
              <a:rPr lang="en-US" noProof="1"/>
              <a:t>Select image from</a:t>
            </a:r>
            <a:br>
              <a:rPr lang="en-US" noProof="1"/>
            </a:br>
            <a:r>
              <a:rPr lang="en-US" noProof="1"/>
              <a:t>the Brandic menu</a:t>
            </a:r>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6816000" y="1807355"/>
            <a:ext cx="4320000" cy="3240000"/>
          </a:xfrm>
          <a:prstGeom prst="ellipse">
            <a:avLst/>
          </a:prstGeom>
          <a:solidFill>
            <a:srgbClr val="FFFFFF"/>
          </a:solidFill>
        </p:spPr>
        <p:txBody>
          <a:bodyPr anchor="ctr"/>
          <a:lstStyle>
            <a:lvl1pPr marL="0" indent="0" algn="ctr">
              <a:spcBef>
                <a:spcPts val="0"/>
              </a:spcBef>
              <a:buFontTx/>
              <a:buNone/>
              <a:defRPr sz="2000">
                <a:solidFill>
                  <a:schemeClr val="tx2"/>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
        <p:nvSpPr>
          <p:cNvPr id="14" name="Text Placeholder 4">
            <a:extLst>
              <a:ext uri="{FF2B5EF4-FFF2-40B4-BE49-F238E27FC236}">
                <a16:creationId xmlns:a16="http://schemas.microsoft.com/office/drawing/2014/main" xmlns="" id="{59D05F4A-C9BF-48C4-81BB-B5BFA5CABA13}"/>
              </a:ext>
            </a:extLst>
          </p:cNvPr>
          <p:cNvSpPr>
            <a:spLocks noGrp="1"/>
          </p:cNvSpPr>
          <p:nvPr>
            <p:ph type="body" sz="quarter" idx="15"/>
          </p:nvPr>
        </p:nvSpPr>
        <p:spPr>
          <a:xfrm>
            <a:off x="927099" y="1628776"/>
            <a:ext cx="4976880" cy="3528417"/>
          </a:xfrm>
        </p:spPr>
        <p:txBody>
          <a:bodyPr anchor="ctr"/>
          <a:lstStyle>
            <a:lvl1pPr marL="0" indent="0">
              <a:spcBef>
                <a:spcPts val="0"/>
              </a:spcBef>
              <a:buFontTx/>
              <a:buNone/>
              <a:defRPr sz="3600">
                <a:solidFill>
                  <a:schemeClr val="bg1"/>
                </a:solidFill>
                <a:latin typeface="SwissReSans Light" panose="020B0504020202020204" pitchFamily="34" charset="0"/>
              </a:defRPr>
            </a:lvl1pPr>
            <a:lvl2pPr marL="182562" indent="0">
              <a:buFontTx/>
              <a:buNone/>
              <a:defRPr sz="5000">
                <a:solidFill>
                  <a:schemeClr val="tx2"/>
                </a:solidFill>
              </a:defRPr>
            </a:lvl2pPr>
            <a:lvl3pPr marL="444500" indent="0">
              <a:buFontTx/>
              <a:buNone/>
              <a:defRPr sz="5000">
                <a:solidFill>
                  <a:schemeClr val="tx2"/>
                </a:solidFill>
              </a:defRPr>
            </a:lvl3pPr>
            <a:lvl4pPr marL="715963" indent="0">
              <a:buFontTx/>
              <a:buNone/>
              <a:defRPr sz="5000">
                <a:solidFill>
                  <a:schemeClr val="tx2"/>
                </a:solidFill>
              </a:defRPr>
            </a:lvl4pPr>
            <a:lvl5pPr marL="985838" indent="0">
              <a:buFontTx/>
              <a:buNone/>
              <a:defRPr sz="5000">
                <a:solidFill>
                  <a:schemeClr val="tx2"/>
                </a:solidFill>
              </a:defRPr>
            </a:lvl5pPr>
          </a:lstStyle>
          <a:p>
            <a:pPr lvl="0"/>
            <a:r>
              <a:rPr lang="en-US"/>
              <a:t>Click to edit Master text styles</a:t>
            </a:r>
          </a:p>
        </p:txBody>
      </p:sp>
      <p:pic>
        <p:nvPicPr>
          <p:cNvPr id="3" name="Picture 2">
            <a:extLst>
              <a:ext uri="{FF2B5EF4-FFF2-40B4-BE49-F238E27FC236}">
                <a16:creationId xmlns:a16="http://schemas.microsoft.com/office/drawing/2014/main" xmlns="" id="{A10D28A1-8955-45E4-824F-557B44876C00}"/>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32683505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Gradient, Text and Image" preserve="1" userDrawn="1">
  <p:cSld name="Gradient, Text and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2F6F92D3-6E67-4130-95E9-12B75FD68E78}"/>
              </a:ext>
            </a:extLst>
          </p:cNvPr>
          <p:cNvSpPr/>
          <p:nvPr userDrawn="1"/>
        </p:nvSpPr>
        <p:spPr>
          <a:xfrm>
            <a:off x="0" y="0"/>
            <a:ext cx="6104467"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SwissReSans" pitchFamily="34" charset="0"/>
            </a:endParaRPr>
          </a:p>
        </p:txBody>
      </p:sp>
      <p:sp>
        <p:nvSpPr>
          <p:cNvPr id="12" name="Picture Placeholder 7"/>
          <p:cNvSpPr>
            <a:spLocks noGrp="1"/>
          </p:cNvSpPr>
          <p:nvPr>
            <p:ph type="pic" sz="quarter" idx="13" hasCustomPrompt="1"/>
          </p:nvPr>
        </p:nvSpPr>
        <p:spPr bwMode="gray">
          <a:xfrm>
            <a:off x="6104467" y="0"/>
            <a:ext cx="6087533" cy="6858000"/>
          </a:xfrm>
        </p:spPr>
        <p:txBody>
          <a:bodyPr lIns="0" tIns="864000" anchor="ctr"/>
          <a:lstStyle>
            <a:lvl1pPr marL="182563" marR="0" indent="-182563" algn="ctr" defTabSz="914400" rtl="0" eaLnBrk="1" fontAlgn="auto" latinLnBrk="0" hangingPunct="1">
              <a:lnSpc>
                <a:spcPct val="100000"/>
              </a:lnSpc>
              <a:spcBef>
                <a:spcPts val="0"/>
              </a:spcBef>
              <a:spcAft>
                <a:spcPts val="0"/>
              </a:spcAft>
              <a:buClrTx/>
              <a:buSzPct val="100000"/>
              <a:buFontTx/>
              <a:buNone/>
              <a:tabLst/>
              <a:defRPr sz="1200">
                <a:solidFill>
                  <a:srgbClr val="A8BAB2"/>
                </a:solidFill>
                <a:latin typeface="SwissReSans" pitchFamily="34" charset="0"/>
              </a:defRPr>
            </a:lvl1pPr>
          </a:lstStyle>
          <a:p>
            <a:pPr marL="182563" marR="0" lvl="0" indent="-182563" algn="ctr" defTabSz="914400" rtl="0" eaLnBrk="1" fontAlgn="auto" latinLnBrk="0" hangingPunct="1">
              <a:lnSpc>
                <a:spcPct val="100000"/>
              </a:lnSpc>
              <a:spcBef>
                <a:spcPts val="0"/>
              </a:spcBef>
              <a:spcAft>
                <a:spcPts val="0"/>
              </a:spcAft>
              <a:buClrTx/>
              <a:buSzPct val="100000"/>
              <a:buFontTx/>
              <a:buNone/>
              <a:tabLst/>
              <a:defRPr/>
            </a:pPr>
            <a:r>
              <a:rPr lang="en-US" noProof="1"/>
              <a:t>Click to browse for an own image. </a:t>
            </a:r>
            <a:br>
              <a:rPr lang="en-US" noProof="1"/>
            </a:br>
            <a:r>
              <a:rPr lang="en-US" noProof="1"/>
              <a:t>Be careful to avoid an image that clashes </a:t>
            </a:r>
            <a:br>
              <a:rPr lang="en-US" noProof="1"/>
            </a:br>
            <a:r>
              <a:rPr lang="en-US" noProof="1"/>
              <a:t>with the gradient colour.</a:t>
            </a:r>
          </a:p>
        </p:txBody>
      </p:sp>
      <p:sp>
        <p:nvSpPr>
          <p:cNvPr id="8" name="Title 7"/>
          <p:cNvSpPr>
            <a:spLocks noGrp="1"/>
          </p:cNvSpPr>
          <p:nvPr>
            <p:ph type="title"/>
          </p:nvPr>
        </p:nvSpPr>
        <p:spPr bwMode="gray">
          <a:xfrm>
            <a:off x="912286" y="692151"/>
            <a:ext cx="4703660" cy="692647"/>
          </a:xfrm>
        </p:spPr>
        <p:txBody>
          <a:bodyPr/>
          <a:lstStyle>
            <a:lvl1pPr>
              <a:defRPr>
                <a:solidFill>
                  <a:srgbClr val="FFFFFF"/>
                </a:solidFill>
              </a:defRPr>
            </a:lvl1pPr>
          </a:lstStyle>
          <a:p>
            <a:r>
              <a:rPr lang="en-US"/>
              <a:t>Click to edit Master title style</a:t>
            </a:r>
          </a:p>
        </p:txBody>
      </p:sp>
      <p:sp>
        <p:nvSpPr>
          <p:cNvPr id="9" name="Date Placeholder 8"/>
          <p:cNvSpPr>
            <a:spLocks noGrp="1"/>
          </p:cNvSpPr>
          <p:nvPr>
            <p:ph type="dt" sz="half" idx="10"/>
          </p:nvPr>
        </p:nvSpPr>
        <p:spPr/>
        <p:txBody>
          <a:bodyPr/>
          <a:lstStyle/>
          <a:p>
            <a:endParaRPr lang="en-US"/>
          </a:p>
        </p:txBody>
      </p:sp>
      <p:sp>
        <p:nvSpPr>
          <p:cNvPr id="10" name="Footer Placeholder 9"/>
          <p:cNvSpPr>
            <a:spLocks noGrp="1"/>
          </p:cNvSpPr>
          <p:nvPr>
            <p:ph type="ftr" sz="quarter" idx="11"/>
          </p:nvPr>
        </p:nvSpPr>
        <p:spPr/>
        <p:txBody>
          <a:bodyPr/>
          <a:lstStyle/>
          <a:p>
            <a:endParaRPr lang="en-US"/>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en-US" smtClean="0"/>
              <a:pPr/>
              <a:t>‹#›</a:t>
            </a:fld>
            <a:endParaRPr lang="en-US"/>
          </a:p>
        </p:txBody>
      </p:sp>
      <p:sp>
        <p:nvSpPr>
          <p:cNvPr id="5" name="Text Placeholder 4">
            <a:extLst>
              <a:ext uri="{FF2B5EF4-FFF2-40B4-BE49-F238E27FC236}">
                <a16:creationId xmlns:a16="http://schemas.microsoft.com/office/drawing/2014/main" xmlns="" id="{B6C739D9-8F19-4996-B675-B32310F664FD}"/>
              </a:ext>
            </a:extLst>
          </p:cNvPr>
          <p:cNvSpPr>
            <a:spLocks noGrp="1"/>
          </p:cNvSpPr>
          <p:nvPr>
            <p:ph type="body" sz="quarter" idx="14"/>
          </p:nvPr>
        </p:nvSpPr>
        <p:spPr bwMode="gray">
          <a:xfrm>
            <a:off x="912285" y="1628773"/>
            <a:ext cx="4703663"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xmlns="" id="{5E5E311F-B3B1-4D70-B9F5-310C993309C2}"/>
              </a:ext>
            </a:extLst>
          </p:cNvPr>
          <p:cNvPicPr>
            <a:picLocks noChangeAspect="1"/>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7257269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9" name="Picture Placeholder 7">
            <a:extLst>
              <a:ext uri="{FF2B5EF4-FFF2-40B4-BE49-F238E27FC236}">
                <a16:creationId xmlns:a16="http://schemas.microsoft.com/office/drawing/2014/main" xmlns="" id="{795DB466-9D61-48B7-BD46-9D5A1CD15C29}"/>
              </a:ext>
            </a:extLst>
          </p:cNvPr>
          <p:cNvSpPr>
            <a:spLocks noGrp="1"/>
          </p:cNvSpPr>
          <p:nvPr>
            <p:ph type="pic" sz="quarter" idx="13"/>
          </p:nvPr>
        </p:nvSpPr>
        <p:spPr bwMode="gray">
          <a:xfrm>
            <a:off x="0" y="0"/>
            <a:ext cx="12192000" cy="6858000"/>
          </a:xfrm>
          <a:solidFill>
            <a:srgbClr val="D1DCD6"/>
          </a:solidFill>
        </p:spPr>
        <p:txBody>
          <a:bodyPr tIns="504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5" name="Date Placeholder 4"/>
          <p:cNvSpPr>
            <a:spLocks noGrp="1"/>
          </p:cNvSpPr>
          <p:nvPr>
            <p:ph type="dt" sz="half" idx="10"/>
          </p:nvPr>
        </p:nvSpPr>
        <p:spPr/>
        <p:txBody>
          <a:bodyPr/>
          <a:lstStyle/>
          <a:p>
            <a:endParaRPr lang="en-US" noProof="0"/>
          </a:p>
        </p:txBody>
      </p:sp>
      <p:sp>
        <p:nvSpPr>
          <p:cNvPr id="6" name="Footer Placeholder 5"/>
          <p:cNvSpPr>
            <a:spLocks noGrp="1"/>
          </p:cNvSpPr>
          <p:nvPr>
            <p:ph type="ftr" sz="quarter" idx="11"/>
          </p:nvPr>
        </p:nvSpPr>
        <p:spPr/>
        <p:txBody>
          <a:bodyPr/>
          <a:lstStyle/>
          <a:p>
            <a:endParaRPr lang="en-US" noProof="0"/>
          </a:p>
        </p:txBody>
      </p:sp>
      <p:sp>
        <p:nvSpPr>
          <p:cNvPr id="7" name="Slide Number Placeholder 6"/>
          <p:cNvSpPr>
            <a:spLocks noGrp="1"/>
          </p:cNvSpPr>
          <p:nvPr>
            <p:ph type="sldNum" sz="quarter" idx="12"/>
            <p:custDataLst>
              <p:tags r:id="rId1"/>
            </p:custDataLst>
          </p:nvPr>
        </p:nvSpPr>
        <p:spPr/>
        <p:txBody>
          <a:bodyPr/>
          <a:lstStyle>
            <a:lvl1pPr>
              <a:defRPr>
                <a:solidFill>
                  <a:srgbClr val="FFFFFF"/>
                </a:solidFill>
              </a:defRPr>
            </a:lvl1pPr>
          </a:lstStyle>
          <a:p>
            <a:fld id="{5E4D2043-7E31-4A53-BD33-72A88E682172}" type="slidenum">
              <a:rPr lang="en-US" noProof="0" smtClean="0"/>
              <a:pPr/>
              <a:t>‹#›</a:t>
            </a:fld>
            <a:endParaRPr lang="en-US" noProof="0"/>
          </a:p>
        </p:txBody>
      </p:sp>
      <p:sp>
        <p:nvSpPr>
          <p:cNvPr id="8" name="Footer">
            <a:extLst>
              <a:ext uri="{FF2B5EF4-FFF2-40B4-BE49-F238E27FC236}">
                <a16:creationId xmlns:a16="http://schemas.microsoft.com/office/drawing/2014/main" xmlns="" id="{AB18B93B-30DB-44CC-9F6A-FD5647A1F8EC}"/>
              </a:ext>
            </a:extLst>
          </p:cNvPr>
          <p:cNvSpPr txBox="1">
            <a:spLocks/>
          </p:cNvSpPr>
          <p:nvPr userDrawn="1">
            <p:custDataLst>
              <p:tags r:id="rId2"/>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FFFFFF"/>
              </a:solidFill>
              <a:latin typeface="SwissReSans" pitchFamily="34" charset="0"/>
              <a:ea typeface="+mn-ea"/>
              <a:cs typeface="+mn-cs"/>
            </a:endParaRPr>
          </a:p>
        </p:txBody>
      </p:sp>
      <p:pic>
        <p:nvPicPr>
          <p:cNvPr id="3" name="Picture 2">
            <a:extLst>
              <a:ext uri="{FF2B5EF4-FFF2-40B4-BE49-F238E27FC236}">
                <a16:creationId xmlns:a16="http://schemas.microsoft.com/office/drawing/2014/main" xmlns="" id="{4F74538D-AD6B-4448-B3DB-E1490D69B4FE}"/>
              </a:ext>
            </a:extLst>
          </p:cNvPr>
          <p:cNvPicPr>
            <a:picLocks noChangeAspect="1"/>
          </p:cNvPicPr>
          <p:nvPr userDrawn="1">
            <p:custDataLst>
              <p:tags r:id="rId3"/>
            </p:custDataLst>
          </p:nvPr>
        </p:nvPicPr>
        <p:blipFill>
          <a:blip r:embed="rId5"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2435463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US" noProof="1"/>
              <a:t>Select an image from the Brandic menu</a:t>
            </a: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912286" y="692151"/>
            <a:ext cx="4703660"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11608313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ext and small Image" preserve="1" userDrawn="1">
  <p:cSld name="Text and small Ima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912286" y="692151"/>
            <a:ext cx="4703660"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3" name="Picture Placeholder 7">
            <a:extLst>
              <a:ext uri="{FF2B5EF4-FFF2-40B4-BE49-F238E27FC236}">
                <a16:creationId xmlns:a16="http://schemas.microsoft.com/office/drawing/2014/main" xmlns="" id="{CDF1EDD0-7038-4E59-BB3A-8C297B308A20}"/>
              </a:ext>
            </a:extLst>
          </p:cNvPr>
          <p:cNvSpPr>
            <a:spLocks noGrp="1"/>
          </p:cNvSpPr>
          <p:nvPr>
            <p:ph type="pic" sz="quarter" idx="13"/>
          </p:nvPr>
        </p:nvSpPr>
        <p:spPr bwMode="gray">
          <a:xfrm>
            <a:off x="6192011" y="0"/>
            <a:ext cx="5999989" cy="6858000"/>
          </a:xfrm>
        </p:spPr>
        <p:txBody>
          <a:bodyPr lIns="0" tIns="576000" anchor="ctr"/>
          <a:lstStyle>
            <a:lvl1pPr marL="0" indent="0" algn="ctr">
              <a:buFontTx/>
              <a:buNone/>
              <a:defRPr sz="1200">
                <a:solidFill>
                  <a:srgbClr val="A8BAB2"/>
                </a:solidFill>
                <a:latin typeface="SwissReSans" pitchFamily="34" charset="0"/>
              </a:defRPr>
            </a:lvl1pPr>
          </a:lstStyle>
          <a:p>
            <a:r>
              <a:rPr lang="en-US" noProof="1"/>
              <a:t>Click icon to add picture</a:t>
            </a:r>
          </a:p>
        </p:txBody>
      </p:sp>
    </p:spTree>
    <p:extLst>
      <p:ext uri="{BB962C8B-B14F-4D97-AF65-F5344CB8AC3E}">
        <p14:creationId xmlns:p14="http://schemas.microsoft.com/office/powerpoint/2010/main" val="15891813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ext and Gradient" preserve="1" userDrawn="1">
  <p:cSld name="Text and Gradient">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xmlns="" id="{83F7A185-575C-4385-BD8C-3BE92199C730}"/>
              </a:ext>
            </a:extLst>
          </p:cNvPr>
          <p:cNvSpPr>
            <a:spLocks/>
          </p:cNvSpPr>
          <p:nvPr userDrawn="1"/>
        </p:nvSpPr>
        <p:spPr>
          <a:xfrm>
            <a:off x="6192011" y="0"/>
            <a:ext cx="5999989"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latin typeface="SwissReSans" pitchFamily="34" charset="0"/>
            </a:endParaRPr>
          </a:p>
        </p:txBody>
      </p:sp>
      <p:sp>
        <p:nvSpPr>
          <p:cNvPr id="3" name="Content Placeholder 2"/>
          <p:cNvSpPr>
            <a:spLocks noGrp="1"/>
          </p:cNvSpPr>
          <p:nvPr>
            <p:ph sz="half" idx="1"/>
          </p:nvPr>
        </p:nvSpPr>
        <p:spPr bwMode="black">
          <a:xfrm>
            <a:off x="912285" y="1628774"/>
            <a:ext cx="4703663"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a:xfrm>
            <a:off x="912286" y="692151"/>
            <a:ext cx="4703660" cy="692647"/>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lvl1pPr>
              <a:defRPr>
                <a:solidFill>
                  <a:schemeClr val="bg1"/>
                </a:solidFill>
              </a:defRPr>
            </a:lvl1pPr>
          </a:lstStyle>
          <a:p>
            <a:fld id="{5E4D2043-7E31-4A53-BD33-72A88E682172}" type="slidenum">
              <a:rPr lang="de-DE" smtClean="0"/>
              <a:pPr/>
              <a:t>‹#›</a:t>
            </a:fld>
            <a:endParaRPr lang="de-DE"/>
          </a:p>
        </p:txBody>
      </p:sp>
    </p:spTree>
    <p:extLst>
      <p:ext uri="{BB962C8B-B14F-4D97-AF65-F5344CB8AC3E}">
        <p14:creationId xmlns:p14="http://schemas.microsoft.com/office/powerpoint/2010/main" val="7002727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US" noProof="1"/>
              <a:t>Select an image from the Brandic menu</a:t>
            </a:r>
          </a:p>
        </p:txBody>
      </p:sp>
      <p:sp>
        <p:nvSpPr>
          <p:cNvPr id="8" name="Title 7"/>
          <p:cNvSpPr>
            <a:spLocks noGrp="1"/>
          </p:cNvSpPr>
          <p:nvPr>
            <p:ph type="title"/>
          </p:nvPr>
        </p:nvSpPr>
        <p:spPr>
          <a:xfrm>
            <a:off x="912285" y="1628773"/>
            <a:ext cx="4703663" cy="4392614"/>
          </a:xfrm>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Tree>
    <p:extLst>
      <p:ext uri="{BB962C8B-B14F-4D97-AF65-F5344CB8AC3E}">
        <p14:creationId xmlns:p14="http://schemas.microsoft.com/office/powerpoint/2010/main" val="3274499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Image and Three Columns" preserve="1" userDrawn="1">
  <p:cSld name="Image and Three Columns">
    <p:spTree>
      <p:nvGrpSpPr>
        <p:cNvPr id="1" name=""/>
        <p:cNvGrpSpPr/>
        <p:nvPr/>
      </p:nvGrpSpPr>
      <p:grpSpPr>
        <a:xfrm>
          <a:off x="0" y="0"/>
          <a:ext cx="0" cy="0"/>
          <a:chOff x="0" y="0"/>
          <a:chExt cx="0" cy="0"/>
        </a:xfrm>
      </p:grpSpPr>
      <p:sp>
        <p:nvSpPr>
          <p:cNvPr id="22" name="Picture Placeholder 7">
            <a:extLst>
              <a:ext uri="{FF2B5EF4-FFF2-40B4-BE49-F238E27FC236}">
                <a16:creationId xmlns:a16="http://schemas.microsoft.com/office/drawing/2014/main" xmlns="" id="{D7589C09-6BD5-4863-9694-4EE4F14D91FF}"/>
              </a:ext>
            </a:extLst>
          </p:cNvPr>
          <p:cNvSpPr>
            <a:spLocks noGrp="1"/>
          </p:cNvSpPr>
          <p:nvPr>
            <p:ph type="pic" sz="quarter" idx="13"/>
          </p:nvPr>
        </p:nvSpPr>
        <p:spPr bwMode="gray">
          <a:xfrm>
            <a:off x="0" y="0"/>
            <a:ext cx="12192000" cy="3127402"/>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Text Placeholder 4">
            <a:extLst>
              <a:ext uri="{FF2B5EF4-FFF2-40B4-BE49-F238E27FC236}">
                <a16:creationId xmlns:a16="http://schemas.microsoft.com/office/drawing/2014/main" xmlns="" id="{901049B6-DA4C-4FE6-805F-B38C6C618C32}"/>
              </a:ext>
            </a:extLst>
          </p:cNvPr>
          <p:cNvSpPr>
            <a:spLocks noGrp="1"/>
          </p:cNvSpPr>
          <p:nvPr>
            <p:ph type="body" sz="quarter" idx="14"/>
          </p:nvPr>
        </p:nvSpPr>
        <p:spPr>
          <a:xfrm>
            <a:off x="928939" y="3632359"/>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xmlns="" id="{91634759-12D3-40BD-828A-41DB0B122557}"/>
              </a:ext>
            </a:extLst>
          </p:cNvPr>
          <p:cNvSpPr>
            <a:spLocks noGrp="1"/>
          </p:cNvSpPr>
          <p:nvPr>
            <p:ph type="body" sz="quarter" idx="15"/>
          </p:nvPr>
        </p:nvSpPr>
        <p:spPr>
          <a:xfrm>
            <a:off x="928939" y="4065158"/>
            <a:ext cx="2863180" cy="1956231"/>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xmlns="" id="{56712644-B3A5-400E-8440-497D8175044D}"/>
              </a:ext>
            </a:extLst>
          </p:cNvPr>
          <p:cNvSpPr>
            <a:spLocks noGrp="1"/>
          </p:cNvSpPr>
          <p:nvPr>
            <p:ph type="body" sz="quarter" idx="16"/>
          </p:nvPr>
        </p:nvSpPr>
        <p:spPr>
          <a:xfrm>
            <a:off x="8705429" y="3632359"/>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xmlns="" id="{00877082-13C9-4A7B-88CC-AE064C194B8A}"/>
              </a:ext>
            </a:extLst>
          </p:cNvPr>
          <p:cNvSpPr>
            <a:spLocks noGrp="1"/>
          </p:cNvSpPr>
          <p:nvPr>
            <p:ph type="body" sz="quarter" idx="17"/>
          </p:nvPr>
        </p:nvSpPr>
        <p:spPr>
          <a:xfrm>
            <a:off x="8705429" y="4065158"/>
            <a:ext cx="2863180" cy="1956231"/>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xmlns="" id="{65671879-86F1-412B-AE3F-8545C57BF88E}"/>
              </a:ext>
            </a:extLst>
          </p:cNvPr>
          <p:cNvSpPr>
            <a:spLocks noGrp="1"/>
          </p:cNvSpPr>
          <p:nvPr>
            <p:ph type="body" sz="quarter" idx="18"/>
          </p:nvPr>
        </p:nvSpPr>
        <p:spPr>
          <a:xfrm>
            <a:off x="4817183" y="3632359"/>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8" name="Text Placeholder 4">
            <a:extLst>
              <a:ext uri="{FF2B5EF4-FFF2-40B4-BE49-F238E27FC236}">
                <a16:creationId xmlns:a16="http://schemas.microsoft.com/office/drawing/2014/main" xmlns="" id="{D28D2AA3-17F1-4BD7-82B7-8D1F8E297847}"/>
              </a:ext>
            </a:extLst>
          </p:cNvPr>
          <p:cNvSpPr>
            <a:spLocks noGrp="1"/>
          </p:cNvSpPr>
          <p:nvPr>
            <p:ph type="body" sz="quarter" idx="19"/>
          </p:nvPr>
        </p:nvSpPr>
        <p:spPr>
          <a:xfrm>
            <a:off x="4817183" y="4065158"/>
            <a:ext cx="2863180" cy="1956231"/>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27940446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mall Image and Three Columns" preserve="1" userDrawn="1">
  <p:cSld name="Small Image and Three Columns">
    <p:spTree>
      <p:nvGrpSpPr>
        <p:cNvPr id="1" name=""/>
        <p:cNvGrpSpPr/>
        <p:nvPr/>
      </p:nvGrpSpPr>
      <p:grpSpPr>
        <a:xfrm>
          <a:off x="0" y="0"/>
          <a:ext cx="0" cy="0"/>
          <a:chOff x="0" y="0"/>
          <a:chExt cx="0" cy="0"/>
        </a:xfrm>
      </p:grpSpPr>
      <p:sp>
        <p:nvSpPr>
          <p:cNvPr id="22" name="Picture Placeholder 7">
            <a:extLst>
              <a:ext uri="{FF2B5EF4-FFF2-40B4-BE49-F238E27FC236}">
                <a16:creationId xmlns:a16="http://schemas.microsoft.com/office/drawing/2014/main" xmlns="" id="{D7589C09-6BD5-4863-9694-4EE4F14D91FF}"/>
              </a:ext>
            </a:extLst>
          </p:cNvPr>
          <p:cNvSpPr>
            <a:spLocks noGrp="1"/>
          </p:cNvSpPr>
          <p:nvPr>
            <p:ph type="pic" sz="quarter" idx="13"/>
          </p:nvPr>
        </p:nvSpPr>
        <p:spPr bwMode="gray">
          <a:xfrm>
            <a:off x="0" y="0"/>
            <a:ext cx="12192000" cy="2492896"/>
          </a:xfrm>
          <a:solidFill>
            <a:srgbClr val="D1DCD6"/>
          </a:solidFill>
        </p:spPr>
        <p:txBody>
          <a:bodyPr tIns="576000" anchor="ctr"/>
          <a:lstStyle>
            <a:lvl1pPr algn="ctr">
              <a:buFontTx/>
              <a:buNone/>
              <a:defRPr sz="1200">
                <a:solidFill>
                  <a:srgbClr val="A8BAB2"/>
                </a:solidFill>
                <a:latin typeface="SwissReSans" pitchFamily="34" charset="0"/>
              </a:defRPr>
            </a:lvl1pPr>
          </a:lstStyle>
          <a:p>
            <a:r>
              <a:rPr lang="en-US"/>
              <a:t>Click icon to add picture</a:t>
            </a:r>
            <a:endParaRPr lang="en-GB"/>
          </a:p>
        </p:txBody>
      </p:sp>
      <p:sp>
        <p:nvSpPr>
          <p:cNvPr id="8" name="Title 7"/>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Text Placeholder 4">
            <a:extLst>
              <a:ext uri="{FF2B5EF4-FFF2-40B4-BE49-F238E27FC236}">
                <a16:creationId xmlns:a16="http://schemas.microsoft.com/office/drawing/2014/main" xmlns="" id="{901049B6-DA4C-4FE6-805F-B38C6C618C32}"/>
              </a:ext>
            </a:extLst>
          </p:cNvPr>
          <p:cNvSpPr>
            <a:spLocks noGrp="1"/>
          </p:cNvSpPr>
          <p:nvPr>
            <p:ph type="body" sz="quarter" idx="14"/>
          </p:nvPr>
        </p:nvSpPr>
        <p:spPr>
          <a:xfrm>
            <a:off x="928939" y="2996953"/>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4" name="Text Placeholder 4">
            <a:extLst>
              <a:ext uri="{FF2B5EF4-FFF2-40B4-BE49-F238E27FC236}">
                <a16:creationId xmlns:a16="http://schemas.microsoft.com/office/drawing/2014/main" xmlns="" id="{91634759-12D3-40BD-828A-41DB0B122557}"/>
              </a:ext>
            </a:extLst>
          </p:cNvPr>
          <p:cNvSpPr>
            <a:spLocks noGrp="1"/>
          </p:cNvSpPr>
          <p:nvPr>
            <p:ph type="body" sz="quarter" idx="15"/>
          </p:nvPr>
        </p:nvSpPr>
        <p:spPr>
          <a:xfrm>
            <a:off x="928939" y="3429000"/>
            <a:ext cx="286318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5" name="Text Placeholder 4">
            <a:extLst>
              <a:ext uri="{FF2B5EF4-FFF2-40B4-BE49-F238E27FC236}">
                <a16:creationId xmlns:a16="http://schemas.microsoft.com/office/drawing/2014/main" xmlns="" id="{56712644-B3A5-400E-8440-497D8175044D}"/>
              </a:ext>
            </a:extLst>
          </p:cNvPr>
          <p:cNvSpPr>
            <a:spLocks noGrp="1"/>
          </p:cNvSpPr>
          <p:nvPr>
            <p:ph type="body" sz="quarter" idx="16"/>
          </p:nvPr>
        </p:nvSpPr>
        <p:spPr>
          <a:xfrm>
            <a:off x="8705429" y="2996953"/>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6" name="Text Placeholder 4">
            <a:extLst>
              <a:ext uri="{FF2B5EF4-FFF2-40B4-BE49-F238E27FC236}">
                <a16:creationId xmlns:a16="http://schemas.microsoft.com/office/drawing/2014/main" xmlns="" id="{00877082-13C9-4A7B-88CC-AE064C194B8A}"/>
              </a:ext>
            </a:extLst>
          </p:cNvPr>
          <p:cNvSpPr>
            <a:spLocks noGrp="1"/>
          </p:cNvSpPr>
          <p:nvPr>
            <p:ph type="body" sz="quarter" idx="17"/>
          </p:nvPr>
        </p:nvSpPr>
        <p:spPr>
          <a:xfrm>
            <a:off x="8705429" y="3429000"/>
            <a:ext cx="286318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7" name="Text Placeholder 4">
            <a:extLst>
              <a:ext uri="{FF2B5EF4-FFF2-40B4-BE49-F238E27FC236}">
                <a16:creationId xmlns:a16="http://schemas.microsoft.com/office/drawing/2014/main" xmlns="" id="{65671879-86F1-412B-AE3F-8545C57BF88E}"/>
              </a:ext>
            </a:extLst>
          </p:cNvPr>
          <p:cNvSpPr>
            <a:spLocks noGrp="1"/>
          </p:cNvSpPr>
          <p:nvPr>
            <p:ph type="body" sz="quarter" idx="18"/>
          </p:nvPr>
        </p:nvSpPr>
        <p:spPr>
          <a:xfrm>
            <a:off x="4817183" y="2996953"/>
            <a:ext cx="2863180" cy="276999"/>
          </a:xfrm>
        </p:spPr>
        <p:txBody>
          <a:bodyPr>
            <a:noAutofit/>
          </a:bodyPr>
          <a:lstStyle>
            <a:lvl1pPr marL="0" indent="0">
              <a:spcBef>
                <a:spcPts val="0"/>
              </a:spcBef>
              <a:buNone/>
              <a:defRPr sz="1600" b="1">
                <a:solidFill>
                  <a:schemeClr val="tx2"/>
                </a:solidFill>
              </a:defRPr>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
        <p:nvSpPr>
          <p:cNvPr id="18" name="Text Placeholder 4">
            <a:extLst>
              <a:ext uri="{FF2B5EF4-FFF2-40B4-BE49-F238E27FC236}">
                <a16:creationId xmlns:a16="http://schemas.microsoft.com/office/drawing/2014/main" xmlns="" id="{D28D2AA3-17F1-4BD7-82B7-8D1F8E297847}"/>
              </a:ext>
            </a:extLst>
          </p:cNvPr>
          <p:cNvSpPr>
            <a:spLocks noGrp="1"/>
          </p:cNvSpPr>
          <p:nvPr>
            <p:ph type="body" sz="quarter" idx="19"/>
          </p:nvPr>
        </p:nvSpPr>
        <p:spPr>
          <a:xfrm>
            <a:off x="4817183" y="3429000"/>
            <a:ext cx="2863180" cy="2592388"/>
          </a:xfrm>
        </p:spPr>
        <p:txBody>
          <a:bodyPr/>
          <a:lstStyle>
            <a:lvl1pPr marL="0" indent="0">
              <a:spcBef>
                <a:spcPts val="0"/>
              </a:spcBef>
              <a:buNone/>
              <a:defRPr sz="1400" b="0"/>
            </a:lvl1pPr>
            <a:lvl2pPr marL="182562" indent="0">
              <a:buNone/>
              <a:defRPr sz="1800" b="1"/>
            </a:lvl2pPr>
            <a:lvl3pPr marL="444500" indent="0">
              <a:buNone/>
              <a:defRPr sz="1800" b="1"/>
            </a:lvl3pPr>
            <a:lvl4pPr marL="715963" indent="0">
              <a:buNone/>
              <a:defRPr sz="1800" b="1"/>
            </a:lvl4pPr>
            <a:lvl5pPr marL="985838" indent="0">
              <a:buNone/>
              <a:defRPr sz="1800" b="1"/>
            </a:lvl5pPr>
          </a:lstStyle>
          <a:p>
            <a:pPr lvl="0"/>
            <a:r>
              <a:rPr lang="en-US"/>
              <a:t>Click to edit Master text styles</a:t>
            </a:r>
          </a:p>
        </p:txBody>
      </p:sp>
    </p:spTree>
    <p:extLst>
      <p:ext uri="{BB962C8B-B14F-4D97-AF65-F5344CB8AC3E}">
        <p14:creationId xmlns:p14="http://schemas.microsoft.com/office/powerpoint/2010/main" val="34799519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912284" y="1628774"/>
            <a:ext cx="5183717"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p:cNvSpPr>
            <a:spLocks noGrp="1"/>
          </p:cNvSpPr>
          <p:nvPr>
            <p:ph type="title"/>
          </p:nvPr>
        </p:nvSpPr>
        <p:spPr/>
        <p:txBody>
          <a:bodyPr/>
          <a:lstStyle/>
          <a:p>
            <a:r>
              <a:rPr lang="en-US"/>
              <a:t>Click to edit Master title style</a:t>
            </a:r>
            <a:endParaRPr lang="de-DE"/>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a:p>
        </p:txBody>
      </p:sp>
      <p:sp>
        <p:nvSpPr>
          <p:cNvPr id="12" name="Textplatzhalter 4"/>
          <p:cNvSpPr>
            <a:spLocks noGrp="1"/>
          </p:cNvSpPr>
          <p:nvPr>
            <p:ph type="body" sz="quarter" idx="13"/>
          </p:nvPr>
        </p:nvSpPr>
        <p:spPr bwMode="gray">
          <a:xfrm>
            <a:off x="6816000" y="1807355"/>
            <a:ext cx="432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panose="020B060402020202020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US"/>
              <a:t>Click to edit Master text styles</a:t>
            </a:r>
          </a:p>
        </p:txBody>
      </p:sp>
    </p:spTree>
    <p:extLst>
      <p:ext uri="{BB962C8B-B14F-4D97-AF65-F5344CB8AC3E}">
        <p14:creationId xmlns:p14="http://schemas.microsoft.com/office/powerpoint/2010/main" val="81710857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tags" Target="../tags/tag573.xml"/><Relationship Id="rId3" Type="http://schemas.openxmlformats.org/officeDocument/2006/relationships/slideLayout" Target="../slideLayouts/slideLayout288.xml"/><Relationship Id="rId21" Type="http://schemas.openxmlformats.org/officeDocument/2006/relationships/slideLayout" Target="../slideLayouts/slideLayout306.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tags" Target="../tags/tag572.xml"/><Relationship Id="rId33" Type="http://schemas.openxmlformats.org/officeDocument/2006/relationships/image" Target="../media/image4.png"/><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slideLayout" Target="../slideLayouts/slideLayout305.xml"/><Relationship Id="rId29" Type="http://schemas.openxmlformats.org/officeDocument/2006/relationships/tags" Target="../tags/tag576.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24" Type="http://schemas.openxmlformats.org/officeDocument/2006/relationships/vmlDrawing" Target="../drawings/vmlDrawing10.vml"/><Relationship Id="rId32" Type="http://schemas.openxmlformats.org/officeDocument/2006/relationships/image" Target="../media/image1.emf"/><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theme" Target="../theme/theme10.xml"/><Relationship Id="rId28" Type="http://schemas.openxmlformats.org/officeDocument/2006/relationships/tags" Target="../tags/tag575.xml"/><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31" Type="http://schemas.openxmlformats.org/officeDocument/2006/relationships/oleObject" Target="../embeddings/oleObject10.bin"/><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tags" Target="../tags/tag574.xml"/><Relationship Id="rId30" Type="http://schemas.openxmlformats.org/officeDocument/2006/relationships/tags" Target="../tags/tag577.xml"/><Relationship Id="rId8" Type="http://schemas.openxmlformats.org/officeDocument/2006/relationships/slideLayout" Target="../slideLayouts/slideLayout2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tags" Target="../tags/tag625.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vmlDrawing" Target="../drawings/vmlDrawing11.v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24" Type="http://schemas.openxmlformats.org/officeDocument/2006/relationships/image" Target="../media/image1.emf"/><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oleObject" Target="../embeddings/oleObject11.bin"/><Relationship Id="rId10" Type="http://schemas.openxmlformats.org/officeDocument/2006/relationships/slideLayout" Target="../slideLayouts/slideLayout317.xml"/><Relationship Id="rId19" Type="http://schemas.openxmlformats.org/officeDocument/2006/relationships/theme" Target="../theme/theme11.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tags" Target="../tags/tag626.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38.xml"/><Relationship Id="rId18" Type="http://schemas.openxmlformats.org/officeDocument/2006/relationships/slideLayout" Target="../slideLayouts/slideLayout343.xml"/><Relationship Id="rId26" Type="http://schemas.openxmlformats.org/officeDocument/2006/relationships/slideLayout" Target="../slideLayouts/slideLayout351.xml"/><Relationship Id="rId39" Type="http://schemas.openxmlformats.org/officeDocument/2006/relationships/slideLayout" Target="../slideLayouts/slideLayout364.xml"/><Relationship Id="rId21" Type="http://schemas.openxmlformats.org/officeDocument/2006/relationships/slideLayout" Target="../slideLayouts/slideLayout346.xml"/><Relationship Id="rId34" Type="http://schemas.openxmlformats.org/officeDocument/2006/relationships/slideLayout" Target="../slideLayouts/slideLayout359.xml"/><Relationship Id="rId42" Type="http://schemas.openxmlformats.org/officeDocument/2006/relationships/slideLayout" Target="../slideLayouts/slideLayout367.xml"/><Relationship Id="rId47" Type="http://schemas.openxmlformats.org/officeDocument/2006/relationships/tags" Target="../tags/tag642.xml"/><Relationship Id="rId50" Type="http://schemas.openxmlformats.org/officeDocument/2006/relationships/image" Target="../media/image11.emf"/><Relationship Id="rId7" Type="http://schemas.openxmlformats.org/officeDocument/2006/relationships/slideLayout" Target="../slideLayouts/slideLayout332.xml"/><Relationship Id="rId2" Type="http://schemas.openxmlformats.org/officeDocument/2006/relationships/slideLayout" Target="../slideLayouts/slideLayout327.xml"/><Relationship Id="rId16" Type="http://schemas.openxmlformats.org/officeDocument/2006/relationships/slideLayout" Target="../slideLayouts/slideLayout341.xml"/><Relationship Id="rId29" Type="http://schemas.openxmlformats.org/officeDocument/2006/relationships/slideLayout" Target="../slideLayouts/slideLayout354.xml"/><Relationship Id="rId11" Type="http://schemas.openxmlformats.org/officeDocument/2006/relationships/slideLayout" Target="../slideLayouts/slideLayout336.xml"/><Relationship Id="rId24" Type="http://schemas.openxmlformats.org/officeDocument/2006/relationships/slideLayout" Target="../slideLayouts/slideLayout349.xml"/><Relationship Id="rId32" Type="http://schemas.openxmlformats.org/officeDocument/2006/relationships/slideLayout" Target="../slideLayouts/slideLayout357.xml"/><Relationship Id="rId37" Type="http://schemas.openxmlformats.org/officeDocument/2006/relationships/slideLayout" Target="../slideLayouts/slideLayout362.xml"/><Relationship Id="rId40" Type="http://schemas.openxmlformats.org/officeDocument/2006/relationships/slideLayout" Target="../slideLayouts/slideLayout365.xml"/><Relationship Id="rId45" Type="http://schemas.openxmlformats.org/officeDocument/2006/relationships/tags" Target="../tags/tag640.xml"/><Relationship Id="rId5" Type="http://schemas.openxmlformats.org/officeDocument/2006/relationships/slideLayout" Target="../slideLayouts/slideLayout330.xml"/><Relationship Id="rId15" Type="http://schemas.openxmlformats.org/officeDocument/2006/relationships/slideLayout" Target="../slideLayouts/slideLayout340.xml"/><Relationship Id="rId23" Type="http://schemas.openxmlformats.org/officeDocument/2006/relationships/slideLayout" Target="../slideLayouts/slideLayout348.xml"/><Relationship Id="rId28" Type="http://schemas.openxmlformats.org/officeDocument/2006/relationships/slideLayout" Target="../slideLayouts/slideLayout353.xml"/><Relationship Id="rId36" Type="http://schemas.openxmlformats.org/officeDocument/2006/relationships/slideLayout" Target="../slideLayouts/slideLayout361.xml"/><Relationship Id="rId49" Type="http://schemas.openxmlformats.org/officeDocument/2006/relationships/oleObject" Target="../embeddings/oleObject13.bin"/><Relationship Id="rId10" Type="http://schemas.openxmlformats.org/officeDocument/2006/relationships/slideLayout" Target="../slideLayouts/slideLayout335.xml"/><Relationship Id="rId19" Type="http://schemas.openxmlformats.org/officeDocument/2006/relationships/slideLayout" Target="../slideLayouts/slideLayout344.xml"/><Relationship Id="rId31" Type="http://schemas.openxmlformats.org/officeDocument/2006/relationships/slideLayout" Target="../slideLayouts/slideLayout356.xml"/><Relationship Id="rId44" Type="http://schemas.openxmlformats.org/officeDocument/2006/relationships/vmlDrawing" Target="../drawings/vmlDrawing13.v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slideLayout" Target="../slideLayouts/slideLayout339.xml"/><Relationship Id="rId22" Type="http://schemas.openxmlformats.org/officeDocument/2006/relationships/slideLayout" Target="../slideLayouts/slideLayout347.xml"/><Relationship Id="rId27" Type="http://schemas.openxmlformats.org/officeDocument/2006/relationships/slideLayout" Target="../slideLayouts/slideLayout352.xml"/><Relationship Id="rId30" Type="http://schemas.openxmlformats.org/officeDocument/2006/relationships/slideLayout" Target="../slideLayouts/slideLayout355.xml"/><Relationship Id="rId35" Type="http://schemas.openxmlformats.org/officeDocument/2006/relationships/slideLayout" Target="../slideLayouts/slideLayout360.xml"/><Relationship Id="rId43" Type="http://schemas.openxmlformats.org/officeDocument/2006/relationships/theme" Target="../theme/theme12.xml"/><Relationship Id="rId48" Type="http://schemas.openxmlformats.org/officeDocument/2006/relationships/tags" Target="../tags/tag643.xml"/><Relationship Id="rId8" Type="http://schemas.openxmlformats.org/officeDocument/2006/relationships/slideLayout" Target="../slideLayouts/slideLayout333.xml"/><Relationship Id="rId51" Type="http://schemas.openxmlformats.org/officeDocument/2006/relationships/image" Target="../media/image12.png"/><Relationship Id="rId3" Type="http://schemas.openxmlformats.org/officeDocument/2006/relationships/slideLayout" Target="../slideLayouts/slideLayout328.xml"/><Relationship Id="rId12" Type="http://schemas.openxmlformats.org/officeDocument/2006/relationships/slideLayout" Target="../slideLayouts/slideLayout337.xml"/><Relationship Id="rId17" Type="http://schemas.openxmlformats.org/officeDocument/2006/relationships/slideLayout" Target="../slideLayouts/slideLayout342.xml"/><Relationship Id="rId25" Type="http://schemas.openxmlformats.org/officeDocument/2006/relationships/slideLayout" Target="../slideLayouts/slideLayout350.xml"/><Relationship Id="rId33" Type="http://schemas.openxmlformats.org/officeDocument/2006/relationships/slideLayout" Target="../slideLayouts/slideLayout358.xml"/><Relationship Id="rId38" Type="http://schemas.openxmlformats.org/officeDocument/2006/relationships/slideLayout" Target="../slideLayouts/slideLayout363.xml"/><Relationship Id="rId46" Type="http://schemas.openxmlformats.org/officeDocument/2006/relationships/tags" Target="../tags/tag641.xml"/><Relationship Id="rId20" Type="http://schemas.openxmlformats.org/officeDocument/2006/relationships/slideLayout" Target="../slideLayouts/slideLayout345.xml"/><Relationship Id="rId41" Type="http://schemas.openxmlformats.org/officeDocument/2006/relationships/slideLayout" Target="../slideLayouts/slideLayout366.xml"/><Relationship Id="rId1" Type="http://schemas.openxmlformats.org/officeDocument/2006/relationships/slideLayout" Target="../slideLayouts/slideLayout326.xml"/><Relationship Id="rId6" Type="http://schemas.openxmlformats.org/officeDocument/2006/relationships/slideLayout" Target="../slideLayouts/slideLayout33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slideLayout" Target="../slideLayouts/slideLayout393.xml"/><Relationship Id="rId39" Type="http://schemas.openxmlformats.org/officeDocument/2006/relationships/slideLayout" Target="../slideLayouts/slideLayout406.xml"/><Relationship Id="rId21" Type="http://schemas.openxmlformats.org/officeDocument/2006/relationships/slideLayout" Target="../slideLayouts/slideLayout388.xml"/><Relationship Id="rId34" Type="http://schemas.openxmlformats.org/officeDocument/2006/relationships/slideLayout" Target="../slideLayouts/slideLayout401.xml"/><Relationship Id="rId42" Type="http://schemas.openxmlformats.org/officeDocument/2006/relationships/slideLayout" Target="../slideLayouts/slideLayout409.xml"/><Relationship Id="rId47" Type="http://schemas.openxmlformats.org/officeDocument/2006/relationships/tags" Target="../tags/tag726.xml"/><Relationship Id="rId50" Type="http://schemas.openxmlformats.org/officeDocument/2006/relationships/tags" Target="../tags/tag729.xml"/><Relationship Id="rId7" Type="http://schemas.openxmlformats.org/officeDocument/2006/relationships/slideLayout" Target="../slideLayouts/slideLayout374.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9" Type="http://schemas.openxmlformats.org/officeDocument/2006/relationships/slideLayout" Target="../slideLayouts/slideLayout396.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32" Type="http://schemas.openxmlformats.org/officeDocument/2006/relationships/slideLayout" Target="../slideLayouts/slideLayout399.xml"/><Relationship Id="rId37" Type="http://schemas.openxmlformats.org/officeDocument/2006/relationships/slideLayout" Target="../slideLayouts/slideLayout404.xml"/><Relationship Id="rId40" Type="http://schemas.openxmlformats.org/officeDocument/2006/relationships/slideLayout" Target="../slideLayouts/slideLayout407.xml"/><Relationship Id="rId45" Type="http://schemas.openxmlformats.org/officeDocument/2006/relationships/vmlDrawing" Target="../drawings/vmlDrawing14.vml"/><Relationship Id="rId53" Type="http://schemas.openxmlformats.org/officeDocument/2006/relationships/image" Target="../media/image12.png"/><Relationship Id="rId5" Type="http://schemas.openxmlformats.org/officeDocument/2006/relationships/slideLayout" Target="../slideLayouts/slideLayout372.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31" Type="http://schemas.openxmlformats.org/officeDocument/2006/relationships/slideLayout" Target="../slideLayouts/slideLayout398.xml"/><Relationship Id="rId44" Type="http://schemas.openxmlformats.org/officeDocument/2006/relationships/theme" Target="../theme/theme13.xml"/><Relationship Id="rId52" Type="http://schemas.openxmlformats.org/officeDocument/2006/relationships/image" Target="../media/image11.emf"/><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slideLayout" Target="../slideLayouts/slideLayout394.xml"/><Relationship Id="rId30" Type="http://schemas.openxmlformats.org/officeDocument/2006/relationships/slideLayout" Target="../slideLayouts/slideLayout397.xml"/><Relationship Id="rId35" Type="http://schemas.openxmlformats.org/officeDocument/2006/relationships/slideLayout" Target="../slideLayouts/slideLayout402.xml"/><Relationship Id="rId43" Type="http://schemas.openxmlformats.org/officeDocument/2006/relationships/slideLayout" Target="../slideLayouts/slideLayout410.xml"/><Relationship Id="rId48" Type="http://schemas.openxmlformats.org/officeDocument/2006/relationships/tags" Target="../tags/tag727.xml"/><Relationship Id="rId8" Type="http://schemas.openxmlformats.org/officeDocument/2006/relationships/slideLayout" Target="../slideLayouts/slideLayout375.xml"/><Relationship Id="rId51" Type="http://schemas.openxmlformats.org/officeDocument/2006/relationships/oleObject" Target="../embeddings/oleObject14.bin"/><Relationship Id="rId3" Type="http://schemas.openxmlformats.org/officeDocument/2006/relationships/slideLayout" Target="../slideLayouts/slideLayout370.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33" Type="http://schemas.openxmlformats.org/officeDocument/2006/relationships/slideLayout" Target="../slideLayouts/slideLayout400.xml"/><Relationship Id="rId38" Type="http://schemas.openxmlformats.org/officeDocument/2006/relationships/slideLayout" Target="../slideLayouts/slideLayout405.xml"/><Relationship Id="rId46" Type="http://schemas.openxmlformats.org/officeDocument/2006/relationships/tags" Target="../tags/tag725.xml"/><Relationship Id="rId20" Type="http://schemas.openxmlformats.org/officeDocument/2006/relationships/slideLayout" Target="../slideLayouts/slideLayout387.xml"/><Relationship Id="rId41" Type="http://schemas.openxmlformats.org/officeDocument/2006/relationships/slideLayout" Target="../slideLayouts/slideLayout408.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28" Type="http://schemas.openxmlformats.org/officeDocument/2006/relationships/slideLayout" Target="../slideLayouts/slideLayout395.xml"/><Relationship Id="rId36" Type="http://schemas.openxmlformats.org/officeDocument/2006/relationships/slideLayout" Target="../slideLayouts/slideLayout403.xml"/><Relationship Id="rId49" Type="http://schemas.openxmlformats.org/officeDocument/2006/relationships/tags" Target="../tags/tag728.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423.xml"/><Relationship Id="rId18" Type="http://schemas.openxmlformats.org/officeDocument/2006/relationships/slideLayout" Target="../slideLayouts/slideLayout428.xml"/><Relationship Id="rId26" Type="http://schemas.openxmlformats.org/officeDocument/2006/relationships/slideLayout" Target="../slideLayouts/slideLayout436.xml"/><Relationship Id="rId39" Type="http://schemas.openxmlformats.org/officeDocument/2006/relationships/slideLayout" Target="../slideLayouts/slideLayout449.xml"/><Relationship Id="rId21" Type="http://schemas.openxmlformats.org/officeDocument/2006/relationships/slideLayout" Target="../slideLayouts/slideLayout431.xml"/><Relationship Id="rId34" Type="http://schemas.openxmlformats.org/officeDocument/2006/relationships/slideLayout" Target="../slideLayouts/slideLayout444.xml"/><Relationship Id="rId42" Type="http://schemas.openxmlformats.org/officeDocument/2006/relationships/slideLayout" Target="../slideLayouts/slideLayout452.xml"/><Relationship Id="rId47" Type="http://schemas.openxmlformats.org/officeDocument/2006/relationships/vmlDrawing" Target="../drawings/vmlDrawing15.vml"/><Relationship Id="rId50" Type="http://schemas.openxmlformats.org/officeDocument/2006/relationships/tags" Target="../tags/tag813.xml"/><Relationship Id="rId7" Type="http://schemas.openxmlformats.org/officeDocument/2006/relationships/slideLayout" Target="../slideLayouts/slideLayout417.xml"/><Relationship Id="rId2" Type="http://schemas.openxmlformats.org/officeDocument/2006/relationships/slideLayout" Target="../slideLayouts/slideLayout412.xml"/><Relationship Id="rId16" Type="http://schemas.openxmlformats.org/officeDocument/2006/relationships/slideLayout" Target="../slideLayouts/slideLayout426.xml"/><Relationship Id="rId29" Type="http://schemas.openxmlformats.org/officeDocument/2006/relationships/slideLayout" Target="../slideLayouts/slideLayout439.xml"/><Relationship Id="rId11" Type="http://schemas.openxmlformats.org/officeDocument/2006/relationships/slideLayout" Target="../slideLayouts/slideLayout421.xml"/><Relationship Id="rId24" Type="http://schemas.openxmlformats.org/officeDocument/2006/relationships/slideLayout" Target="../slideLayouts/slideLayout434.xml"/><Relationship Id="rId32" Type="http://schemas.openxmlformats.org/officeDocument/2006/relationships/slideLayout" Target="../slideLayouts/slideLayout442.xml"/><Relationship Id="rId37" Type="http://schemas.openxmlformats.org/officeDocument/2006/relationships/slideLayout" Target="../slideLayouts/slideLayout447.xml"/><Relationship Id="rId40" Type="http://schemas.openxmlformats.org/officeDocument/2006/relationships/slideLayout" Target="../slideLayouts/slideLayout450.xml"/><Relationship Id="rId45" Type="http://schemas.openxmlformats.org/officeDocument/2006/relationships/slideLayout" Target="../slideLayouts/slideLayout455.xml"/><Relationship Id="rId53" Type="http://schemas.openxmlformats.org/officeDocument/2006/relationships/image" Target="../media/image11.emf"/><Relationship Id="rId5" Type="http://schemas.openxmlformats.org/officeDocument/2006/relationships/slideLayout" Target="../slideLayouts/slideLayout415.xml"/><Relationship Id="rId10" Type="http://schemas.openxmlformats.org/officeDocument/2006/relationships/slideLayout" Target="../slideLayouts/slideLayout420.xml"/><Relationship Id="rId19" Type="http://schemas.openxmlformats.org/officeDocument/2006/relationships/slideLayout" Target="../slideLayouts/slideLayout429.xml"/><Relationship Id="rId31" Type="http://schemas.openxmlformats.org/officeDocument/2006/relationships/slideLayout" Target="../slideLayouts/slideLayout441.xml"/><Relationship Id="rId44" Type="http://schemas.openxmlformats.org/officeDocument/2006/relationships/slideLayout" Target="../slideLayouts/slideLayout454.xml"/><Relationship Id="rId52" Type="http://schemas.openxmlformats.org/officeDocument/2006/relationships/oleObject" Target="../embeddings/oleObject15.bin"/><Relationship Id="rId4" Type="http://schemas.openxmlformats.org/officeDocument/2006/relationships/slideLayout" Target="../slideLayouts/slideLayout414.xml"/><Relationship Id="rId9" Type="http://schemas.openxmlformats.org/officeDocument/2006/relationships/slideLayout" Target="../slideLayouts/slideLayout419.xml"/><Relationship Id="rId14" Type="http://schemas.openxmlformats.org/officeDocument/2006/relationships/slideLayout" Target="../slideLayouts/slideLayout424.xml"/><Relationship Id="rId22" Type="http://schemas.openxmlformats.org/officeDocument/2006/relationships/slideLayout" Target="../slideLayouts/slideLayout432.xml"/><Relationship Id="rId27" Type="http://schemas.openxmlformats.org/officeDocument/2006/relationships/slideLayout" Target="../slideLayouts/slideLayout437.xml"/><Relationship Id="rId30" Type="http://schemas.openxmlformats.org/officeDocument/2006/relationships/slideLayout" Target="../slideLayouts/slideLayout440.xml"/><Relationship Id="rId35" Type="http://schemas.openxmlformats.org/officeDocument/2006/relationships/slideLayout" Target="../slideLayouts/slideLayout445.xml"/><Relationship Id="rId43" Type="http://schemas.openxmlformats.org/officeDocument/2006/relationships/slideLayout" Target="../slideLayouts/slideLayout453.xml"/><Relationship Id="rId48" Type="http://schemas.openxmlformats.org/officeDocument/2006/relationships/tags" Target="../tags/tag811.xml"/><Relationship Id="rId8" Type="http://schemas.openxmlformats.org/officeDocument/2006/relationships/slideLayout" Target="../slideLayouts/slideLayout418.xml"/><Relationship Id="rId51" Type="http://schemas.openxmlformats.org/officeDocument/2006/relationships/tags" Target="../tags/tag814.xml"/><Relationship Id="rId3" Type="http://schemas.openxmlformats.org/officeDocument/2006/relationships/slideLayout" Target="../slideLayouts/slideLayout413.xml"/><Relationship Id="rId12" Type="http://schemas.openxmlformats.org/officeDocument/2006/relationships/slideLayout" Target="../slideLayouts/slideLayout422.xml"/><Relationship Id="rId17" Type="http://schemas.openxmlformats.org/officeDocument/2006/relationships/slideLayout" Target="../slideLayouts/slideLayout427.xml"/><Relationship Id="rId25" Type="http://schemas.openxmlformats.org/officeDocument/2006/relationships/slideLayout" Target="../slideLayouts/slideLayout435.xml"/><Relationship Id="rId33" Type="http://schemas.openxmlformats.org/officeDocument/2006/relationships/slideLayout" Target="../slideLayouts/slideLayout443.xml"/><Relationship Id="rId38" Type="http://schemas.openxmlformats.org/officeDocument/2006/relationships/slideLayout" Target="../slideLayouts/slideLayout448.xml"/><Relationship Id="rId46" Type="http://schemas.openxmlformats.org/officeDocument/2006/relationships/theme" Target="../theme/theme14.xml"/><Relationship Id="rId20" Type="http://schemas.openxmlformats.org/officeDocument/2006/relationships/slideLayout" Target="../slideLayouts/slideLayout430.xml"/><Relationship Id="rId41" Type="http://schemas.openxmlformats.org/officeDocument/2006/relationships/slideLayout" Target="../slideLayouts/slideLayout451.xml"/><Relationship Id="rId54" Type="http://schemas.openxmlformats.org/officeDocument/2006/relationships/image" Target="../media/image12.png"/><Relationship Id="rId1" Type="http://schemas.openxmlformats.org/officeDocument/2006/relationships/slideLayout" Target="../slideLayouts/slideLayout411.xml"/><Relationship Id="rId6" Type="http://schemas.openxmlformats.org/officeDocument/2006/relationships/slideLayout" Target="../slideLayouts/slideLayout416.xml"/><Relationship Id="rId15" Type="http://schemas.openxmlformats.org/officeDocument/2006/relationships/slideLayout" Target="../slideLayouts/slideLayout425.xml"/><Relationship Id="rId23" Type="http://schemas.openxmlformats.org/officeDocument/2006/relationships/slideLayout" Target="../slideLayouts/slideLayout433.xml"/><Relationship Id="rId28" Type="http://schemas.openxmlformats.org/officeDocument/2006/relationships/slideLayout" Target="../slideLayouts/slideLayout438.xml"/><Relationship Id="rId36" Type="http://schemas.openxmlformats.org/officeDocument/2006/relationships/slideLayout" Target="../slideLayouts/slideLayout446.xml"/><Relationship Id="rId49" Type="http://schemas.openxmlformats.org/officeDocument/2006/relationships/tags" Target="../tags/tag81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9" Type="http://schemas.openxmlformats.org/officeDocument/2006/relationships/slideLayout" Target="../slideLayouts/slideLayout494.xml"/><Relationship Id="rId21" Type="http://schemas.openxmlformats.org/officeDocument/2006/relationships/slideLayout" Target="../slideLayouts/slideLayout476.xml"/><Relationship Id="rId34" Type="http://schemas.openxmlformats.org/officeDocument/2006/relationships/slideLayout" Target="../slideLayouts/slideLayout489.xml"/><Relationship Id="rId42" Type="http://schemas.openxmlformats.org/officeDocument/2006/relationships/slideLayout" Target="../slideLayouts/slideLayout497.xml"/><Relationship Id="rId47" Type="http://schemas.openxmlformats.org/officeDocument/2006/relationships/tags" Target="../tags/tag903.xml"/><Relationship Id="rId50" Type="http://schemas.openxmlformats.org/officeDocument/2006/relationships/oleObject" Target="../embeddings/oleObject16.bin"/><Relationship Id="rId7" Type="http://schemas.openxmlformats.org/officeDocument/2006/relationships/slideLayout" Target="../slideLayouts/slideLayout462.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9" Type="http://schemas.openxmlformats.org/officeDocument/2006/relationships/slideLayout" Target="../slideLayouts/slideLayout484.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32" Type="http://schemas.openxmlformats.org/officeDocument/2006/relationships/slideLayout" Target="../slideLayouts/slideLayout487.xml"/><Relationship Id="rId37" Type="http://schemas.openxmlformats.org/officeDocument/2006/relationships/slideLayout" Target="../slideLayouts/slideLayout492.xml"/><Relationship Id="rId40" Type="http://schemas.openxmlformats.org/officeDocument/2006/relationships/slideLayout" Target="../slideLayouts/slideLayout495.xml"/><Relationship Id="rId45" Type="http://schemas.openxmlformats.org/officeDocument/2006/relationships/tags" Target="../tags/tag901.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36" Type="http://schemas.openxmlformats.org/officeDocument/2006/relationships/slideLayout" Target="../slideLayouts/slideLayout491.xml"/><Relationship Id="rId49" Type="http://schemas.openxmlformats.org/officeDocument/2006/relationships/tags" Target="../tags/tag905.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31" Type="http://schemas.openxmlformats.org/officeDocument/2006/relationships/slideLayout" Target="../slideLayouts/slideLayout486.xml"/><Relationship Id="rId44" Type="http://schemas.openxmlformats.org/officeDocument/2006/relationships/vmlDrawing" Target="../drawings/vmlDrawing16.vml"/><Relationship Id="rId52" Type="http://schemas.openxmlformats.org/officeDocument/2006/relationships/image" Target="../media/image4.png"/><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slideLayout" Target="../slideLayouts/slideLayout485.xml"/><Relationship Id="rId35" Type="http://schemas.openxmlformats.org/officeDocument/2006/relationships/slideLayout" Target="../slideLayouts/slideLayout490.xml"/><Relationship Id="rId43" Type="http://schemas.openxmlformats.org/officeDocument/2006/relationships/theme" Target="../theme/theme15.xml"/><Relationship Id="rId48" Type="http://schemas.openxmlformats.org/officeDocument/2006/relationships/tags" Target="../tags/tag904.xml"/><Relationship Id="rId8" Type="http://schemas.openxmlformats.org/officeDocument/2006/relationships/slideLayout" Target="../slideLayouts/slideLayout463.xml"/><Relationship Id="rId51" Type="http://schemas.openxmlformats.org/officeDocument/2006/relationships/image" Target="../media/image1.emf"/><Relationship Id="rId3" Type="http://schemas.openxmlformats.org/officeDocument/2006/relationships/slideLayout" Target="../slideLayouts/slideLayout458.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33" Type="http://schemas.openxmlformats.org/officeDocument/2006/relationships/slideLayout" Target="../slideLayouts/slideLayout488.xml"/><Relationship Id="rId38" Type="http://schemas.openxmlformats.org/officeDocument/2006/relationships/slideLayout" Target="../slideLayouts/slideLayout493.xml"/><Relationship Id="rId46" Type="http://schemas.openxmlformats.org/officeDocument/2006/relationships/tags" Target="../tags/tag902.xml"/><Relationship Id="rId20" Type="http://schemas.openxmlformats.org/officeDocument/2006/relationships/slideLayout" Target="../slideLayouts/slideLayout475.xml"/><Relationship Id="rId41" Type="http://schemas.openxmlformats.org/officeDocument/2006/relationships/slideLayout" Target="../slideLayouts/slideLayout496.xml"/><Relationship Id="rId1" Type="http://schemas.openxmlformats.org/officeDocument/2006/relationships/slideLayout" Target="../slideLayouts/slideLayout456.xml"/><Relationship Id="rId6" Type="http://schemas.openxmlformats.org/officeDocument/2006/relationships/slideLayout" Target="../slideLayouts/slideLayout461.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500.xml"/><Relationship Id="rId7" Type="http://schemas.openxmlformats.org/officeDocument/2006/relationships/slideLayout" Target="../slideLayouts/slideLayout504.xml"/><Relationship Id="rId2" Type="http://schemas.openxmlformats.org/officeDocument/2006/relationships/slideLayout" Target="../slideLayouts/slideLayout499.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5" Type="http://schemas.openxmlformats.org/officeDocument/2006/relationships/slideLayout" Target="../slideLayouts/slideLayout502.xml"/><Relationship Id="rId4" Type="http://schemas.openxmlformats.org/officeDocument/2006/relationships/slideLayout" Target="../slideLayouts/slideLayout501.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507.xml"/><Relationship Id="rId7" Type="http://schemas.openxmlformats.org/officeDocument/2006/relationships/theme" Target="../theme/theme17.xml"/><Relationship Id="rId2" Type="http://schemas.openxmlformats.org/officeDocument/2006/relationships/slideLayout" Target="../slideLayouts/slideLayout506.xml"/><Relationship Id="rId1" Type="http://schemas.openxmlformats.org/officeDocument/2006/relationships/slideLayout" Target="../slideLayouts/slideLayout505.xml"/><Relationship Id="rId6" Type="http://schemas.openxmlformats.org/officeDocument/2006/relationships/slideLayout" Target="../slideLayouts/slideLayout510.xml"/><Relationship Id="rId5" Type="http://schemas.openxmlformats.org/officeDocument/2006/relationships/slideLayout" Target="../slideLayouts/slideLayout509.xml"/><Relationship Id="rId4" Type="http://schemas.openxmlformats.org/officeDocument/2006/relationships/slideLayout" Target="../slideLayouts/slideLayout508.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513.xml"/><Relationship Id="rId7" Type="http://schemas.openxmlformats.org/officeDocument/2006/relationships/slideLayout" Target="../slideLayouts/slideLayout517.xml"/><Relationship Id="rId2" Type="http://schemas.openxmlformats.org/officeDocument/2006/relationships/slideLayout" Target="../slideLayouts/slideLayout512.xml"/><Relationship Id="rId1" Type="http://schemas.openxmlformats.org/officeDocument/2006/relationships/slideLayout" Target="../slideLayouts/slideLayout511.xml"/><Relationship Id="rId6" Type="http://schemas.openxmlformats.org/officeDocument/2006/relationships/slideLayout" Target="../slideLayouts/slideLayout516.xml"/><Relationship Id="rId5" Type="http://schemas.openxmlformats.org/officeDocument/2006/relationships/slideLayout" Target="../slideLayouts/slideLayout515.xml"/><Relationship Id="rId4" Type="http://schemas.openxmlformats.org/officeDocument/2006/relationships/slideLayout" Target="../slideLayouts/slideLayout5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53.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5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vmlDrawing" Target="../drawings/vmlDrawing2.v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2.xml"/><Relationship Id="rId28" Type="http://schemas.openxmlformats.org/officeDocument/2006/relationships/tags" Target="../tags/tag55.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54.xml"/><Relationship Id="rId30"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ags" Target="../tags/tag99.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vmlDrawing" Target="../drawings/vmlDrawing3.v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tags" Target="../tags/tag10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3.xml"/><Relationship Id="rId32" Type="http://schemas.openxmlformats.org/officeDocument/2006/relationships/image" Target="../media/image1.emf"/><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tags" Target="../tags/tag10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oleObject" Target="../embeddings/oleObject3.bin"/><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100.xml"/><Relationship Id="rId30" Type="http://schemas.openxmlformats.org/officeDocument/2006/relationships/tags" Target="../tags/tag10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slideLayout" Target="../slideLayouts/slideLayout111.xml"/><Relationship Id="rId47" Type="http://schemas.openxmlformats.org/officeDocument/2006/relationships/tags" Target="../tags/tag151.xml"/><Relationship Id="rId50" Type="http://schemas.openxmlformats.org/officeDocument/2006/relationships/oleObject" Target="../embeddings/oleObject4.bin"/><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9" Type="http://schemas.openxmlformats.org/officeDocument/2006/relationships/slideLayout" Target="../slideLayouts/slideLayout98.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45" Type="http://schemas.openxmlformats.org/officeDocument/2006/relationships/tags" Target="../tags/tag149.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49" Type="http://schemas.openxmlformats.org/officeDocument/2006/relationships/tags" Target="../tags/tag153.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vmlDrawing" Target="../drawings/vmlDrawing4.vml"/><Relationship Id="rId52" Type="http://schemas.openxmlformats.org/officeDocument/2006/relationships/image" Target="../media/image8.png"/><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theme" Target="../theme/theme4.xml"/><Relationship Id="rId48" Type="http://schemas.openxmlformats.org/officeDocument/2006/relationships/tags" Target="../tags/tag152.xml"/><Relationship Id="rId8" Type="http://schemas.openxmlformats.org/officeDocument/2006/relationships/slideLayout" Target="../slideLayouts/slideLayout77.xml"/><Relationship Id="rId51" Type="http://schemas.openxmlformats.org/officeDocument/2006/relationships/image" Target="../media/image1.emf"/><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 Id="rId46" Type="http://schemas.openxmlformats.org/officeDocument/2006/relationships/tags" Target="../tags/tag150.xml"/><Relationship Id="rId20" Type="http://schemas.openxmlformats.org/officeDocument/2006/relationships/slideLayout" Target="../slideLayouts/slideLayout89.xml"/><Relationship Id="rId41" Type="http://schemas.openxmlformats.org/officeDocument/2006/relationships/slideLayout" Target="../slideLayouts/slideLayout110.xml"/><Relationship Id="rId1" Type="http://schemas.openxmlformats.org/officeDocument/2006/relationships/slideLayout" Target="../slideLayouts/slideLayout70.xml"/><Relationship Id="rId6"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tags" Target="../tags/tag226.xml"/><Relationship Id="rId3" Type="http://schemas.openxmlformats.org/officeDocument/2006/relationships/slideLayout" Target="../slideLayouts/slideLayout114.xml"/><Relationship Id="rId21" Type="http://schemas.openxmlformats.org/officeDocument/2006/relationships/slideLayout" Target="../slideLayouts/slideLayout132.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tags" Target="../tags/tag225.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0" Type="http://schemas.openxmlformats.org/officeDocument/2006/relationships/slideLayout" Target="../slideLayouts/slideLayout131.xml"/><Relationship Id="rId29" Type="http://schemas.openxmlformats.org/officeDocument/2006/relationships/tags" Target="../tags/tag229.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24" Type="http://schemas.openxmlformats.org/officeDocument/2006/relationships/vmlDrawing" Target="../drawings/vmlDrawing5.v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theme" Target="../theme/theme5.xml"/><Relationship Id="rId28" Type="http://schemas.openxmlformats.org/officeDocument/2006/relationships/tags" Target="../tags/tag228.xml"/><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image" Target="../media/image1.emf"/><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tags" Target="../tags/tag227.xml"/><Relationship Id="rId30"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tags" Target="../tags/tag274.xml"/><Relationship Id="rId50" Type="http://schemas.openxmlformats.org/officeDocument/2006/relationships/oleObject" Target="../embeddings/oleObject6.bin"/><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tags" Target="../tags/tag272.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tags" Target="../tags/tag276.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vmlDrawing" Target="../drawings/vmlDrawing6.vml"/><Relationship Id="rId52" Type="http://schemas.openxmlformats.org/officeDocument/2006/relationships/image" Target="../media/image12.png"/><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theme" Target="../theme/theme6.xml"/><Relationship Id="rId48" Type="http://schemas.openxmlformats.org/officeDocument/2006/relationships/tags" Target="../tags/tag275.xml"/><Relationship Id="rId8" Type="http://schemas.openxmlformats.org/officeDocument/2006/relationships/slideLayout" Target="../slideLayouts/slideLayout141.xml"/><Relationship Id="rId51" Type="http://schemas.openxmlformats.org/officeDocument/2006/relationships/image" Target="../media/image11.emf"/><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tags" Target="../tags/tag273.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39" Type="http://schemas.openxmlformats.org/officeDocument/2006/relationships/slideLayout" Target="../slideLayouts/slideLayout214.xml"/><Relationship Id="rId21" Type="http://schemas.openxmlformats.org/officeDocument/2006/relationships/slideLayout" Target="../slideLayouts/slideLayout196.xml"/><Relationship Id="rId34" Type="http://schemas.openxmlformats.org/officeDocument/2006/relationships/slideLayout" Target="../slideLayouts/slideLayout209.xml"/><Relationship Id="rId42" Type="http://schemas.openxmlformats.org/officeDocument/2006/relationships/slideLayout" Target="../slideLayouts/slideLayout217.xml"/><Relationship Id="rId47" Type="http://schemas.openxmlformats.org/officeDocument/2006/relationships/tags" Target="../tags/tag360.xml"/><Relationship Id="rId50" Type="http://schemas.openxmlformats.org/officeDocument/2006/relationships/tags" Target="../tags/tag363.xml"/><Relationship Id="rId7" Type="http://schemas.openxmlformats.org/officeDocument/2006/relationships/slideLayout" Target="../slideLayouts/slideLayout18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9" Type="http://schemas.openxmlformats.org/officeDocument/2006/relationships/slideLayout" Target="../slideLayouts/slideLayout204.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slideLayout" Target="../slideLayouts/slideLayout212.xml"/><Relationship Id="rId40" Type="http://schemas.openxmlformats.org/officeDocument/2006/relationships/slideLayout" Target="../slideLayouts/slideLayout215.xml"/><Relationship Id="rId45" Type="http://schemas.openxmlformats.org/officeDocument/2006/relationships/vmlDrawing" Target="../drawings/vmlDrawing7.vml"/><Relationship Id="rId53" Type="http://schemas.openxmlformats.org/officeDocument/2006/relationships/image" Target="../media/image12.png"/><Relationship Id="rId5" Type="http://schemas.openxmlformats.org/officeDocument/2006/relationships/slideLayout" Target="../slideLayouts/slideLayout180.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4" Type="http://schemas.openxmlformats.org/officeDocument/2006/relationships/theme" Target="../theme/theme7.xml"/><Relationship Id="rId52" Type="http://schemas.openxmlformats.org/officeDocument/2006/relationships/image" Target="../media/image11.emf"/><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slideLayout" Target="../slideLayouts/slideLayout210.xml"/><Relationship Id="rId43" Type="http://schemas.openxmlformats.org/officeDocument/2006/relationships/slideLayout" Target="../slideLayouts/slideLayout218.xml"/><Relationship Id="rId48" Type="http://schemas.openxmlformats.org/officeDocument/2006/relationships/tags" Target="../tags/tag361.xml"/><Relationship Id="rId8" Type="http://schemas.openxmlformats.org/officeDocument/2006/relationships/slideLayout" Target="../slideLayouts/slideLayout183.xml"/><Relationship Id="rId51" Type="http://schemas.openxmlformats.org/officeDocument/2006/relationships/oleObject" Target="../embeddings/oleObject7.bin"/><Relationship Id="rId3" Type="http://schemas.openxmlformats.org/officeDocument/2006/relationships/slideLayout" Target="../slideLayouts/slideLayout178.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slideLayout" Target="../slideLayouts/slideLayout213.xml"/><Relationship Id="rId46" Type="http://schemas.openxmlformats.org/officeDocument/2006/relationships/tags" Target="../tags/tag359.xml"/><Relationship Id="rId20" Type="http://schemas.openxmlformats.org/officeDocument/2006/relationships/slideLayout" Target="../slideLayouts/slideLayout195.xml"/><Relationship Id="rId41" Type="http://schemas.openxmlformats.org/officeDocument/2006/relationships/slideLayout" Target="../slideLayouts/slideLayout216.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slideLayout" Target="../slideLayouts/slideLayout211.xml"/><Relationship Id="rId49" Type="http://schemas.openxmlformats.org/officeDocument/2006/relationships/tags" Target="../tags/tag36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9" Type="http://schemas.openxmlformats.org/officeDocument/2006/relationships/slideLayout" Target="../slideLayouts/slideLayout257.xml"/><Relationship Id="rId21" Type="http://schemas.openxmlformats.org/officeDocument/2006/relationships/slideLayout" Target="../slideLayouts/slideLayout239.xml"/><Relationship Id="rId34" Type="http://schemas.openxmlformats.org/officeDocument/2006/relationships/slideLayout" Target="../slideLayouts/slideLayout252.xml"/><Relationship Id="rId42" Type="http://schemas.openxmlformats.org/officeDocument/2006/relationships/slideLayout" Target="../slideLayouts/slideLayout260.xml"/><Relationship Id="rId47" Type="http://schemas.openxmlformats.org/officeDocument/2006/relationships/vmlDrawing" Target="../drawings/vmlDrawing8.vml"/><Relationship Id="rId50" Type="http://schemas.openxmlformats.org/officeDocument/2006/relationships/tags" Target="../tags/tag448.xml"/><Relationship Id="rId7" Type="http://schemas.openxmlformats.org/officeDocument/2006/relationships/slideLayout" Target="../slideLayouts/slideLayout225.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9" Type="http://schemas.openxmlformats.org/officeDocument/2006/relationships/slideLayout" Target="../slideLayouts/slideLayout247.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53" Type="http://schemas.openxmlformats.org/officeDocument/2006/relationships/image" Target="../media/image11.emf"/><Relationship Id="rId5" Type="http://schemas.openxmlformats.org/officeDocument/2006/relationships/slideLayout" Target="../slideLayouts/slideLayout223.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oleObject" Target="../embeddings/oleObject8.bin"/><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43" Type="http://schemas.openxmlformats.org/officeDocument/2006/relationships/slideLayout" Target="../slideLayouts/slideLayout261.xml"/><Relationship Id="rId48" Type="http://schemas.openxmlformats.org/officeDocument/2006/relationships/tags" Target="../tags/tag446.xml"/><Relationship Id="rId8" Type="http://schemas.openxmlformats.org/officeDocument/2006/relationships/slideLayout" Target="../slideLayouts/slideLayout226.xml"/><Relationship Id="rId51" Type="http://schemas.openxmlformats.org/officeDocument/2006/relationships/tags" Target="../tags/tag449.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theme" Target="../theme/theme8.xml"/><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54" Type="http://schemas.openxmlformats.org/officeDocument/2006/relationships/image" Target="../media/image12.png"/><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tags" Target="../tags/tag447.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tags" Target="../tags/tag536.xml"/><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tags" Target="../tags/tag535.xml"/><Relationship Id="rId33" Type="http://schemas.openxmlformats.org/officeDocument/2006/relationships/image" Target="../media/image12.png"/><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29" Type="http://schemas.openxmlformats.org/officeDocument/2006/relationships/tags" Target="../tags/tag539.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vmlDrawing" Target="../drawings/vmlDrawing9.vml"/><Relationship Id="rId32" Type="http://schemas.openxmlformats.org/officeDocument/2006/relationships/image" Target="../media/image11.emf"/><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theme" Target="../theme/theme9.xml"/><Relationship Id="rId28" Type="http://schemas.openxmlformats.org/officeDocument/2006/relationships/tags" Target="../tags/tag538.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31" Type="http://schemas.openxmlformats.org/officeDocument/2006/relationships/oleObject" Target="../embeddings/oleObject9.bin"/><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tags" Target="../tags/tag537.xml"/><Relationship Id="rId30" Type="http://schemas.openxmlformats.org/officeDocument/2006/relationships/tags" Target="../tags/tag540.xml"/><Relationship Id="rId8" Type="http://schemas.openxmlformats.org/officeDocument/2006/relationships/slideLayout" Target="../slideLayouts/slideLayout2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71D1DE-3A45-4C0F-B97B-6DA911B84FED}"/>
              </a:ext>
            </a:extLst>
          </p:cNvPr>
          <p:cNvGraphicFramePr>
            <a:graphicFrameLocks noChangeAspect="1"/>
          </p:cNvGraphicFramePr>
          <p:nvPr userDrawn="1">
            <p:custDataLst>
              <p:tags r:id="rId27"/>
            </p:custDataLst>
            <p:extLst>
              <p:ext uri="{D42A27DB-BD31-4B8C-83A1-F6EECF244321}">
                <p14:modId xmlns:p14="http://schemas.microsoft.com/office/powerpoint/2010/main" val="38244509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66" name="think-cell Slide" r:id="rId32" imgW="395" imgH="396" progId="TCLayout.ActiveDocument.1">
                  <p:embed/>
                </p:oleObj>
              </mc:Choice>
              <mc:Fallback>
                <p:oleObj name="think-cell Slide" r:id="rId32" imgW="395" imgH="396" progId="TCLayout.ActiveDocument.1">
                  <p:embed/>
                  <p:pic>
                    <p:nvPicPr>
                      <p:cNvPr id="7" name="Object 6" hidden="1">
                        <a:extLst>
                          <a:ext uri="{FF2B5EF4-FFF2-40B4-BE49-F238E27FC236}">
                            <a16:creationId xmlns:a16="http://schemas.microsoft.com/office/drawing/2014/main" xmlns="" id="{3171D1DE-3A45-4C0F-B97B-6DA911B84FED}"/>
                          </a:ext>
                        </a:extLst>
                      </p:cNvPr>
                      <p:cNvPicPr/>
                      <p:nvPr/>
                    </p:nvPicPr>
                    <p:blipFill>
                      <a:blip r:embed="rId3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9A0C888-36F7-40E7-BCFE-C7DC14CEB8C6}"/>
              </a:ext>
            </a:extLst>
          </p:cNvPr>
          <p:cNvSpPr/>
          <p:nvPr userDrawn="1">
            <p:custDataLst>
              <p:tags r:id="rId28"/>
            </p:custDataLst>
          </p:nvPr>
        </p:nvSpPr>
        <p:spPr>
          <a:xfrm>
            <a:off x="0" y="0"/>
            <a:ext cx="211667"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lassification"/>
          <p:cNvSpPr txBox="1">
            <a:spLocks noChangeArrowheads="1"/>
          </p:cNvSpPr>
          <p:nvPr>
            <p:custDataLst>
              <p:tags r:id="rId29"/>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30"/>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31"/>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6482124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4004" r:id="rId22"/>
    <p:sldLayoutId id="2147484005" r:id="rId23"/>
    <p:sldLayoutId id="2147484212" r:id="rId24"/>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71D1DE-3A45-4C0F-B97B-6DA911B84FED}"/>
              </a:ext>
            </a:extLst>
          </p:cNvPr>
          <p:cNvGraphicFramePr>
            <a:graphicFrameLocks noChangeAspect="1"/>
          </p:cNvGraphicFramePr>
          <p:nvPr userDrawn="1">
            <p:custDataLst>
              <p:tags r:id="rId25"/>
            </p:custDataLst>
            <p:extLst>
              <p:ext uri="{D42A27DB-BD31-4B8C-83A1-F6EECF244321}">
                <p14:modId xmlns:p14="http://schemas.microsoft.com/office/powerpoint/2010/main" val="225209108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83" name="think-cell Slide" r:id="rId31" imgW="395" imgH="396" progId="TCLayout.ActiveDocument.1">
                  <p:embed/>
                </p:oleObj>
              </mc:Choice>
              <mc:Fallback>
                <p:oleObj name="think-cell Slide" r:id="rId31" imgW="395" imgH="396" progId="TCLayout.ActiveDocument.1">
                  <p:embed/>
                  <p:pic>
                    <p:nvPicPr>
                      <p:cNvPr id="7" name="Object 6" hidden="1">
                        <a:extLst>
                          <a:ext uri="{FF2B5EF4-FFF2-40B4-BE49-F238E27FC236}">
                            <a16:creationId xmlns:a16="http://schemas.microsoft.com/office/drawing/2014/main" xmlns="" id="{3171D1DE-3A45-4C0F-B97B-6DA911B84FED}"/>
                          </a:ext>
                        </a:extLst>
                      </p:cNvPr>
                      <p:cNvPicPr/>
                      <p:nvPr/>
                    </p:nvPicPr>
                    <p:blipFill>
                      <a:blip r:embed="rId3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9A0C888-36F7-40E7-BCFE-C7DC14CEB8C6}"/>
              </a:ext>
            </a:extLst>
          </p:cNvPr>
          <p:cNvSpPr/>
          <p:nvPr userDrawn="1">
            <p:custDataLst>
              <p:tags r:id="rId26"/>
            </p:custDataLst>
          </p:nvPr>
        </p:nvSpPr>
        <p:spPr>
          <a:xfrm>
            <a:off x="0" y="0"/>
            <a:ext cx="211667"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lassification"/>
          <p:cNvSpPr txBox="1">
            <a:spLocks noChangeArrowheads="1"/>
          </p:cNvSpPr>
          <p:nvPr>
            <p:custDataLst>
              <p:tags r:id="rId27"/>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28"/>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29"/>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p:cNvPicPr>
            <a:picLocks noChangeAspect="1"/>
          </p:cNvPicPr>
          <p:nvPr userDrawn="1">
            <p:custDataLst>
              <p:tags r:id="rId30"/>
            </p:custDataLst>
          </p:nvPr>
        </p:nvPicPr>
        <p:blipFill>
          <a:blip r:embed="rId33"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156460796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 id="2147484227" r:id="rId18"/>
    <p:sldLayoutId id="2147484228" r:id="rId19"/>
    <p:sldLayoutId id="2147484230" r:id="rId20"/>
    <p:sldLayoutId id="2147484231" r:id="rId21"/>
    <p:sldLayoutId id="2147484247" r:id="rId2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7A3C0454-3054-4A41-9ABD-455F47D32222}"/>
              </a:ext>
            </a:extLst>
          </p:cNvPr>
          <p:cNvGraphicFramePr>
            <a:graphicFrameLocks noChangeAspect="1"/>
          </p:cNvGraphicFramePr>
          <p:nvPr userDrawn="1">
            <p:custDataLst>
              <p:tags r:id="rId21"/>
            </p:custDataLst>
            <p:extLst>
              <p:ext uri="{D42A27DB-BD31-4B8C-83A1-F6EECF244321}">
                <p14:modId xmlns:p14="http://schemas.microsoft.com/office/powerpoint/2010/main" val="1199211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6" name="think-cell Slide" r:id="rId23" imgW="473" imgH="476" progId="TCLayout.ActiveDocument.1">
                  <p:embed/>
                </p:oleObj>
              </mc:Choice>
              <mc:Fallback>
                <p:oleObj name="think-cell Slide" r:id="rId23" imgW="473" imgH="476" progId="TCLayout.ActiveDocument.1">
                  <p:embed/>
                  <p:pic>
                    <p:nvPicPr>
                      <p:cNvPr id="8" name="Object 7" hidden="1">
                        <a:extLst>
                          <a:ext uri="{FF2B5EF4-FFF2-40B4-BE49-F238E27FC236}">
                            <a16:creationId xmlns:a16="http://schemas.microsoft.com/office/drawing/2014/main" xmlns="" id="{7A3C0454-3054-4A41-9ABD-455F47D32222}"/>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xmlns="" id="{B13F5A1A-1C53-4D7E-BD02-F54DF288BC04}"/>
              </a:ext>
            </a:extLst>
          </p:cNvPr>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xmlns="" id="{464984D9-D979-4F7B-A10B-AEC46C6480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xmlns="" id="{39AE099C-7D5E-4C33-81F2-513333327DD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25241981-64D1-45E5-B7C8-031B4CE0B7A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BD1BA7-EEC1-4BF3-BE5E-67DFF8DD7978}" type="datetimeFigureOut">
              <a:rPr lang="en-GB" smtClean="0"/>
              <a:t>26/08/2021</a:t>
            </a:fld>
            <a:endParaRPr lang="en-GB"/>
          </a:p>
        </p:txBody>
      </p:sp>
      <p:sp>
        <p:nvSpPr>
          <p:cNvPr id="5" name="Footer Placeholder 4">
            <a:extLst>
              <a:ext uri="{FF2B5EF4-FFF2-40B4-BE49-F238E27FC236}">
                <a16:creationId xmlns:a16="http://schemas.microsoft.com/office/drawing/2014/main" xmlns="" id="{A9E8A1B9-6379-4F51-8700-7DAFB10FA67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xmlns="" id="{A14A7B87-A43D-4FC7-9D1A-F9D22AF14AE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EFB56D-5DF3-44AC-8402-030C267D2832}" type="slidenum">
              <a:rPr lang="en-GB" smtClean="0"/>
              <a:t>‹#›</a:t>
            </a:fld>
            <a:endParaRPr lang="en-GB"/>
          </a:p>
        </p:txBody>
      </p:sp>
    </p:spTree>
    <p:extLst>
      <p:ext uri="{BB962C8B-B14F-4D97-AF65-F5344CB8AC3E}">
        <p14:creationId xmlns:p14="http://schemas.microsoft.com/office/powerpoint/2010/main" val="123639787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221" r:id="rId13"/>
    <p:sldLayoutId id="2147484222" r:id="rId14"/>
    <p:sldLayoutId id="2147484223" r:id="rId15"/>
    <p:sldLayoutId id="2147484224" r:id="rId16"/>
    <p:sldLayoutId id="2147484225" r:id="rId17"/>
    <p:sldLayoutId id="214748422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5"/>
            </p:custDataLst>
            <p:extLst>
              <p:ext uri="{D42A27DB-BD31-4B8C-83A1-F6EECF244321}">
                <p14:modId xmlns:p14="http://schemas.microsoft.com/office/powerpoint/2010/main" val="364931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8" name="think-cell Slide" r:id="rId49" imgW="473" imgH="473" progId="TCLayout.ActiveDocument.1">
                  <p:embed/>
                </p:oleObj>
              </mc:Choice>
              <mc:Fallback>
                <p:oleObj name="think-cell Slide" r:id="rId49"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7"/>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48"/>
            </p:custDataLst>
          </p:nvPr>
        </p:nvPicPr>
        <p:blipFill>
          <a:blip r:embed="rId51"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4091750081"/>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3" r:id="rId19"/>
    <p:sldLayoutId id="2147484054" r:id="rId20"/>
    <p:sldLayoutId id="2147484055" r:id="rId21"/>
    <p:sldLayoutId id="2147484056" r:id="rId22"/>
    <p:sldLayoutId id="2147484057" r:id="rId23"/>
    <p:sldLayoutId id="2147484058" r:id="rId24"/>
    <p:sldLayoutId id="2147484059" r:id="rId25"/>
    <p:sldLayoutId id="2147484060" r:id="rId26"/>
    <p:sldLayoutId id="2147484061" r:id="rId27"/>
    <p:sldLayoutId id="2147484062" r:id="rId28"/>
    <p:sldLayoutId id="2147484063" r:id="rId29"/>
    <p:sldLayoutId id="2147484064" r:id="rId30"/>
    <p:sldLayoutId id="2147484065" r:id="rId31"/>
    <p:sldLayoutId id="2147484066" r:id="rId32"/>
    <p:sldLayoutId id="2147484067" r:id="rId33"/>
    <p:sldLayoutId id="2147484068" r:id="rId34"/>
    <p:sldLayoutId id="2147484069" r:id="rId35"/>
    <p:sldLayoutId id="2147484070" r:id="rId36"/>
    <p:sldLayoutId id="2147484071" r:id="rId37"/>
    <p:sldLayoutId id="2147484072" r:id="rId38"/>
    <p:sldLayoutId id="2147484073" r:id="rId39"/>
    <p:sldLayoutId id="2147484074" r:id="rId40"/>
    <p:sldLayoutId id="2147484075" r:id="rId41"/>
    <p:sldLayoutId id="2147484077" r:id="rId4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6"/>
            </p:custDataLst>
            <p:extLst>
              <p:ext uri="{D42A27DB-BD31-4B8C-83A1-F6EECF244321}">
                <p14:modId xmlns:p14="http://schemas.microsoft.com/office/powerpoint/2010/main" val="437484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02" name="think-cell Slide" r:id="rId51" imgW="473" imgH="473" progId="TCLayout.ActiveDocument.1">
                  <p:embed/>
                </p:oleObj>
              </mc:Choice>
              <mc:Fallback>
                <p:oleObj name="think-cell Slide" r:id="rId51"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7"/>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48"/>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en-GB" sz="1000" b="0" kern="1200">
                <a:solidFill>
                  <a:srgbClr val="283E36"/>
                </a:solidFill>
                <a:latin typeface="SwissReSans" pitchFamily="34" charset="0"/>
                <a:ea typeface="+mn-ea"/>
                <a:cs typeface="+mn-cs"/>
              </a:rPr>
              <a:t>IFRS 17 accounting policies</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9"/>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50"/>
            </p:custDataLst>
          </p:nvPr>
        </p:nvPicPr>
        <p:blipFill>
          <a:blip r:embed="rId53"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2593833242"/>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 id="2147484086" r:id="rId8"/>
    <p:sldLayoutId id="2147484087" r:id="rId9"/>
    <p:sldLayoutId id="2147484088" r:id="rId10"/>
    <p:sldLayoutId id="2147484089" r:id="rId11"/>
    <p:sldLayoutId id="2147484090" r:id="rId12"/>
    <p:sldLayoutId id="2147484091" r:id="rId13"/>
    <p:sldLayoutId id="2147484092" r:id="rId14"/>
    <p:sldLayoutId id="2147484093" r:id="rId15"/>
    <p:sldLayoutId id="2147484094" r:id="rId16"/>
    <p:sldLayoutId id="2147484095" r:id="rId17"/>
    <p:sldLayoutId id="2147484096" r:id="rId18"/>
    <p:sldLayoutId id="2147484097" r:id="rId19"/>
    <p:sldLayoutId id="2147484098" r:id="rId20"/>
    <p:sldLayoutId id="2147484099" r:id="rId21"/>
    <p:sldLayoutId id="2147484100" r:id="rId22"/>
    <p:sldLayoutId id="2147484101" r:id="rId23"/>
    <p:sldLayoutId id="2147484102" r:id="rId24"/>
    <p:sldLayoutId id="2147484103" r:id="rId25"/>
    <p:sldLayoutId id="2147484104" r:id="rId26"/>
    <p:sldLayoutId id="2147484105" r:id="rId27"/>
    <p:sldLayoutId id="2147484106" r:id="rId28"/>
    <p:sldLayoutId id="2147484107" r:id="rId29"/>
    <p:sldLayoutId id="2147484108" r:id="rId30"/>
    <p:sldLayoutId id="2147484109" r:id="rId31"/>
    <p:sldLayoutId id="2147484110" r:id="rId32"/>
    <p:sldLayoutId id="2147484111" r:id="rId33"/>
    <p:sldLayoutId id="2147484112" r:id="rId34"/>
    <p:sldLayoutId id="2147484113" r:id="rId35"/>
    <p:sldLayoutId id="2147484114" r:id="rId36"/>
    <p:sldLayoutId id="2147484115" r:id="rId37"/>
    <p:sldLayoutId id="2147484116" r:id="rId38"/>
    <p:sldLayoutId id="2147484117" r:id="rId39"/>
    <p:sldLayoutId id="2147484118" r:id="rId40"/>
    <p:sldLayoutId id="2147484119" r:id="rId41"/>
    <p:sldLayoutId id="2147484120" r:id="rId42"/>
    <p:sldLayoutId id="2147484121" r:id="rId43"/>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8"/>
            </p:custDataLst>
            <p:extLst>
              <p:ext uri="{D42A27DB-BD31-4B8C-83A1-F6EECF244321}">
                <p14:modId xmlns:p14="http://schemas.microsoft.com/office/powerpoint/2010/main" val="117269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6" name="think-cell Slide" r:id="rId52" imgW="473" imgH="473" progId="TCLayout.ActiveDocument.1">
                  <p:embed/>
                </p:oleObj>
              </mc:Choice>
              <mc:Fallback>
                <p:oleObj name="think-cell Slide" r:id="rId52"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9"/>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50"/>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51"/>
            </p:custDataLst>
          </p:nvPr>
        </p:nvPicPr>
        <p:blipFill>
          <a:blip r:embed="rId5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247047783"/>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144" r:id="rId22"/>
    <p:sldLayoutId id="2147484145" r:id="rId23"/>
    <p:sldLayoutId id="2147484146" r:id="rId24"/>
    <p:sldLayoutId id="2147484147" r:id="rId25"/>
    <p:sldLayoutId id="2147484148" r:id="rId26"/>
    <p:sldLayoutId id="2147484149" r:id="rId27"/>
    <p:sldLayoutId id="2147484150" r:id="rId28"/>
    <p:sldLayoutId id="2147484151" r:id="rId29"/>
    <p:sldLayoutId id="2147484152" r:id="rId30"/>
    <p:sldLayoutId id="2147484153" r:id="rId31"/>
    <p:sldLayoutId id="2147484154" r:id="rId32"/>
    <p:sldLayoutId id="2147484155" r:id="rId33"/>
    <p:sldLayoutId id="2147484156" r:id="rId34"/>
    <p:sldLayoutId id="2147484157" r:id="rId35"/>
    <p:sldLayoutId id="2147484158" r:id="rId36"/>
    <p:sldLayoutId id="2147484159" r:id="rId37"/>
    <p:sldLayoutId id="2147484160" r:id="rId38"/>
    <p:sldLayoutId id="2147484161" r:id="rId39"/>
    <p:sldLayoutId id="2147484162" r:id="rId40"/>
    <p:sldLayoutId id="2147484163" r:id="rId41"/>
    <p:sldLayoutId id="2147484164" r:id="rId42"/>
    <p:sldLayoutId id="2147484165" r:id="rId43"/>
    <p:sldLayoutId id="2147484166" r:id="rId44"/>
    <p:sldLayoutId id="2147484167" r:id="rId45"/>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AC39F57-32E6-418F-91A0-E949A74252CF}"/>
              </a:ext>
            </a:extLst>
          </p:cNvPr>
          <p:cNvGraphicFramePr>
            <a:graphicFrameLocks noChangeAspect="1"/>
          </p:cNvGraphicFramePr>
          <p:nvPr userDrawn="1">
            <p:custDataLst>
              <p:tags r:id="rId45"/>
            </p:custDataLst>
            <p:extLst>
              <p:ext uri="{D42A27DB-BD31-4B8C-83A1-F6EECF244321}">
                <p14:modId xmlns:p14="http://schemas.microsoft.com/office/powerpoint/2010/main" val="214697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50" name="think-cell Slide" r:id="rId50" imgW="395" imgH="396" progId="TCLayout.ActiveDocument.1">
                  <p:embed/>
                </p:oleObj>
              </mc:Choice>
              <mc:Fallback>
                <p:oleObj name="think-cell Slide" r:id="rId50" imgW="395" imgH="396" progId="TCLayout.ActiveDocument.1">
                  <p:embed/>
                  <p:pic>
                    <p:nvPicPr>
                      <p:cNvPr id="4" name="Object 3" hidden="1">
                        <a:extLst>
                          <a:ext uri="{FF2B5EF4-FFF2-40B4-BE49-F238E27FC236}">
                            <a16:creationId xmlns:a16="http://schemas.microsoft.com/office/drawing/2014/main" xmlns="" id="{CAC39F57-32E6-418F-91A0-E949A74252CF}"/>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Classification"/>
          <p:cNvSpPr txBox="1">
            <a:spLocks noChangeArrowheads="1"/>
          </p:cNvSpPr>
          <p:nvPr>
            <p:custDataLst>
              <p:tags r:id="rId4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9" name="Footer"/>
          <p:cNvSpPr txBox="1">
            <a:spLocks/>
          </p:cNvSpPr>
          <p:nvPr>
            <p:custDataLst>
              <p:tags r:id="rId47"/>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8"/>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de-DE" smtClean="0"/>
              <a:pPr/>
              <a:t>‹#›</a:t>
            </a:fld>
            <a:endParaRPr lang="de-DE"/>
          </a:p>
        </p:txBody>
      </p:sp>
      <p:pic>
        <p:nvPicPr>
          <p:cNvPr id="6" name="Picture 5">
            <a:extLst>
              <a:ext uri="{FF2B5EF4-FFF2-40B4-BE49-F238E27FC236}">
                <a16:creationId xmlns:a16="http://schemas.microsoft.com/office/drawing/2014/main" xmlns="" id="{449A432F-FDB7-4027-BA13-D028528E9A48}"/>
              </a:ext>
            </a:extLst>
          </p:cNvPr>
          <p:cNvPicPr>
            <a:picLocks noChangeAspect="1"/>
          </p:cNvPicPr>
          <p:nvPr userDrawn="1">
            <p:custDataLst>
              <p:tags r:id="rId49"/>
            </p:custDataLst>
          </p:nvPr>
        </p:nvPicPr>
        <p:blipFill>
          <a:blip r:embed="rId52"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410803531"/>
      </p:ext>
    </p:extLst>
  </p:cSld>
  <p:clrMap bg1="lt1" tx1="dk1" bg2="lt2" tx2="dk2" accent1="accent1" accent2="accent2" accent3="accent3" accent4="accent4" accent5="accent5" accent6="accent6" hlink="hlink" folHlink="folHlink"/>
  <p:sldLayoutIdLst>
    <p:sldLayoutId id="2147484170" r:id="rId1"/>
    <p:sldLayoutId id="2147484171" r:id="rId2"/>
    <p:sldLayoutId id="2147484172" r:id="rId3"/>
    <p:sldLayoutId id="2147484173" r:id="rId4"/>
    <p:sldLayoutId id="2147484174" r:id="rId5"/>
    <p:sldLayoutId id="2147484175" r:id="rId6"/>
    <p:sldLayoutId id="2147484176" r:id="rId7"/>
    <p:sldLayoutId id="2147484177" r:id="rId8"/>
    <p:sldLayoutId id="2147484178" r:id="rId9"/>
    <p:sldLayoutId id="2147484179" r:id="rId10"/>
    <p:sldLayoutId id="2147484180" r:id="rId11"/>
    <p:sldLayoutId id="2147484181" r:id="rId12"/>
    <p:sldLayoutId id="2147484182" r:id="rId13"/>
    <p:sldLayoutId id="2147484183" r:id="rId14"/>
    <p:sldLayoutId id="2147484184" r:id="rId15"/>
    <p:sldLayoutId id="2147484185" r:id="rId16"/>
    <p:sldLayoutId id="2147484186" r:id="rId17"/>
    <p:sldLayoutId id="2147484187" r:id="rId18"/>
    <p:sldLayoutId id="2147484188" r:id="rId19"/>
    <p:sldLayoutId id="2147484189" r:id="rId20"/>
    <p:sldLayoutId id="2147484190" r:id="rId21"/>
    <p:sldLayoutId id="2147484191" r:id="rId22"/>
    <p:sldLayoutId id="2147484192" r:id="rId23"/>
    <p:sldLayoutId id="2147484193" r:id="rId24"/>
    <p:sldLayoutId id="2147484194" r:id="rId25"/>
    <p:sldLayoutId id="2147484195" r:id="rId26"/>
    <p:sldLayoutId id="2147484196" r:id="rId27"/>
    <p:sldLayoutId id="2147484197" r:id="rId28"/>
    <p:sldLayoutId id="2147484198" r:id="rId29"/>
    <p:sldLayoutId id="2147484199" r:id="rId30"/>
    <p:sldLayoutId id="2147484200" r:id="rId31"/>
    <p:sldLayoutId id="2147484201" r:id="rId32"/>
    <p:sldLayoutId id="2147484202" r:id="rId33"/>
    <p:sldLayoutId id="2147484203" r:id="rId34"/>
    <p:sldLayoutId id="2147484204" r:id="rId35"/>
    <p:sldLayoutId id="2147484205" r:id="rId36"/>
    <p:sldLayoutId id="2147484206" r:id="rId37"/>
    <p:sldLayoutId id="2147484207" r:id="rId38"/>
    <p:sldLayoutId id="2147484208" r:id="rId39"/>
    <p:sldLayoutId id="2147484209" r:id="rId40"/>
    <p:sldLayoutId id="2147484210" r:id="rId41"/>
    <p:sldLayoutId id="2147484211" r:id="rId4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1027"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endParaRPr lang="en-GB"/>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B118C919-524D-4AE6-802D-F6FBC61D86FD}" type="slidenum">
              <a:rPr lang="en-GB"/>
              <a:pPr>
                <a:defRPr/>
              </a:pPr>
              <a:t>‹#›</a:t>
            </a:fld>
            <a:endParaRPr lang="en-GB"/>
          </a:p>
        </p:txBody>
      </p:sp>
    </p:spTree>
    <p:extLst>
      <p:ext uri="{BB962C8B-B14F-4D97-AF65-F5344CB8AC3E}">
        <p14:creationId xmlns:p14="http://schemas.microsoft.com/office/powerpoint/2010/main" val="185061033"/>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Lst>
  <p:transition/>
  <p:hf hd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395394" y="594740"/>
            <a:ext cx="11401212" cy="615553"/>
          </a:xfrm>
          <a:prstGeom prst="rect">
            <a:avLst/>
          </a:prstGeom>
        </p:spPr>
        <p:txBody>
          <a:bodyPr wrap="square" lIns="0" tIns="0" rIns="0" bIns="0">
            <a:spAutoFit/>
          </a:bodyPr>
          <a:lstStyle>
            <a:lvl1pPr>
              <a:defRPr sz="4000" b="0" i="0">
                <a:solidFill>
                  <a:schemeClr val="bg1"/>
                </a:solidFill>
                <a:latin typeface="Calibri"/>
                <a:cs typeface="Calibri"/>
              </a:defRPr>
            </a:lvl1pPr>
          </a:lstStyle>
          <a:p>
            <a:endParaRPr/>
          </a:p>
        </p:txBody>
      </p:sp>
      <p:sp>
        <p:nvSpPr>
          <p:cNvPr id="3" name="Holder 3"/>
          <p:cNvSpPr>
            <a:spLocks noGrp="1"/>
          </p:cNvSpPr>
          <p:nvPr>
            <p:ph type="body" idx="1"/>
          </p:nvPr>
        </p:nvSpPr>
        <p:spPr>
          <a:xfrm>
            <a:off x="406399" y="3352800"/>
            <a:ext cx="11379200"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9106745" y="6558676"/>
            <a:ext cx="2965872" cy="269304"/>
          </a:xfrm>
          <a:prstGeom prst="rect">
            <a:avLst/>
          </a:prstGeom>
        </p:spPr>
        <p:txBody>
          <a:bodyPr wrap="square" lIns="0" tIns="0" rIns="0" bIns="0">
            <a:spAutoFit/>
          </a:bodyPr>
          <a:lstStyle>
            <a:lvl1pPr>
              <a:defRPr sz="1850" b="0" i="0">
                <a:solidFill>
                  <a:schemeClr val="tx1"/>
                </a:solidFill>
                <a:latin typeface="Times New Roman"/>
                <a:cs typeface="Times New Roman"/>
              </a:defRPr>
            </a:lvl1pPr>
          </a:lstStyle>
          <a:p>
            <a:pPr marL="12700">
              <a:lnSpc>
                <a:spcPts val="2110"/>
              </a:lnSpc>
            </a:pPr>
            <a:r>
              <a:rPr lang="en-IN" spc="-20">
                <a:solidFill>
                  <a:prstClr val="black"/>
                </a:solidFill>
              </a:rPr>
              <a:t>www.actuariesindia.org</a:t>
            </a:r>
            <a:endParaRPr lang="en-IN" spc="-20" dirty="0">
              <a:solidFill>
                <a:prstClr val="black"/>
              </a:solidFill>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8/26/2021</a:t>
            </a:fld>
            <a:endParaRPr lang="en-US">
              <a:solidFill>
                <a:prstClr val="black">
                  <a:tint val="75000"/>
                </a:prstClr>
              </a:solidFill>
            </a:endParaRPr>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55226362"/>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a:p>
        </p:txBody>
      </p:sp>
      <p:sp>
        <p:nvSpPr>
          <p:cNvPr id="1027"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1028" name="Rectangle 4"/>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a:defRPr/>
            </a:pPr>
            <a:fld id="{6804E14C-0AE0-4F7E-B584-7ADB1CC0AFBC}" type="datetime1">
              <a:rPr lang="en-US" smtClean="0">
                <a:solidFill>
                  <a:srgbClr val="000000"/>
                </a:solidFill>
              </a:rPr>
              <a:pPr>
                <a:defRPr/>
              </a:pPr>
              <a:t>8/26/2021</a:t>
            </a:fld>
            <a:endParaRPr lang="en-GB">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mn-lt"/>
              </a:defRPr>
            </a:lvl1pPr>
          </a:lstStyle>
          <a:p>
            <a:pPr>
              <a:defRPr/>
            </a:pPr>
            <a:endParaRPr lang="en-GB">
              <a:solidFill>
                <a:srgbClr val="000000"/>
              </a:solidFill>
            </a:endParaRPr>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a:defRPr/>
            </a:pPr>
            <a:fld id="{B118C919-524D-4AE6-802D-F6FBC61D86FD}" type="slidenum">
              <a:rPr lang="en-GB">
                <a:solidFill>
                  <a:srgbClr val="000000"/>
                </a:solidFill>
              </a:rPr>
              <a:pPr>
                <a:defRPr/>
              </a:pPr>
              <a:t>‹#›</a:t>
            </a:fld>
            <a:endParaRPr lang="en-GB">
              <a:solidFill>
                <a:srgbClr val="000000"/>
              </a:solidFill>
            </a:endParaRPr>
          </a:p>
        </p:txBody>
      </p:sp>
    </p:spTree>
    <p:extLst>
      <p:ext uri="{BB962C8B-B14F-4D97-AF65-F5344CB8AC3E}">
        <p14:creationId xmlns:p14="http://schemas.microsoft.com/office/powerpoint/2010/main" val="2770173317"/>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Lst>
  <p:transition/>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71D1DE-3A45-4C0F-B97B-6DA911B84FED}"/>
              </a:ext>
            </a:extLst>
          </p:cNvPr>
          <p:cNvGraphicFramePr>
            <a:graphicFrameLocks noChangeAspect="1"/>
          </p:cNvGraphicFramePr>
          <p:nvPr userDrawn="1">
            <p:custDataLst>
              <p:tags r:id="rId25"/>
            </p:custDataLst>
            <p:extLst>
              <p:ext uri="{D42A27DB-BD31-4B8C-83A1-F6EECF244321}">
                <p14:modId xmlns:p14="http://schemas.microsoft.com/office/powerpoint/2010/main" val="228822432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90" name="think-cell Slide" r:id="rId30" imgW="395" imgH="396" progId="TCLayout.ActiveDocument.1">
                  <p:embed/>
                </p:oleObj>
              </mc:Choice>
              <mc:Fallback>
                <p:oleObj name="think-cell Slide" r:id="rId30" imgW="395" imgH="396" progId="TCLayout.ActiveDocument.1">
                  <p:embed/>
                  <p:pic>
                    <p:nvPicPr>
                      <p:cNvPr id="7" name="Object 6" hidden="1">
                        <a:extLst>
                          <a:ext uri="{FF2B5EF4-FFF2-40B4-BE49-F238E27FC236}">
                            <a16:creationId xmlns:a16="http://schemas.microsoft.com/office/drawing/2014/main" xmlns="" id="{3171D1DE-3A45-4C0F-B97B-6DA911B84FED}"/>
                          </a:ext>
                        </a:extLst>
                      </p:cNvPr>
                      <p:cNvPicPr/>
                      <p:nvPr/>
                    </p:nvPicPr>
                    <p:blipFill>
                      <a:blip r:embed="rId3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9A0C888-36F7-40E7-BCFE-C7DC14CEB8C6}"/>
              </a:ext>
            </a:extLst>
          </p:cNvPr>
          <p:cNvSpPr/>
          <p:nvPr userDrawn="1">
            <p:custDataLst>
              <p:tags r:id="rId26"/>
            </p:custDataLst>
          </p:nvPr>
        </p:nvSpPr>
        <p:spPr>
          <a:xfrm>
            <a:off x="0" y="0"/>
            <a:ext cx="211667"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lassification"/>
          <p:cNvSpPr txBox="1">
            <a:spLocks noChangeArrowheads="1"/>
          </p:cNvSpPr>
          <p:nvPr>
            <p:custDataLst>
              <p:tags r:id="rId27"/>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28"/>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29"/>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66253357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71D1DE-3A45-4C0F-B97B-6DA911B84FED}"/>
              </a:ext>
            </a:extLst>
          </p:cNvPr>
          <p:cNvGraphicFramePr>
            <a:graphicFrameLocks noChangeAspect="1"/>
          </p:cNvGraphicFramePr>
          <p:nvPr userDrawn="1">
            <p:custDataLst>
              <p:tags r:id="rId26"/>
            </p:custDataLst>
            <p:extLst>
              <p:ext uri="{D42A27DB-BD31-4B8C-83A1-F6EECF244321}">
                <p14:modId xmlns:p14="http://schemas.microsoft.com/office/powerpoint/2010/main" val="185219905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14" name="think-cell Slide" r:id="rId31" imgW="395" imgH="396" progId="TCLayout.ActiveDocument.1">
                  <p:embed/>
                </p:oleObj>
              </mc:Choice>
              <mc:Fallback>
                <p:oleObj name="think-cell Slide" r:id="rId31" imgW="395" imgH="396" progId="TCLayout.ActiveDocument.1">
                  <p:embed/>
                  <p:pic>
                    <p:nvPicPr>
                      <p:cNvPr id="7" name="Object 6" hidden="1">
                        <a:extLst>
                          <a:ext uri="{FF2B5EF4-FFF2-40B4-BE49-F238E27FC236}">
                            <a16:creationId xmlns:a16="http://schemas.microsoft.com/office/drawing/2014/main" xmlns="" id="{3171D1DE-3A45-4C0F-B97B-6DA911B84FED}"/>
                          </a:ext>
                        </a:extLst>
                      </p:cNvPr>
                      <p:cNvPicPr/>
                      <p:nvPr/>
                    </p:nvPicPr>
                    <p:blipFill>
                      <a:blip r:embed="rId3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9A0C888-36F7-40E7-BCFE-C7DC14CEB8C6}"/>
              </a:ext>
            </a:extLst>
          </p:cNvPr>
          <p:cNvSpPr/>
          <p:nvPr userDrawn="1">
            <p:custDataLst>
              <p:tags r:id="rId27"/>
            </p:custDataLst>
          </p:nvPr>
        </p:nvSpPr>
        <p:spPr>
          <a:xfrm>
            <a:off x="0" y="0"/>
            <a:ext cx="211667"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lassification"/>
          <p:cNvSpPr txBox="1">
            <a:spLocks noChangeArrowheads="1"/>
          </p:cNvSpPr>
          <p:nvPr>
            <p:custDataLst>
              <p:tags r:id="rId28"/>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29"/>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30"/>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265523501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4007" r:id="rId23"/>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03F6BB9-0C74-4C4B-9BA5-CBA0DBD4D3B4}"/>
              </a:ext>
            </a:extLst>
          </p:cNvPr>
          <p:cNvGraphicFramePr>
            <a:graphicFrameLocks noChangeAspect="1"/>
          </p:cNvGraphicFramePr>
          <p:nvPr userDrawn="1">
            <p:custDataLst>
              <p:tags r:id="rId45"/>
            </p:custDataLst>
            <p:extLst>
              <p:ext uri="{D42A27DB-BD31-4B8C-83A1-F6EECF244321}">
                <p14:modId xmlns:p14="http://schemas.microsoft.com/office/powerpoint/2010/main" val="253856598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38" name="think-cell Slide" r:id="rId50" imgW="473" imgH="476" progId="TCLayout.ActiveDocument.1">
                  <p:embed/>
                </p:oleObj>
              </mc:Choice>
              <mc:Fallback>
                <p:oleObj name="think-cell Slide" r:id="rId50" imgW="473" imgH="476" progId="TCLayout.ActiveDocument.1">
                  <p:embed/>
                  <p:pic>
                    <p:nvPicPr>
                      <p:cNvPr id="4" name="Object 3" hidden="1">
                        <a:extLst>
                          <a:ext uri="{FF2B5EF4-FFF2-40B4-BE49-F238E27FC236}">
                            <a16:creationId xmlns:a16="http://schemas.microsoft.com/office/drawing/2014/main" xmlns="" id="{503F6BB9-0C74-4C4B-9BA5-CBA0DBD4D3B4}"/>
                          </a:ext>
                        </a:extLst>
                      </p:cNvPr>
                      <p:cNvPicPr/>
                      <p:nvPr/>
                    </p:nvPicPr>
                    <p:blipFill>
                      <a:blip r:embed="rId51"/>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Classification"/>
          <p:cNvSpPr txBox="1">
            <a:spLocks noChangeArrowheads="1"/>
          </p:cNvSpPr>
          <p:nvPr>
            <p:custDataLst>
              <p:tags r:id="rId46"/>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900">
              <a:solidFill>
                <a:srgbClr val="283E36"/>
              </a:solidFill>
              <a:latin typeface="SwissReSans" pitchFamily="34" charset="0"/>
            </a:endParaRPr>
          </a:p>
        </p:txBody>
      </p:sp>
      <p:sp>
        <p:nvSpPr>
          <p:cNvPr id="9" name="Footer"/>
          <p:cNvSpPr txBox="1">
            <a:spLocks/>
          </p:cNvSpPr>
          <p:nvPr>
            <p:custDataLst>
              <p:tags r:id="rId47"/>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de-CH"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8"/>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de-DE" smtClean="0"/>
              <a:pPr/>
              <a:t>‹#›</a:t>
            </a:fld>
            <a:endParaRPr lang="de-DE"/>
          </a:p>
        </p:txBody>
      </p:sp>
      <p:pic>
        <p:nvPicPr>
          <p:cNvPr id="6" name="Picture 5">
            <a:extLst>
              <a:ext uri="{FF2B5EF4-FFF2-40B4-BE49-F238E27FC236}">
                <a16:creationId xmlns:a16="http://schemas.microsoft.com/office/drawing/2014/main" xmlns="" id="{69D8F48E-B2D5-4033-B2E9-FEC77A0A368D}"/>
              </a:ext>
            </a:extLst>
          </p:cNvPr>
          <p:cNvPicPr>
            <a:picLocks noChangeAspect="1"/>
          </p:cNvPicPr>
          <p:nvPr userDrawn="1">
            <p:custDataLst>
              <p:tags r:id="rId49"/>
            </p:custDataLst>
          </p:nvPr>
        </p:nvPicPr>
        <p:blipFill>
          <a:blip r:embed="rId52" cstate="print">
            <a:extLst>
              <a:ext uri="{28A0092B-C50C-407E-A947-70E740481C1C}">
                <a14:useLocalDpi xmlns:a14="http://schemas.microsoft.com/office/drawing/2010/main" val="0"/>
              </a:ext>
            </a:extLst>
          </a:blip>
          <a:stretch>
            <a:fillRect/>
          </a:stretch>
        </p:blipFill>
        <p:spPr bwMode="gray">
          <a:xfrm>
            <a:off x="535670" y="6456610"/>
            <a:ext cx="1232575" cy="217513"/>
          </a:xfrm>
          <a:prstGeom prst="rect">
            <a:avLst/>
          </a:prstGeom>
        </p:spPr>
      </p:pic>
    </p:spTree>
    <p:extLst>
      <p:ext uri="{BB962C8B-B14F-4D97-AF65-F5344CB8AC3E}">
        <p14:creationId xmlns:p14="http://schemas.microsoft.com/office/powerpoint/2010/main" val="7872988"/>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 id="2147483760" r:id="rId31"/>
    <p:sldLayoutId id="2147483761" r:id="rId32"/>
    <p:sldLayoutId id="2147483762" r:id="rId33"/>
    <p:sldLayoutId id="2147483763" r:id="rId34"/>
    <p:sldLayoutId id="2147483764" r:id="rId35"/>
    <p:sldLayoutId id="2147483765" r:id="rId36"/>
    <p:sldLayoutId id="2147483766" r:id="rId37"/>
    <p:sldLayoutId id="2147483767" r:id="rId38"/>
    <p:sldLayoutId id="2147483768" r:id="rId39"/>
    <p:sldLayoutId id="2147483769" r:id="rId40"/>
    <p:sldLayoutId id="2147483770" r:id="rId41"/>
    <p:sldLayoutId id="2147483771" r:id="rId4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171D1DE-3A45-4C0F-B97B-6DA911B84FED}"/>
              </a:ext>
            </a:extLst>
          </p:cNvPr>
          <p:cNvGraphicFramePr>
            <a:graphicFrameLocks noChangeAspect="1"/>
          </p:cNvGraphicFramePr>
          <p:nvPr userDrawn="1">
            <p:custDataLst>
              <p:tags r:id="rId25"/>
            </p:custDataLst>
            <p:extLst>
              <p:ext uri="{D42A27DB-BD31-4B8C-83A1-F6EECF244321}">
                <p14:modId xmlns:p14="http://schemas.microsoft.com/office/powerpoint/2010/main" val="374486449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62" name="think-cell Slide" r:id="rId30" imgW="395" imgH="396" progId="TCLayout.ActiveDocument.1">
                  <p:embed/>
                </p:oleObj>
              </mc:Choice>
              <mc:Fallback>
                <p:oleObj name="think-cell Slide" r:id="rId30" imgW="395" imgH="396" progId="TCLayout.ActiveDocument.1">
                  <p:embed/>
                  <p:pic>
                    <p:nvPicPr>
                      <p:cNvPr id="7" name="Object 6" hidden="1">
                        <a:extLst>
                          <a:ext uri="{FF2B5EF4-FFF2-40B4-BE49-F238E27FC236}">
                            <a16:creationId xmlns:a16="http://schemas.microsoft.com/office/drawing/2014/main" xmlns="" id="{3171D1DE-3A45-4C0F-B97B-6DA911B84FED}"/>
                          </a:ext>
                        </a:extLst>
                      </p:cNvPr>
                      <p:cNvPicPr/>
                      <p:nvPr/>
                    </p:nvPicPr>
                    <p:blipFill>
                      <a:blip r:embed="rId3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9A0C888-36F7-40E7-BCFE-C7DC14CEB8C6}"/>
              </a:ext>
            </a:extLst>
          </p:cNvPr>
          <p:cNvSpPr/>
          <p:nvPr userDrawn="1">
            <p:custDataLst>
              <p:tags r:id="rId26"/>
            </p:custDataLst>
          </p:nvPr>
        </p:nvSpPr>
        <p:spPr>
          <a:xfrm>
            <a:off x="0" y="0"/>
            <a:ext cx="211667"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400" b="0" i="0" baseline="0">
              <a:latin typeface="SwissReSans" pitchFamily="34" charset="0"/>
              <a:ea typeface="+mj-ea"/>
              <a:cs typeface="+mj-cs"/>
              <a:sym typeface="SwissReSans" panose="020B0604020202020204" pitchFamily="34" charset="0"/>
            </a:endParaRPr>
          </a:p>
        </p:txBody>
      </p:sp>
      <p:sp>
        <p:nvSpPr>
          <p:cNvPr id="2" name="Title Placeholder 1"/>
          <p:cNvSpPr>
            <a:spLocks noGrp="1"/>
          </p:cNvSpPr>
          <p:nvPr>
            <p:ph type="title"/>
          </p:nvPr>
        </p:nvSpPr>
        <p:spPr bwMode="black">
          <a:xfrm>
            <a:off x="912285" y="692151"/>
            <a:ext cx="10655299" cy="692647"/>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bwMode="black">
          <a:xfrm>
            <a:off x="912285" y="1628776"/>
            <a:ext cx="10655300" cy="439251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Classification"/>
          <p:cNvSpPr txBox="1">
            <a:spLocks noChangeArrowheads="1"/>
          </p:cNvSpPr>
          <p:nvPr>
            <p:custDataLst>
              <p:tags r:id="rId27"/>
            </p:custDataLst>
          </p:nvPr>
        </p:nvSpPr>
        <p:spPr bwMode="black">
          <a:xfrm>
            <a:off x="3887986"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a:solidFill>
                <a:srgbClr val="283E36"/>
              </a:solidFill>
              <a:latin typeface="SwissReSans" pitchFamily="34" charset="0"/>
            </a:endParaRPr>
          </a:p>
        </p:txBody>
      </p:sp>
      <p:sp>
        <p:nvSpPr>
          <p:cNvPr id="9" name="Footer"/>
          <p:cNvSpPr txBox="1">
            <a:spLocks/>
          </p:cNvSpPr>
          <p:nvPr>
            <p:custDataLst>
              <p:tags r:id="rId28"/>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endParaRPr lang="en-GB" sz="100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648395"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007533"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29"/>
            </p:custDataLst>
          </p:nvPr>
        </p:nvSpPr>
        <p:spPr>
          <a:xfrm>
            <a:off x="11280576"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spTree>
    <p:extLst>
      <p:ext uri="{BB962C8B-B14F-4D97-AF65-F5344CB8AC3E}">
        <p14:creationId xmlns:p14="http://schemas.microsoft.com/office/powerpoint/2010/main" val="779513919"/>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1">
          <p15:clr>
            <a:srgbClr val="F26B43"/>
          </p15:clr>
        </p15:guide>
        <p15:guide id="2" orient="horz" pos="436">
          <p15:clr>
            <a:srgbClr val="F26B43"/>
          </p15:clr>
        </p15:guide>
        <p15:guide id="3" pos="5465">
          <p15:clr>
            <a:srgbClr val="F26B43"/>
          </p15:clr>
        </p15:guide>
        <p15:guide id="4" orient="horz" pos="1026">
          <p15:clr>
            <a:srgbClr val="F26B43"/>
          </p15:clr>
        </p15:guide>
        <p15:guide id="5" orient="horz" pos="379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5"/>
            </p:custDataLst>
            <p:extLst>
              <p:ext uri="{D42A27DB-BD31-4B8C-83A1-F6EECF244321}">
                <p14:modId xmlns:p14="http://schemas.microsoft.com/office/powerpoint/2010/main" val="24148418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6186" name="think-cell Slide" r:id="rId50" imgW="473" imgH="473" progId="TCLayout.ActiveDocument.1">
                  <p:embed/>
                </p:oleObj>
              </mc:Choice>
              <mc:Fallback>
                <p:oleObj name="think-cell Slide" r:id="rId50"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1"/>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2"/>
            <a:ext cx="11017251"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8"/>
            <a:ext cx="11017251"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6"/>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9" name="Footer"/>
          <p:cNvSpPr txBox="1">
            <a:spLocks/>
          </p:cNvSpPr>
          <p:nvPr>
            <p:custDataLst>
              <p:tags r:id="rId47"/>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45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45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8"/>
            </p:custDataLst>
          </p:nvPr>
        </p:nvSpPr>
        <p:spPr>
          <a:xfrm>
            <a:off x="11414763" y="6472512"/>
            <a:ext cx="287008" cy="182562"/>
          </a:xfrm>
          <a:prstGeom prst="rect">
            <a:avLst/>
          </a:prstGeom>
        </p:spPr>
        <p:txBody>
          <a:bodyPr vert="horz" wrap="none" lIns="0" tIns="0" rIns="0" bIns="0" rtlCol="0" anchor="b" anchorCtr="0"/>
          <a:lstStyle>
            <a:lvl1pPr algn="r">
              <a:defRPr sz="9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49"/>
            </p:custDataLst>
          </p:nvPr>
        </p:nvPicPr>
        <p:blipFill>
          <a:blip r:embed="rId52"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88084952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4" r:id="rId42"/>
  </p:sldLayoutIdLst>
  <p:hf hdr="0" ftr="0" dt="0"/>
  <p:txStyles>
    <p:titleStyle>
      <a:lvl1pPr algn="l" defTabSz="685800" rtl="0" eaLnBrk="1" latinLnBrk="0" hangingPunct="1">
        <a:lnSpc>
          <a:spcPct val="90000"/>
        </a:lnSpc>
        <a:spcBef>
          <a:spcPct val="0"/>
        </a:spcBef>
        <a:buNone/>
        <a:defRPr sz="1800" kern="1200">
          <a:solidFill>
            <a:schemeClr val="tx2"/>
          </a:solidFill>
          <a:latin typeface="SwissReSans" pitchFamily="34" charset="0"/>
          <a:ea typeface="+mj-ea"/>
          <a:cs typeface="+mj-cs"/>
        </a:defRPr>
      </a:lvl1pPr>
    </p:titleStyle>
    <p:bodyStyle>
      <a:lvl1pPr marL="136922" indent="-136922" algn="l" defTabSz="685800" rtl="0" eaLnBrk="1" latinLnBrk="0" hangingPunct="1">
        <a:lnSpc>
          <a:spcPct val="100000"/>
        </a:lnSpc>
        <a:spcBef>
          <a:spcPts val="900"/>
        </a:spcBef>
        <a:buClrTx/>
        <a:buSzPct val="100000"/>
        <a:buFont typeface="Arial" pitchFamily="34" charset="0"/>
        <a:buChar char="•"/>
        <a:defRPr sz="1350" kern="1200">
          <a:solidFill>
            <a:srgbClr val="283E36"/>
          </a:solidFill>
          <a:latin typeface="SwissReSans" pitchFamily="34" charset="0"/>
          <a:ea typeface="+mn-ea"/>
          <a:cs typeface="+mn-cs"/>
        </a:defRPr>
      </a:lvl1pPr>
      <a:lvl2pPr marL="333375" indent="-196454"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2pPr>
      <a:lvl3pPr marL="536972" indent="-203597"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3pPr>
      <a:lvl4pPr marL="739379"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4pPr>
      <a:lvl5pPr marL="941785"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6"/>
            </p:custDataLst>
            <p:extLst>
              <p:ext uri="{D42A27DB-BD31-4B8C-83A1-F6EECF244321}">
                <p14:modId xmlns:p14="http://schemas.microsoft.com/office/powerpoint/2010/main" val="135135261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7210" name="think-cell Slide" r:id="rId51" imgW="473" imgH="473" progId="TCLayout.ActiveDocument.1">
                  <p:embed/>
                </p:oleObj>
              </mc:Choice>
              <mc:Fallback>
                <p:oleObj name="think-cell Slide" r:id="rId51"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2"/>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2"/>
            <a:ext cx="11017251"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8"/>
            <a:ext cx="11017251"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7"/>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9" name="Footer"/>
          <p:cNvSpPr txBox="1">
            <a:spLocks/>
          </p:cNvSpPr>
          <p:nvPr>
            <p:custDataLst>
              <p:tags r:id="rId48"/>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r>
              <a:rPr lang="en-GB" sz="750" b="0" kern="1200">
                <a:solidFill>
                  <a:srgbClr val="283E36"/>
                </a:solidFill>
                <a:latin typeface="SwissReSans" pitchFamily="34" charset="0"/>
                <a:ea typeface="+mn-ea"/>
                <a:cs typeface="+mn-cs"/>
              </a:rPr>
              <a:t>IFRS 17 accounting policies</a:t>
            </a: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45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45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49"/>
            </p:custDataLst>
          </p:nvPr>
        </p:nvSpPr>
        <p:spPr>
          <a:xfrm>
            <a:off x="11414763" y="6472512"/>
            <a:ext cx="287008" cy="182562"/>
          </a:xfrm>
          <a:prstGeom prst="rect">
            <a:avLst/>
          </a:prstGeom>
        </p:spPr>
        <p:txBody>
          <a:bodyPr vert="horz" wrap="none" lIns="0" tIns="0" rIns="0" bIns="0" rtlCol="0" anchor="b" anchorCtr="0"/>
          <a:lstStyle>
            <a:lvl1pPr algn="r">
              <a:defRPr sz="9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50"/>
            </p:custDataLst>
          </p:nvPr>
        </p:nvPicPr>
        <p:blipFill>
          <a:blip r:embed="rId53"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697780723"/>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Lst>
  <p:hf hdr="0" ftr="0" dt="0"/>
  <p:txStyles>
    <p:titleStyle>
      <a:lvl1pPr algn="l" defTabSz="685800" rtl="0" eaLnBrk="1" latinLnBrk="0" hangingPunct="1">
        <a:lnSpc>
          <a:spcPct val="90000"/>
        </a:lnSpc>
        <a:spcBef>
          <a:spcPct val="0"/>
        </a:spcBef>
        <a:buNone/>
        <a:defRPr sz="1800" kern="1200">
          <a:solidFill>
            <a:schemeClr val="tx2"/>
          </a:solidFill>
          <a:latin typeface="SwissReSans" pitchFamily="34" charset="0"/>
          <a:ea typeface="+mj-ea"/>
          <a:cs typeface="+mj-cs"/>
        </a:defRPr>
      </a:lvl1pPr>
    </p:titleStyle>
    <p:bodyStyle>
      <a:lvl1pPr marL="136922" indent="-136922" algn="l" defTabSz="685800" rtl="0" eaLnBrk="1" latinLnBrk="0" hangingPunct="1">
        <a:lnSpc>
          <a:spcPct val="100000"/>
        </a:lnSpc>
        <a:spcBef>
          <a:spcPts val="900"/>
        </a:spcBef>
        <a:buClrTx/>
        <a:buSzPct val="100000"/>
        <a:buFont typeface="Arial" pitchFamily="34" charset="0"/>
        <a:buChar char="•"/>
        <a:defRPr sz="1350" kern="1200">
          <a:solidFill>
            <a:srgbClr val="283E36"/>
          </a:solidFill>
          <a:latin typeface="SwissReSans" pitchFamily="34" charset="0"/>
          <a:ea typeface="+mn-ea"/>
          <a:cs typeface="+mn-cs"/>
        </a:defRPr>
      </a:lvl1pPr>
      <a:lvl2pPr marL="333375" indent="-196454"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2pPr>
      <a:lvl3pPr marL="536972" indent="-203597"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3pPr>
      <a:lvl4pPr marL="739379"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4pPr>
      <a:lvl5pPr marL="941785"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C2315D9-F937-4025-8354-73E888B1F3C0}"/>
              </a:ext>
            </a:extLst>
          </p:cNvPr>
          <p:cNvGraphicFramePr>
            <a:graphicFrameLocks noChangeAspect="1"/>
          </p:cNvGraphicFramePr>
          <p:nvPr userDrawn="1">
            <p:custDataLst>
              <p:tags r:id="rId48"/>
            </p:custDataLst>
            <p:extLst>
              <p:ext uri="{D42A27DB-BD31-4B8C-83A1-F6EECF244321}">
                <p14:modId xmlns:p14="http://schemas.microsoft.com/office/powerpoint/2010/main" val="346565825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8234" name="think-cell Slide" r:id="rId52" imgW="473" imgH="473" progId="TCLayout.ActiveDocument.1">
                  <p:embed/>
                </p:oleObj>
              </mc:Choice>
              <mc:Fallback>
                <p:oleObj name="think-cell Slide" r:id="rId52" imgW="473" imgH="473" progId="TCLayout.ActiveDocument.1">
                  <p:embed/>
                  <p:pic>
                    <p:nvPicPr>
                      <p:cNvPr id="4" name="Object 3" hidden="1">
                        <a:extLst>
                          <a:ext uri="{FF2B5EF4-FFF2-40B4-BE49-F238E27FC236}">
                            <a16:creationId xmlns:a16="http://schemas.microsoft.com/office/drawing/2014/main" xmlns="" id="{2C2315D9-F937-4025-8354-73E888B1F3C0}"/>
                          </a:ext>
                        </a:extLst>
                      </p:cNvPr>
                      <p:cNvPicPr/>
                      <p:nvPr/>
                    </p:nvPicPr>
                    <p:blipFill>
                      <a:blip r:embed="rId53"/>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2"/>
            <a:ext cx="11017251"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8"/>
            <a:ext cx="11017251" cy="4392513"/>
          </a:xfrm>
          <a:prstGeom prst="rect">
            <a:avLst/>
          </a:prstGeom>
        </p:spPr>
        <p:txBody>
          <a:bodyPr vert="horz" lIns="0" tIns="0" rIns="0" bIns="0" rtlCol="0">
            <a:noAutofit/>
          </a:bodyPr>
          <a:lstStyle/>
          <a:p>
            <a:pPr lvl="0"/>
            <a:r>
              <a:rPr lang="en-GB"/>
              <a:t>Mastertextformat bearbeiten</a:t>
            </a:r>
          </a:p>
          <a:p>
            <a:pPr lvl="1"/>
            <a:r>
              <a:rPr lang="en-GB"/>
              <a:t>Zweite Ebene</a:t>
            </a:r>
          </a:p>
          <a:p>
            <a:pPr lvl="2"/>
            <a:r>
              <a:rPr lang="en-GB"/>
              <a:t>Dritte Ebene</a:t>
            </a:r>
          </a:p>
          <a:p>
            <a:pPr lvl="3"/>
            <a:r>
              <a:rPr lang="en-GB"/>
              <a:t>Vierte Ebene</a:t>
            </a:r>
          </a:p>
          <a:p>
            <a:pPr lvl="4"/>
            <a:r>
              <a:rPr lang="en-GB"/>
              <a:t>Fünfte Ebene</a:t>
            </a:r>
          </a:p>
        </p:txBody>
      </p:sp>
      <p:sp>
        <p:nvSpPr>
          <p:cNvPr id="10" name="Classification"/>
          <p:cNvSpPr txBox="1">
            <a:spLocks noChangeArrowheads="1"/>
          </p:cNvSpPr>
          <p:nvPr>
            <p:custDataLst>
              <p:tags r:id="rId49"/>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675">
              <a:solidFill>
                <a:srgbClr val="283E36"/>
              </a:solidFill>
              <a:latin typeface="SwissReSans" pitchFamily="34" charset="0"/>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45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45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50"/>
            </p:custDataLst>
          </p:nvPr>
        </p:nvSpPr>
        <p:spPr>
          <a:xfrm>
            <a:off x="11414763" y="6472512"/>
            <a:ext cx="287008" cy="182562"/>
          </a:xfrm>
          <a:prstGeom prst="rect">
            <a:avLst/>
          </a:prstGeom>
        </p:spPr>
        <p:txBody>
          <a:bodyPr vert="horz" wrap="none" lIns="0" tIns="0" rIns="0" bIns="0" rtlCol="0" anchor="b" anchorCtr="0"/>
          <a:lstStyle>
            <a:lvl1pPr algn="r">
              <a:defRPr sz="900">
                <a:solidFill>
                  <a:srgbClr val="283E36"/>
                </a:solidFill>
                <a:latin typeface="SwissReSans" panose="020B0604020202020204" pitchFamily="34" charset="0"/>
              </a:defRPr>
            </a:lvl1pPr>
          </a:lstStyle>
          <a:p>
            <a:fld id="{5E4D2043-7E31-4A53-BD33-72A88E682172}" type="slidenum">
              <a:rPr lang="en-GB" smtClean="0"/>
              <a:pPr/>
              <a:t>‹#›</a:t>
            </a:fld>
            <a:endParaRPr lang="en-GB"/>
          </a:p>
        </p:txBody>
      </p:sp>
      <p:pic>
        <p:nvPicPr>
          <p:cNvPr id="6" name="Picture 5">
            <a:extLst>
              <a:ext uri="{FF2B5EF4-FFF2-40B4-BE49-F238E27FC236}">
                <a16:creationId xmlns:a16="http://schemas.microsoft.com/office/drawing/2014/main" xmlns="" id="{397706E8-5616-468E-BD42-BF862A770C6D}"/>
              </a:ext>
            </a:extLst>
          </p:cNvPr>
          <p:cNvPicPr>
            <a:picLocks noChangeAspect="1"/>
          </p:cNvPicPr>
          <p:nvPr userDrawn="1">
            <p:custDataLst>
              <p:tags r:id="rId51"/>
            </p:custDataLst>
          </p:nvPr>
        </p:nvPicPr>
        <p:blipFill>
          <a:blip r:embed="rId54"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Tree>
    <p:extLst>
      <p:ext uri="{BB962C8B-B14F-4D97-AF65-F5344CB8AC3E}">
        <p14:creationId xmlns:p14="http://schemas.microsoft.com/office/powerpoint/2010/main" val="1611673066"/>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 id="2147483938" r:id="rId29"/>
    <p:sldLayoutId id="2147483939" r:id="rId30"/>
    <p:sldLayoutId id="2147483940" r:id="rId31"/>
    <p:sldLayoutId id="2147483941" r:id="rId32"/>
    <p:sldLayoutId id="2147483942" r:id="rId33"/>
    <p:sldLayoutId id="2147483943" r:id="rId34"/>
    <p:sldLayoutId id="2147483944" r:id="rId35"/>
    <p:sldLayoutId id="2147483945" r:id="rId36"/>
    <p:sldLayoutId id="2147483946" r:id="rId37"/>
    <p:sldLayoutId id="2147483947" r:id="rId38"/>
    <p:sldLayoutId id="2147483948" r:id="rId39"/>
    <p:sldLayoutId id="2147483949" r:id="rId40"/>
    <p:sldLayoutId id="2147483950" r:id="rId41"/>
    <p:sldLayoutId id="2147483951" r:id="rId42"/>
    <p:sldLayoutId id="2147483952" r:id="rId43"/>
    <p:sldLayoutId id="2147483953" r:id="rId44"/>
    <p:sldLayoutId id="2147483954" r:id="rId45"/>
  </p:sldLayoutIdLst>
  <p:hf hdr="0" ftr="0" dt="0"/>
  <p:txStyles>
    <p:titleStyle>
      <a:lvl1pPr algn="l" defTabSz="685800" rtl="0" eaLnBrk="1" latinLnBrk="0" hangingPunct="1">
        <a:lnSpc>
          <a:spcPct val="90000"/>
        </a:lnSpc>
        <a:spcBef>
          <a:spcPct val="0"/>
        </a:spcBef>
        <a:buNone/>
        <a:defRPr sz="1800" kern="1200">
          <a:solidFill>
            <a:schemeClr val="tx2"/>
          </a:solidFill>
          <a:latin typeface="SwissReSans" pitchFamily="34" charset="0"/>
          <a:ea typeface="+mj-ea"/>
          <a:cs typeface="+mj-cs"/>
        </a:defRPr>
      </a:lvl1pPr>
    </p:titleStyle>
    <p:bodyStyle>
      <a:lvl1pPr marL="136922" indent="-136922" algn="l" defTabSz="685800" rtl="0" eaLnBrk="1" latinLnBrk="0" hangingPunct="1">
        <a:lnSpc>
          <a:spcPct val="100000"/>
        </a:lnSpc>
        <a:spcBef>
          <a:spcPts val="900"/>
        </a:spcBef>
        <a:buClrTx/>
        <a:buSzPct val="100000"/>
        <a:buFont typeface="Arial" pitchFamily="34" charset="0"/>
        <a:buChar char="•"/>
        <a:defRPr sz="1350" kern="1200">
          <a:solidFill>
            <a:srgbClr val="283E36"/>
          </a:solidFill>
          <a:latin typeface="SwissReSans" pitchFamily="34" charset="0"/>
          <a:ea typeface="+mn-ea"/>
          <a:cs typeface="+mn-cs"/>
        </a:defRPr>
      </a:lvl1pPr>
      <a:lvl2pPr marL="333375" indent="-196454"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2pPr>
      <a:lvl3pPr marL="536972" indent="-203597"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3pPr>
      <a:lvl4pPr marL="739379"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4pPr>
      <a:lvl5pPr marL="941785"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726F7B8-B4BC-45C0-AD90-F37FA4712947}"/>
              </a:ext>
            </a:extLst>
          </p:cNvPr>
          <p:cNvGraphicFramePr>
            <a:graphicFrameLocks noChangeAspect="1"/>
          </p:cNvGraphicFramePr>
          <p:nvPr userDrawn="1">
            <p:custDataLst>
              <p:tags r:id="rId25"/>
            </p:custDataLst>
            <p:extLst>
              <p:ext uri="{D42A27DB-BD31-4B8C-83A1-F6EECF244321}">
                <p14:modId xmlns:p14="http://schemas.microsoft.com/office/powerpoint/2010/main" val="41436054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9258" name="think-cell Slide" r:id="rId31" imgW="473" imgH="473" progId="TCLayout.ActiveDocument.1">
                  <p:embed/>
                </p:oleObj>
              </mc:Choice>
              <mc:Fallback>
                <p:oleObj name="think-cell Slide" r:id="rId31" imgW="473" imgH="473" progId="TCLayout.ActiveDocument.1">
                  <p:embed/>
                  <p:pic>
                    <p:nvPicPr>
                      <p:cNvPr id="4" name="Object 3" hidden="1">
                        <a:extLst>
                          <a:ext uri="{FF2B5EF4-FFF2-40B4-BE49-F238E27FC236}">
                            <a16:creationId xmlns:a16="http://schemas.microsoft.com/office/drawing/2014/main" xmlns="" id="{A726F7B8-B4BC-45C0-AD90-F37FA4712947}"/>
                          </a:ext>
                        </a:extLst>
                      </p:cNvPr>
                      <p:cNvPicPr/>
                      <p:nvPr/>
                    </p:nvPicPr>
                    <p:blipFill>
                      <a:blip r:embed="rId32"/>
                      <a:stretch>
                        <a:fillRect/>
                      </a:stretch>
                    </p:blipFill>
                    <p:spPr>
                      <a:xfrm>
                        <a:off x="1589"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black">
          <a:xfrm>
            <a:off x="695325" y="692152"/>
            <a:ext cx="11017251" cy="692647"/>
          </a:xfrm>
          <a:prstGeom prst="rect">
            <a:avLst/>
          </a:prstGeom>
        </p:spPr>
        <p:txBody>
          <a:bodyPr vert="horz" lIns="0" tIns="0" rIns="0" bIns="0" rtlCol="0" anchor="t" anchorCtr="0">
            <a:noAutofit/>
          </a:bodyPr>
          <a:lstStyle/>
          <a:p>
            <a:endParaRPr lang="en-GB"/>
          </a:p>
        </p:txBody>
      </p:sp>
      <p:sp>
        <p:nvSpPr>
          <p:cNvPr id="3" name="Text Placeholder 2"/>
          <p:cNvSpPr>
            <a:spLocks noGrp="1"/>
          </p:cNvSpPr>
          <p:nvPr>
            <p:ph type="body" idx="1"/>
          </p:nvPr>
        </p:nvSpPr>
        <p:spPr bwMode="black">
          <a:xfrm>
            <a:off x="695325" y="1628778"/>
            <a:ext cx="11017251" cy="4392513"/>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Classification"/>
          <p:cNvSpPr txBox="1">
            <a:spLocks noChangeArrowheads="1"/>
          </p:cNvSpPr>
          <p:nvPr>
            <p:custDataLst>
              <p:tags r:id="rId26"/>
            </p:custDataLst>
          </p:nvPr>
        </p:nvSpPr>
        <p:spPr bwMode="black">
          <a:xfrm>
            <a:off x="4022174"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de-CH" sz="675">
              <a:solidFill>
                <a:srgbClr val="283E36"/>
              </a:solidFill>
              <a:latin typeface="SwissReSans" pitchFamily="34" charset="0"/>
            </a:endParaRPr>
          </a:p>
        </p:txBody>
      </p:sp>
      <p:sp>
        <p:nvSpPr>
          <p:cNvPr id="9" name="Footer"/>
          <p:cNvSpPr txBox="1">
            <a:spLocks/>
          </p:cNvSpPr>
          <p:nvPr>
            <p:custDataLst>
              <p:tags r:id="rId27"/>
            </p:custDataLst>
          </p:nvPr>
        </p:nvSpPr>
        <p:spPr bwMode="black">
          <a:xfrm>
            <a:off x="3254848" y="6505850"/>
            <a:ext cx="7871883" cy="139700"/>
          </a:xfrm>
          <a:prstGeom prst="rect">
            <a:avLst/>
          </a:prstGeom>
        </p:spPr>
        <p:txBody>
          <a:bodyPr vert="horz" wrap="none" lIns="0" tIns="0" rIns="0" bIns="0" rtlCol="0" anchor="b" anchorCtr="0"/>
          <a:lstStyle/>
          <a:p>
            <a:pPr marL="0" algn="r" defTabSz="685800" rtl="0" eaLnBrk="1" latinLnBrk="0" hangingPunct="1"/>
            <a:endParaRPr lang="de-CH" sz="750" kern="120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450">
                <a:solidFill>
                  <a:srgbClr val="A8BAB2"/>
                </a:solidFill>
                <a:latin typeface="SwissReSans" pitchFamily="34" charset="0"/>
              </a:defRPr>
            </a:lvl1pPr>
          </a:lstStyle>
          <a:p>
            <a:endParaRPr lang="en-GB"/>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450">
                <a:solidFill>
                  <a:srgbClr val="A8BAB2"/>
                </a:solidFill>
                <a:latin typeface="SwissReSans" pitchFamily="34" charset="0"/>
              </a:defRPr>
            </a:lvl1pPr>
          </a:lstStyle>
          <a:p>
            <a:endParaRPr lang="en-GB"/>
          </a:p>
        </p:txBody>
      </p:sp>
      <p:sp>
        <p:nvSpPr>
          <p:cNvPr id="5" name="Slide Number Placeholder 4"/>
          <p:cNvSpPr>
            <a:spLocks noGrp="1"/>
          </p:cNvSpPr>
          <p:nvPr>
            <p:ph type="sldNum" sz="quarter" idx="4"/>
            <p:custDataLst>
              <p:tags r:id="rId28"/>
            </p:custDataLst>
          </p:nvPr>
        </p:nvSpPr>
        <p:spPr>
          <a:xfrm>
            <a:off x="11414763" y="6472512"/>
            <a:ext cx="287008" cy="182562"/>
          </a:xfrm>
          <a:prstGeom prst="rect">
            <a:avLst/>
          </a:prstGeom>
        </p:spPr>
        <p:txBody>
          <a:bodyPr vert="horz" wrap="none" lIns="0" tIns="0" rIns="0" bIns="0" rtlCol="0" anchor="b" anchorCtr="0"/>
          <a:lstStyle>
            <a:lvl1pPr algn="r">
              <a:defRPr sz="900">
                <a:solidFill>
                  <a:srgbClr val="283E36"/>
                </a:solidFill>
                <a:latin typeface="SwissReSans" panose="020B0604020202020204" pitchFamily="34" charset="0"/>
              </a:defRPr>
            </a:lvl1pPr>
          </a:lstStyle>
          <a:p>
            <a:fld id="{5E4D2043-7E31-4A53-BD33-72A88E682172}" type="slidenum">
              <a:rPr lang="de-DE" smtClean="0"/>
              <a:pPr/>
              <a:t>‹#›</a:t>
            </a:fld>
            <a:endParaRPr lang="de-DE"/>
          </a:p>
        </p:txBody>
      </p:sp>
      <p:pic>
        <p:nvPicPr>
          <p:cNvPr id="6" name="Picture 5">
            <a:extLst>
              <a:ext uri="{FF2B5EF4-FFF2-40B4-BE49-F238E27FC236}">
                <a16:creationId xmlns:a16="http://schemas.microsoft.com/office/drawing/2014/main" xmlns="" id="{9ECF5876-D6F2-4C3D-A9A2-62077D85192C}"/>
              </a:ext>
            </a:extLst>
          </p:cNvPr>
          <p:cNvPicPr>
            <a:picLocks noChangeAspect="1"/>
          </p:cNvPicPr>
          <p:nvPr userDrawn="1">
            <p:custDataLst>
              <p:tags r:id="rId29"/>
            </p:custDataLst>
          </p:nvPr>
        </p:nvPicPr>
        <p:blipFill>
          <a:blip r:embed="rId33"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sp>
        <p:nvSpPr>
          <p:cNvPr id="13" name="Footer">
            <a:extLst>
              <a:ext uri="{FF2B5EF4-FFF2-40B4-BE49-F238E27FC236}">
                <a16:creationId xmlns:a16="http://schemas.microsoft.com/office/drawing/2014/main" xmlns="" id="{4D0C0E1C-C080-49FB-BC36-8075A296C355}"/>
              </a:ext>
            </a:extLst>
          </p:cNvPr>
          <p:cNvSpPr txBox="1">
            <a:spLocks/>
          </p:cNvSpPr>
          <p:nvPr userDrawn="1">
            <p:custDataLst>
              <p:tags r:id="rId30"/>
            </p:custDataLst>
          </p:nvPr>
        </p:nvSpPr>
        <p:spPr bwMode="black">
          <a:xfrm>
            <a:off x="3254848" y="6505575"/>
            <a:ext cx="7871883" cy="139700"/>
          </a:xfrm>
          <a:prstGeom prst="rect">
            <a:avLst/>
          </a:prstGeom>
        </p:spPr>
        <p:txBody>
          <a:bodyPr vert="horz" wrap="none" lIns="0" tIns="0" rIns="0" bIns="0" rtlCol="0" anchor="b" anchorCtr="0"/>
          <a:lstStyle/>
          <a:p>
            <a:pPr marL="0" algn="r" defTabSz="685800" rtl="0" eaLnBrk="1" latinLnBrk="0" hangingPunct="1"/>
            <a:r>
              <a:rPr lang="en-GB" sz="825" b="0" kern="1200">
                <a:solidFill>
                  <a:srgbClr val="283E36"/>
                </a:solidFill>
                <a:latin typeface="+mj-lt"/>
                <a:ea typeface="+mn-ea"/>
                <a:cs typeface="+mn-cs"/>
              </a:rPr>
              <a:t>Reinsurance IFRS| IFRS 17 prototype training| June 2020</a:t>
            </a:r>
          </a:p>
        </p:txBody>
      </p:sp>
    </p:spTree>
    <p:extLst>
      <p:ext uri="{BB962C8B-B14F-4D97-AF65-F5344CB8AC3E}">
        <p14:creationId xmlns:p14="http://schemas.microsoft.com/office/powerpoint/2010/main" val="2999255180"/>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Lst>
  <p:hf hdr="0" ftr="0" dt="0"/>
  <p:txStyles>
    <p:titleStyle>
      <a:lvl1pPr algn="l" defTabSz="685800" rtl="0" eaLnBrk="1" latinLnBrk="0" hangingPunct="1">
        <a:lnSpc>
          <a:spcPct val="90000"/>
        </a:lnSpc>
        <a:spcBef>
          <a:spcPct val="0"/>
        </a:spcBef>
        <a:buNone/>
        <a:defRPr sz="1800" kern="1200">
          <a:solidFill>
            <a:schemeClr val="tx2"/>
          </a:solidFill>
          <a:latin typeface="SwissReSans" pitchFamily="34" charset="0"/>
          <a:ea typeface="+mj-ea"/>
          <a:cs typeface="+mj-cs"/>
        </a:defRPr>
      </a:lvl1pPr>
    </p:titleStyle>
    <p:bodyStyle>
      <a:lvl1pPr marL="136922" indent="-136922" algn="l" defTabSz="685800" rtl="0" eaLnBrk="1" latinLnBrk="0" hangingPunct="1">
        <a:lnSpc>
          <a:spcPct val="100000"/>
        </a:lnSpc>
        <a:spcBef>
          <a:spcPts val="900"/>
        </a:spcBef>
        <a:buClrTx/>
        <a:buSzPct val="100000"/>
        <a:buFont typeface="Arial" pitchFamily="34" charset="0"/>
        <a:buChar char="•"/>
        <a:defRPr sz="1350" kern="1200">
          <a:solidFill>
            <a:srgbClr val="283E36"/>
          </a:solidFill>
          <a:latin typeface="SwissReSans" pitchFamily="34" charset="0"/>
          <a:ea typeface="+mn-ea"/>
          <a:cs typeface="+mn-cs"/>
        </a:defRPr>
      </a:lvl1pPr>
      <a:lvl2pPr marL="333375" indent="-196454"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2pPr>
      <a:lvl3pPr marL="536972" indent="-203597"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3pPr>
      <a:lvl4pPr marL="739379"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4pPr>
      <a:lvl5pPr marL="941785" indent="-202406" algn="l" defTabSz="685800" rtl="0" eaLnBrk="1" latinLnBrk="0" hangingPunct="1">
        <a:lnSpc>
          <a:spcPct val="100000"/>
        </a:lnSpc>
        <a:spcBef>
          <a:spcPts val="750"/>
        </a:spcBef>
        <a:buFont typeface="SwissReSans" pitchFamily="34" charset="0"/>
        <a:buChar char="–"/>
        <a:defRPr sz="1200" kern="1200">
          <a:solidFill>
            <a:srgbClr val="283E36"/>
          </a:solidFill>
          <a:latin typeface="SwissReSans"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orient="horz" pos="436">
          <p15:clr>
            <a:srgbClr val="F26B43"/>
          </p15:clr>
        </p15:guide>
        <p15:guide id="3" pos="7378">
          <p15:clr>
            <a:srgbClr val="F26B43"/>
          </p15:clr>
        </p15:guide>
        <p15:guide id="4" orient="horz" pos="1026">
          <p15:clr>
            <a:srgbClr val="F26B43"/>
          </p15:clr>
        </p15:guide>
        <p15:guide id="5" orient="horz" pos="379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504.xml"/></Relationships>
</file>

<file path=ppt/slides/_rels/slide10.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990.xml"/><Relationship Id="rId7" Type="http://schemas.openxmlformats.org/officeDocument/2006/relationships/oleObject" Target="../embeddings/oleObject17.bin"/><Relationship Id="rId2" Type="http://schemas.openxmlformats.org/officeDocument/2006/relationships/tags" Target="../tags/tag989.xml"/><Relationship Id="rId1" Type="http://schemas.openxmlformats.org/officeDocument/2006/relationships/vmlDrawing" Target="../drawings/vmlDrawing17.vml"/><Relationship Id="rId6" Type="http://schemas.openxmlformats.org/officeDocument/2006/relationships/image" Target="../media/image30.jpeg"/><Relationship Id="rId5" Type="http://schemas.openxmlformats.org/officeDocument/2006/relationships/slideLayout" Target="../slideLayouts/slideLayout22.xml"/><Relationship Id="rId10" Type="http://schemas.openxmlformats.org/officeDocument/2006/relationships/image" Target="../media/image31.png"/><Relationship Id="rId4" Type="http://schemas.openxmlformats.org/officeDocument/2006/relationships/tags" Target="../tags/tag991.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tags" Target="../tags/tag993.xml"/><Relationship Id="rId7" Type="http://schemas.openxmlformats.org/officeDocument/2006/relationships/image" Target="../media/image31.png"/><Relationship Id="rId2" Type="http://schemas.openxmlformats.org/officeDocument/2006/relationships/tags" Target="../tags/tag99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tags" Target="../tags/tag996.xml"/><Relationship Id="rId7" Type="http://schemas.openxmlformats.org/officeDocument/2006/relationships/image" Target="../media/image5.png"/><Relationship Id="rId2" Type="http://schemas.openxmlformats.org/officeDocument/2006/relationships/tags" Target="../tags/tag995.xml"/><Relationship Id="rId1" Type="http://schemas.openxmlformats.org/officeDocument/2006/relationships/tags" Target="../tags/tag994.xml"/><Relationship Id="rId6" Type="http://schemas.openxmlformats.org/officeDocument/2006/relationships/image" Target="../media/image32.jpeg"/><Relationship Id="rId5" Type="http://schemas.openxmlformats.org/officeDocument/2006/relationships/notesSlide" Target="../notesSlides/notesSlide7.xml"/><Relationship Id="rId4"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tags" Target="../tags/tag998.xml"/><Relationship Id="rId7" Type="http://schemas.openxmlformats.org/officeDocument/2006/relationships/image" Target="../media/image31.png"/><Relationship Id="rId2" Type="http://schemas.openxmlformats.org/officeDocument/2006/relationships/tags" Target="../tags/tag99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8" Type="http://schemas.openxmlformats.org/officeDocument/2006/relationships/image" Target="../media/image11.emf"/><Relationship Id="rId13" Type="http://schemas.openxmlformats.org/officeDocument/2006/relationships/image" Target="../media/image35.png"/><Relationship Id="rId18" Type="http://schemas.openxmlformats.org/officeDocument/2006/relationships/image" Target="../media/image39.svg"/><Relationship Id="rId3" Type="http://schemas.openxmlformats.org/officeDocument/2006/relationships/tags" Target="../tags/tag1000.xml"/><Relationship Id="rId7" Type="http://schemas.openxmlformats.org/officeDocument/2006/relationships/oleObject" Target="../embeddings/oleObject20.bin"/><Relationship Id="rId12" Type="http://schemas.openxmlformats.org/officeDocument/2006/relationships/image" Target="../media/image33.svg"/><Relationship Id="rId17" Type="http://schemas.openxmlformats.org/officeDocument/2006/relationships/image" Target="../media/image37.png"/><Relationship Id="rId2" Type="http://schemas.openxmlformats.org/officeDocument/2006/relationships/tags" Target="../tags/tag999.xml"/><Relationship Id="rId16" Type="http://schemas.openxmlformats.org/officeDocument/2006/relationships/image" Target="../media/image37.svg"/><Relationship Id="rId20" Type="http://schemas.openxmlformats.org/officeDocument/2006/relationships/image" Target="../media/image31.png"/><Relationship Id="rId1" Type="http://schemas.openxmlformats.org/officeDocument/2006/relationships/vmlDrawing" Target="../drawings/vmlDrawing20.vml"/><Relationship Id="rId6" Type="http://schemas.openxmlformats.org/officeDocument/2006/relationships/notesSlide" Target="../notesSlides/notesSlide8.xml"/><Relationship Id="rId11" Type="http://schemas.openxmlformats.org/officeDocument/2006/relationships/image" Target="../media/image34.png"/><Relationship Id="rId5" Type="http://schemas.openxmlformats.org/officeDocument/2006/relationships/slideLayout" Target="../slideLayouts/slideLayout26.xml"/><Relationship Id="rId15" Type="http://schemas.openxmlformats.org/officeDocument/2006/relationships/image" Target="../media/image36.png"/><Relationship Id="rId10" Type="http://schemas.openxmlformats.org/officeDocument/2006/relationships/image" Target="../media/image31.svg"/><Relationship Id="rId19" Type="http://schemas.openxmlformats.org/officeDocument/2006/relationships/image" Target="../media/image12.png"/><Relationship Id="rId4" Type="http://schemas.openxmlformats.org/officeDocument/2006/relationships/tags" Target="../tags/tag1001.xml"/><Relationship Id="rId9" Type="http://schemas.openxmlformats.org/officeDocument/2006/relationships/image" Target="../media/image33.png"/><Relationship Id="rId14" Type="http://schemas.openxmlformats.org/officeDocument/2006/relationships/image" Target="../media/image35.svg"/></Relationships>
</file>

<file path=ppt/slides/_rels/slide15.xml.rels><?xml version="1.0" encoding="UTF-8" standalone="yes"?>
<Relationships xmlns="http://schemas.openxmlformats.org/package/2006/relationships"><Relationship Id="rId117" Type="http://schemas.openxmlformats.org/officeDocument/2006/relationships/tags" Target="../tags/tag1117.xml"/><Relationship Id="rId299" Type="http://schemas.openxmlformats.org/officeDocument/2006/relationships/tags" Target="../tags/tag1299.xml"/><Relationship Id="rId21" Type="http://schemas.openxmlformats.org/officeDocument/2006/relationships/tags" Target="../tags/tag1021.xml"/><Relationship Id="rId63" Type="http://schemas.openxmlformats.org/officeDocument/2006/relationships/tags" Target="../tags/tag1063.xml"/><Relationship Id="rId159" Type="http://schemas.openxmlformats.org/officeDocument/2006/relationships/tags" Target="../tags/tag1159.xml"/><Relationship Id="rId324" Type="http://schemas.openxmlformats.org/officeDocument/2006/relationships/tags" Target="../tags/tag1324.xml"/><Relationship Id="rId366" Type="http://schemas.openxmlformats.org/officeDocument/2006/relationships/image" Target="../media/image12.png"/><Relationship Id="rId170" Type="http://schemas.openxmlformats.org/officeDocument/2006/relationships/tags" Target="../tags/tag1170.xml"/><Relationship Id="rId226" Type="http://schemas.openxmlformats.org/officeDocument/2006/relationships/tags" Target="../tags/tag1226.xml"/><Relationship Id="rId268" Type="http://schemas.openxmlformats.org/officeDocument/2006/relationships/tags" Target="../tags/tag1268.xml"/><Relationship Id="rId32" Type="http://schemas.openxmlformats.org/officeDocument/2006/relationships/tags" Target="../tags/tag1032.xml"/><Relationship Id="rId74" Type="http://schemas.openxmlformats.org/officeDocument/2006/relationships/tags" Target="../tags/tag1074.xml"/><Relationship Id="rId128" Type="http://schemas.openxmlformats.org/officeDocument/2006/relationships/tags" Target="../tags/tag1128.xml"/><Relationship Id="rId335" Type="http://schemas.openxmlformats.org/officeDocument/2006/relationships/tags" Target="../tags/tag1335.xml"/><Relationship Id="rId5" Type="http://schemas.openxmlformats.org/officeDocument/2006/relationships/tags" Target="../tags/tag1005.xml"/><Relationship Id="rId181" Type="http://schemas.openxmlformats.org/officeDocument/2006/relationships/tags" Target="../tags/tag1181.xml"/><Relationship Id="rId237" Type="http://schemas.openxmlformats.org/officeDocument/2006/relationships/tags" Target="../tags/tag1237.xml"/><Relationship Id="rId279" Type="http://schemas.openxmlformats.org/officeDocument/2006/relationships/tags" Target="../tags/tag1279.xml"/><Relationship Id="rId43" Type="http://schemas.openxmlformats.org/officeDocument/2006/relationships/tags" Target="../tags/tag1043.xml"/><Relationship Id="rId139" Type="http://schemas.openxmlformats.org/officeDocument/2006/relationships/tags" Target="../tags/tag1139.xml"/><Relationship Id="rId290" Type="http://schemas.openxmlformats.org/officeDocument/2006/relationships/tags" Target="../tags/tag1290.xml"/><Relationship Id="rId304" Type="http://schemas.openxmlformats.org/officeDocument/2006/relationships/tags" Target="../tags/tag1304.xml"/><Relationship Id="rId346" Type="http://schemas.openxmlformats.org/officeDocument/2006/relationships/tags" Target="../tags/tag1346.xml"/><Relationship Id="rId85" Type="http://schemas.openxmlformats.org/officeDocument/2006/relationships/tags" Target="../tags/tag1085.xml"/><Relationship Id="rId150" Type="http://schemas.openxmlformats.org/officeDocument/2006/relationships/tags" Target="../tags/tag1150.xml"/><Relationship Id="rId192" Type="http://schemas.openxmlformats.org/officeDocument/2006/relationships/tags" Target="../tags/tag1192.xml"/><Relationship Id="rId206" Type="http://schemas.openxmlformats.org/officeDocument/2006/relationships/tags" Target="../tags/tag1206.xml"/><Relationship Id="rId248" Type="http://schemas.openxmlformats.org/officeDocument/2006/relationships/tags" Target="../tags/tag1248.xml"/><Relationship Id="rId12" Type="http://schemas.openxmlformats.org/officeDocument/2006/relationships/tags" Target="../tags/tag1012.xml"/><Relationship Id="rId108" Type="http://schemas.openxmlformats.org/officeDocument/2006/relationships/tags" Target="../tags/tag1108.xml"/><Relationship Id="rId315" Type="http://schemas.openxmlformats.org/officeDocument/2006/relationships/tags" Target="../tags/tag1315.xml"/><Relationship Id="rId357" Type="http://schemas.openxmlformats.org/officeDocument/2006/relationships/tags" Target="../tags/tag1357.xml"/><Relationship Id="rId54" Type="http://schemas.openxmlformats.org/officeDocument/2006/relationships/tags" Target="../tags/tag1054.xml"/><Relationship Id="rId96" Type="http://schemas.openxmlformats.org/officeDocument/2006/relationships/tags" Target="../tags/tag1096.xml"/><Relationship Id="rId161" Type="http://schemas.openxmlformats.org/officeDocument/2006/relationships/tags" Target="../tags/tag1161.xml"/><Relationship Id="rId217" Type="http://schemas.openxmlformats.org/officeDocument/2006/relationships/tags" Target="../tags/tag1217.xml"/><Relationship Id="rId259" Type="http://schemas.openxmlformats.org/officeDocument/2006/relationships/tags" Target="../tags/tag1259.xml"/><Relationship Id="rId23" Type="http://schemas.openxmlformats.org/officeDocument/2006/relationships/tags" Target="../tags/tag1023.xml"/><Relationship Id="rId119" Type="http://schemas.openxmlformats.org/officeDocument/2006/relationships/tags" Target="../tags/tag1119.xml"/><Relationship Id="rId270" Type="http://schemas.openxmlformats.org/officeDocument/2006/relationships/tags" Target="../tags/tag1270.xml"/><Relationship Id="rId326" Type="http://schemas.openxmlformats.org/officeDocument/2006/relationships/tags" Target="../tags/tag1326.xml"/><Relationship Id="rId65" Type="http://schemas.openxmlformats.org/officeDocument/2006/relationships/tags" Target="../tags/tag1065.xml"/><Relationship Id="rId130" Type="http://schemas.openxmlformats.org/officeDocument/2006/relationships/tags" Target="../tags/tag1130.xml"/><Relationship Id="rId172" Type="http://schemas.openxmlformats.org/officeDocument/2006/relationships/tags" Target="../tags/tag1172.xml"/><Relationship Id="rId228" Type="http://schemas.openxmlformats.org/officeDocument/2006/relationships/tags" Target="../tags/tag1228.xml"/><Relationship Id="rId281" Type="http://schemas.openxmlformats.org/officeDocument/2006/relationships/tags" Target="../tags/tag1281.xml"/><Relationship Id="rId337" Type="http://schemas.openxmlformats.org/officeDocument/2006/relationships/tags" Target="../tags/tag1337.xml"/><Relationship Id="rId34" Type="http://schemas.openxmlformats.org/officeDocument/2006/relationships/tags" Target="../tags/tag1034.xml"/><Relationship Id="rId76" Type="http://schemas.openxmlformats.org/officeDocument/2006/relationships/tags" Target="../tags/tag1076.xml"/><Relationship Id="rId141" Type="http://schemas.openxmlformats.org/officeDocument/2006/relationships/tags" Target="../tags/tag1141.xml"/><Relationship Id="rId7" Type="http://schemas.openxmlformats.org/officeDocument/2006/relationships/tags" Target="../tags/tag1007.xml"/><Relationship Id="rId183" Type="http://schemas.openxmlformats.org/officeDocument/2006/relationships/tags" Target="../tags/tag1183.xml"/><Relationship Id="rId239" Type="http://schemas.openxmlformats.org/officeDocument/2006/relationships/tags" Target="../tags/tag1239.xml"/><Relationship Id="rId250" Type="http://schemas.openxmlformats.org/officeDocument/2006/relationships/tags" Target="../tags/tag1250.xml"/><Relationship Id="rId292" Type="http://schemas.openxmlformats.org/officeDocument/2006/relationships/tags" Target="../tags/tag1292.xml"/><Relationship Id="rId306" Type="http://schemas.openxmlformats.org/officeDocument/2006/relationships/tags" Target="../tags/tag1306.xml"/><Relationship Id="rId45" Type="http://schemas.openxmlformats.org/officeDocument/2006/relationships/tags" Target="../tags/tag1045.xml"/><Relationship Id="rId87" Type="http://schemas.openxmlformats.org/officeDocument/2006/relationships/tags" Target="../tags/tag1087.xml"/><Relationship Id="rId110" Type="http://schemas.openxmlformats.org/officeDocument/2006/relationships/tags" Target="../tags/tag1110.xml"/><Relationship Id="rId348" Type="http://schemas.openxmlformats.org/officeDocument/2006/relationships/tags" Target="../tags/tag1348.xml"/><Relationship Id="rId152" Type="http://schemas.openxmlformats.org/officeDocument/2006/relationships/tags" Target="../tags/tag1152.xml"/><Relationship Id="rId194" Type="http://schemas.openxmlformats.org/officeDocument/2006/relationships/tags" Target="../tags/tag1194.xml"/><Relationship Id="rId208" Type="http://schemas.openxmlformats.org/officeDocument/2006/relationships/tags" Target="../tags/tag1208.xml"/><Relationship Id="rId261" Type="http://schemas.openxmlformats.org/officeDocument/2006/relationships/tags" Target="../tags/tag1261.xml"/><Relationship Id="rId14" Type="http://schemas.openxmlformats.org/officeDocument/2006/relationships/tags" Target="../tags/tag1014.xml"/><Relationship Id="rId56" Type="http://schemas.openxmlformats.org/officeDocument/2006/relationships/tags" Target="../tags/tag1056.xml"/><Relationship Id="rId317" Type="http://schemas.openxmlformats.org/officeDocument/2006/relationships/tags" Target="../tags/tag1317.xml"/><Relationship Id="rId359" Type="http://schemas.openxmlformats.org/officeDocument/2006/relationships/tags" Target="../tags/tag1359.xml"/><Relationship Id="rId98" Type="http://schemas.openxmlformats.org/officeDocument/2006/relationships/tags" Target="../tags/tag1098.xml"/><Relationship Id="rId121" Type="http://schemas.openxmlformats.org/officeDocument/2006/relationships/tags" Target="../tags/tag1121.xml"/><Relationship Id="rId163" Type="http://schemas.openxmlformats.org/officeDocument/2006/relationships/tags" Target="../tags/tag1163.xml"/><Relationship Id="rId219" Type="http://schemas.openxmlformats.org/officeDocument/2006/relationships/tags" Target="../tags/tag1219.xml"/><Relationship Id="rId230" Type="http://schemas.openxmlformats.org/officeDocument/2006/relationships/tags" Target="../tags/tag1230.xml"/><Relationship Id="rId25" Type="http://schemas.openxmlformats.org/officeDocument/2006/relationships/tags" Target="../tags/tag1025.xml"/><Relationship Id="rId67" Type="http://schemas.openxmlformats.org/officeDocument/2006/relationships/tags" Target="../tags/tag1067.xml"/><Relationship Id="rId272" Type="http://schemas.openxmlformats.org/officeDocument/2006/relationships/tags" Target="../tags/tag1272.xml"/><Relationship Id="rId328" Type="http://schemas.openxmlformats.org/officeDocument/2006/relationships/tags" Target="../tags/tag1328.xml"/><Relationship Id="rId132" Type="http://schemas.openxmlformats.org/officeDocument/2006/relationships/tags" Target="../tags/tag1132.xml"/><Relationship Id="rId174" Type="http://schemas.openxmlformats.org/officeDocument/2006/relationships/tags" Target="../tags/tag1174.xml"/><Relationship Id="rId220" Type="http://schemas.openxmlformats.org/officeDocument/2006/relationships/tags" Target="../tags/tag1220.xml"/><Relationship Id="rId241" Type="http://schemas.openxmlformats.org/officeDocument/2006/relationships/tags" Target="../tags/tag1241.xml"/><Relationship Id="rId15" Type="http://schemas.openxmlformats.org/officeDocument/2006/relationships/tags" Target="../tags/tag1015.xml"/><Relationship Id="rId36" Type="http://schemas.openxmlformats.org/officeDocument/2006/relationships/tags" Target="../tags/tag1036.xml"/><Relationship Id="rId57" Type="http://schemas.openxmlformats.org/officeDocument/2006/relationships/tags" Target="../tags/tag1057.xml"/><Relationship Id="rId262" Type="http://schemas.openxmlformats.org/officeDocument/2006/relationships/tags" Target="../tags/tag1262.xml"/><Relationship Id="rId283" Type="http://schemas.openxmlformats.org/officeDocument/2006/relationships/tags" Target="../tags/tag1283.xml"/><Relationship Id="rId318" Type="http://schemas.openxmlformats.org/officeDocument/2006/relationships/tags" Target="../tags/tag1318.xml"/><Relationship Id="rId339" Type="http://schemas.openxmlformats.org/officeDocument/2006/relationships/tags" Target="../tags/tag1339.xml"/><Relationship Id="rId78" Type="http://schemas.openxmlformats.org/officeDocument/2006/relationships/tags" Target="../tags/tag1078.xml"/><Relationship Id="rId99" Type="http://schemas.openxmlformats.org/officeDocument/2006/relationships/tags" Target="../tags/tag1099.xml"/><Relationship Id="rId101" Type="http://schemas.openxmlformats.org/officeDocument/2006/relationships/tags" Target="../tags/tag1101.xml"/><Relationship Id="rId122" Type="http://schemas.openxmlformats.org/officeDocument/2006/relationships/tags" Target="../tags/tag1122.xml"/><Relationship Id="rId143" Type="http://schemas.openxmlformats.org/officeDocument/2006/relationships/tags" Target="../tags/tag1143.xml"/><Relationship Id="rId164" Type="http://schemas.openxmlformats.org/officeDocument/2006/relationships/tags" Target="../tags/tag1164.xml"/><Relationship Id="rId185" Type="http://schemas.openxmlformats.org/officeDocument/2006/relationships/tags" Target="../tags/tag1185.xml"/><Relationship Id="rId350" Type="http://schemas.openxmlformats.org/officeDocument/2006/relationships/tags" Target="../tags/tag1350.xml"/><Relationship Id="rId9" Type="http://schemas.openxmlformats.org/officeDocument/2006/relationships/tags" Target="../tags/tag1009.xml"/><Relationship Id="rId210" Type="http://schemas.openxmlformats.org/officeDocument/2006/relationships/tags" Target="../tags/tag1210.xml"/><Relationship Id="rId26" Type="http://schemas.openxmlformats.org/officeDocument/2006/relationships/tags" Target="../tags/tag1026.xml"/><Relationship Id="rId231" Type="http://schemas.openxmlformats.org/officeDocument/2006/relationships/tags" Target="../tags/tag1231.xml"/><Relationship Id="rId252" Type="http://schemas.openxmlformats.org/officeDocument/2006/relationships/tags" Target="../tags/tag1252.xml"/><Relationship Id="rId273" Type="http://schemas.openxmlformats.org/officeDocument/2006/relationships/tags" Target="../tags/tag1273.xml"/><Relationship Id="rId294" Type="http://schemas.openxmlformats.org/officeDocument/2006/relationships/tags" Target="../tags/tag1294.xml"/><Relationship Id="rId308" Type="http://schemas.openxmlformats.org/officeDocument/2006/relationships/tags" Target="../tags/tag1308.xml"/><Relationship Id="rId329" Type="http://schemas.openxmlformats.org/officeDocument/2006/relationships/tags" Target="../tags/tag1329.xml"/><Relationship Id="rId47" Type="http://schemas.openxmlformats.org/officeDocument/2006/relationships/tags" Target="../tags/tag1047.xml"/><Relationship Id="rId68" Type="http://schemas.openxmlformats.org/officeDocument/2006/relationships/tags" Target="../tags/tag1068.xml"/><Relationship Id="rId89" Type="http://schemas.openxmlformats.org/officeDocument/2006/relationships/tags" Target="../tags/tag1089.xml"/><Relationship Id="rId112" Type="http://schemas.openxmlformats.org/officeDocument/2006/relationships/tags" Target="../tags/tag1112.xml"/><Relationship Id="rId133" Type="http://schemas.openxmlformats.org/officeDocument/2006/relationships/tags" Target="../tags/tag1133.xml"/><Relationship Id="rId154" Type="http://schemas.openxmlformats.org/officeDocument/2006/relationships/tags" Target="../tags/tag1154.xml"/><Relationship Id="rId175" Type="http://schemas.openxmlformats.org/officeDocument/2006/relationships/tags" Target="../tags/tag1175.xml"/><Relationship Id="rId340" Type="http://schemas.openxmlformats.org/officeDocument/2006/relationships/tags" Target="../tags/tag1340.xml"/><Relationship Id="rId361" Type="http://schemas.openxmlformats.org/officeDocument/2006/relationships/slideLayout" Target="../slideLayouts/slideLayout26.xml"/><Relationship Id="rId196" Type="http://schemas.openxmlformats.org/officeDocument/2006/relationships/tags" Target="../tags/tag1196.xml"/><Relationship Id="rId200" Type="http://schemas.openxmlformats.org/officeDocument/2006/relationships/tags" Target="../tags/tag1200.xml"/><Relationship Id="rId16" Type="http://schemas.openxmlformats.org/officeDocument/2006/relationships/tags" Target="../tags/tag1016.xml"/><Relationship Id="rId221" Type="http://schemas.openxmlformats.org/officeDocument/2006/relationships/tags" Target="../tags/tag1221.xml"/><Relationship Id="rId242" Type="http://schemas.openxmlformats.org/officeDocument/2006/relationships/tags" Target="../tags/tag1242.xml"/><Relationship Id="rId263" Type="http://schemas.openxmlformats.org/officeDocument/2006/relationships/tags" Target="../tags/tag1263.xml"/><Relationship Id="rId284" Type="http://schemas.openxmlformats.org/officeDocument/2006/relationships/tags" Target="../tags/tag1284.xml"/><Relationship Id="rId319" Type="http://schemas.openxmlformats.org/officeDocument/2006/relationships/tags" Target="../tags/tag1319.xml"/><Relationship Id="rId37" Type="http://schemas.openxmlformats.org/officeDocument/2006/relationships/tags" Target="../tags/tag1037.xml"/><Relationship Id="rId58" Type="http://schemas.openxmlformats.org/officeDocument/2006/relationships/tags" Target="../tags/tag1058.xml"/><Relationship Id="rId79" Type="http://schemas.openxmlformats.org/officeDocument/2006/relationships/tags" Target="../tags/tag1079.xml"/><Relationship Id="rId102" Type="http://schemas.openxmlformats.org/officeDocument/2006/relationships/tags" Target="../tags/tag1102.xml"/><Relationship Id="rId123" Type="http://schemas.openxmlformats.org/officeDocument/2006/relationships/tags" Target="../tags/tag1123.xml"/><Relationship Id="rId144" Type="http://schemas.openxmlformats.org/officeDocument/2006/relationships/tags" Target="../tags/tag1144.xml"/><Relationship Id="rId330" Type="http://schemas.openxmlformats.org/officeDocument/2006/relationships/tags" Target="../tags/tag1330.xml"/><Relationship Id="rId90" Type="http://schemas.openxmlformats.org/officeDocument/2006/relationships/tags" Target="../tags/tag1090.xml"/><Relationship Id="rId165" Type="http://schemas.openxmlformats.org/officeDocument/2006/relationships/tags" Target="../tags/tag1165.xml"/><Relationship Id="rId186" Type="http://schemas.openxmlformats.org/officeDocument/2006/relationships/tags" Target="../tags/tag1186.xml"/><Relationship Id="rId351" Type="http://schemas.openxmlformats.org/officeDocument/2006/relationships/tags" Target="../tags/tag1351.xml"/><Relationship Id="rId211" Type="http://schemas.openxmlformats.org/officeDocument/2006/relationships/tags" Target="../tags/tag1211.xml"/><Relationship Id="rId232" Type="http://schemas.openxmlformats.org/officeDocument/2006/relationships/tags" Target="../tags/tag1232.xml"/><Relationship Id="rId253" Type="http://schemas.openxmlformats.org/officeDocument/2006/relationships/tags" Target="../tags/tag1253.xml"/><Relationship Id="rId274" Type="http://schemas.openxmlformats.org/officeDocument/2006/relationships/tags" Target="../tags/tag1274.xml"/><Relationship Id="rId295" Type="http://schemas.openxmlformats.org/officeDocument/2006/relationships/tags" Target="../tags/tag1295.xml"/><Relationship Id="rId309" Type="http://schemas.openxmlformats.org/officeDocument/2006/relationships/tags" Target="../tags/tag1309.xml"/><Relationship Id="rId27" Type="http://schemas.openxmlformats.org/officeDocument/2006/relationships/tags" Target="../tags/tag1027.xml"/><Relationship Id="rId48" Type="http://schemas.openxmlformats.org/officeDocument/2006/relationships/tags" Target="../tags/tag1048.xml"/><Relationship Id="rId69" Type="http://schemas.openxmlformats.org/officeDocument/2006/relationships/tags" Target="../tags/tag1069.xml"/><Relationship Id="rId113" Type="http://schemas.openxmlformats.org/officeDocument/2006/relationships/tags" Target="../tags/tag1113.xml"/><Relationship Id="rId134" Type="http://schemas.openxmlformats.org/officeDocument/2006/relationships/tags" Target="../tags/tag1134.xml"/><Relationship Id="rId320" Type="http://schemas.openxmlformats.org/officeDocument/2006/relationships/tags" Target="../tags/tag1320.xml"/><Relationship Id="rId80" Type="http://schemas.openxmlformats.org/officeDocument/2006/relationships/tags" Target="../tags/tag1080.xml"/><Relationship Id="rId155" Type="http://schemas.openxmlformats.org/officeDocument/2006/relationships/tags" Target="../tags/tag1155.xml"/><Relationship Id="rId176" Type="http://schemas.openxmlformats.org/officeDocument/2006/relationships/tags" Target="../tags/tag1176.xml"/><Relationship Id="rId197" Type="http://schemas.openxmlformats.org/officeDocument/2006/relationships/tags" Target="../tags/tag1197.xml"/><Relationship Id="rId341" Type="http://schemas.openxmlformats.org/officeDocument/2006/relationships/tags" Target="../tags/tag1341.xml"/><Relationship Id="rId362" Type="http://schemas.openxmlformats.org/officeDocument/2006/relationships/notesSlide" Target="../notesSlides/notesSlide9.xml"/><Relationship Id="rId201" Type="http://schemas.openxmlformats.org/officeDocument/2006/relationships/tags" Target="../tags/tag1201.xml"/><Relationship Id="rId222" Type="http://schemas.openxmlformats.org/officeDocument/2006/relationships/tags" Target="../tags/tag1222.xml"/><Relationship Id="rId243" Type="http://schemas.openxmlformats.org/officeDocument/2006/relationships/tags" Target="../tags/tag1243.xml"/><Relationship Id="rId264" Type="http://schemas.openxmlformats.org/officeDocument/2006/relationships/tags" Target="../tags/tag1264.xml"/><Relationship Id="rId285" Type="http://schemas.openxmlformats.org/officeDocument/2006/relationships/tags" Target="../tags/tag1285.xml"/><Relationship Id="rId17" Type="http://schemas.openxmlformats.org/officeDocument/2006/relationships/tags" Target="../tags/tag1017.xml"/><Relationship Id="rId38" Type="http://schemas.openxmlformats.org/officeDocument/2006/relationships/tags" Target="../tags/tag1038.xml"/><Relationship Id="rId59" Type="http://schemas.openxmlformats.org/officeDocument/2006/relationships/tags" Target="../tags/tag1059.xml"/><Relationship Id="rId103" Type="http://schemas.openxmlformats.org/officeDocument/2006/relationships/tags" Target="../tags/tag1103.xml"/><Relationship Id="rId124" Type="http://schemas.openxmlformats.org/officeDocument/2006/relationships/tags" Target="../tags/tag1124.xml"/><Relationship Id="rId310" Type="http://schemas.openxmlformats.org/officeDocument/2006/relationships/tags" Target="../tags/tag1310.xml"/><Relationship Id="rId70" Type="http://schemas.openxmlformats.org/officeDocument/2006/relationships/tags" Target="../tags/tag1070.xml"/><Relationship Id="rId91" Type="http://schemas.openxmlformats.org/officeDocument/2006/relationships/tags" Target="../tags/tag1091.xml"/><Relationship Id="rId145" Type="http://schemas.openxmlformats.org/officeDocument/2006/relationships/tags" Target="../tags/tag1145.xml"/><Relationship Id="rId166" Type="http://schemas.openxmlformats.org/officeDocument/2006/relationships/tags" Target="../tags/tag1166.xml"/><Relationship Id="rId187" Type="http://schemas.openxmlformats.org/officeDocument/2006/relationships/tags" Target="../tags/tag1187.xml"/><Relationship Id="rId331" Type="http://schemas.openxmlformats.org/officeDocument/2006/relationships/tags" Target="../tags/tag1331.xml"/><Relationship Id="rId352" Type="http://schemas.openxmlformats.org/officeDocument/2006/relationships/tags" Target="../tags/tag1352.xml"/><Relationship Id="rId1" Type="http://schemas.openxmlformats.org/officeDocument/2006/relationships/vmlDrawing" Target="../drawings/vmlDrawing21.vml"/><Relationship Id="rId212" Type="http://schemas.openxmlformats.org/officeDocument/2006/relationships/tags" Target="../tags/tag1212.xml"/><Relationship Id="rId233" Type="http://schemas.openxmlformats.org/officeDocument/2006/relationships/tags" Target="../tags/tag1233.xml"/><Relationship Id="rId254" Type="http://schemas.openxmlformats.org/officeDocument/2006/relationships/tags" Target="../tags/tag1254.xml"/><Relationship Id="rId28" Type="http://schemas.openxmlformats.org/officeDocument/2006/relationships/tags" Target="../tags/tag1028.xml"/><Relationship Id="rId49" Type="http://schemas.openxmlformats.org/officeDocument/2006/relationships/tags" Target="../tags/tag1049.xml"/><Relationship Id="rId114" Type="http://schemas.openxmlformats.org/officeDocument/2006/relationships/tags" Target="../tags/tag1114.xml"/><Relationship Id="rId275" Type="http://schemas.openxmlformats.org/officeDocument/2006/relationships/tags" Target="../tags/tag1275.xml"/><Relationship Id="rId296" Type="http://schemas.openxmlformats.org/officeDocument/2006/relationships/tags" Target="../tags/tag1296.xml"/><Relationship Id="rId300" Type="http://schemas.openxmlformats.org/officeDocument/2006/relationships/tags" Target="../tags/tag1300.xml"/><Relationship Id="rId60" Type="http://schemas.openxmlformats.org/officeDocument/2006/relationships/tags" Target="../tags/tag1060.xml"/><Relationship Id="rId81" Type="http://schemas.openxmlformats.org/officeDocument/2006/relationships/tags" Target="../tags/tag1081.xml"/><Relationship Id="rId135" Type="http://schemas.openxmlformats.org/officeDocument/2006/relationships/tags" Target="../tags/tag1135.xml"/><Relationship Id="rId156" Type="http://schemas.openxmlformats.org/officeDocument/2006/relationships/tags" Target="../tags/tag1156.xml"/><Relationship Id="rId177" Type="http://schemas.openxmlformats.org/officeDocument/2006/relationships/tags" Target="../tags/tag1177.xml"/><Relationship Id="rId198" Type="http://schemas.openxmlformats.org/officeDocument/2006/relationships/tags" Target="../tags/tag1198.xml"/><Relationship Id="rId321" Type="http://schemas.openxmlformats.org/officeDocument/2006/relationships/tags" Target="../tags/tag1321.xml"/><Relationship Id="rId342" Type="http://schemas.openxmlformats.org/officeDocument/2006/relationships/tags" Target="../tags/tag1342.xml"/><Relationship Id="rId363" Type="http://schemas.openxmlformats.org/officeDocument/2006/relationships/oleObject" Target="../embeddings/oleObject21.bin"/><Relationship Id="rId202" Type="http://schemas.openxmlformats.org/officeDocument/2006/relationships/tags" Target="../tags/tag1202.xml"/><Relationship Id="rId223" Type="http://schemas.openxmlformats.org/officeDocument/2006/relationships/tags" Target="../tags/tag1223.xml"/><Relationship Id="rId244" Type="http://schemas.openxmlformats.org/officeDocument/2006/relationships/tags" Target="../tags/tag1244.xml"/><Relationship Id="rId18" Type="http://schemas.openxmlformats.org/officeDocument/2006/relationships/tags" Target="../tags/tag1018.xml"/><Relationship Id="rId39" Type="http://schemas.openxmlformats.org/officeDocument/2006/relationships/tags" Target="../tags/tag1039.xml"/><Relationship Id="rId265" Type="http://schemas.openxmlformats.org/officeDocument/2006/relationships/tags" Target="../tags/tag1265.xml"/><Relationship Id="rId286" Type="http://schemas.openxmlformats.org/officeDocument/2006/relationships/tags" Target="../tags/tag1286.xml"/><Relationship Id="rId50" Type="http://schemas.openxmlformats.org/officeDocument/2006/relationships/tags" Target="../tags/tag1050.xml"/><Relationship Id="rId104" Type="http://schemas.openxmlformats.org/officeDocument/2006/relationships/tags" Target="../tags/tag1104.xml"/><Relationship Id="rId125" Type="http://schemas.openxmlformats.org/officeDocument/2006/relationships/tags" Target="../tags/tag1125.xml"/><Relationship Id="rId146" Type="http://schemas.openxmlformats.org/officeDocument/2006/relationships/tags" Target="../tags/tag1146.xml"/><Relationship Id="rId167" Type="http://schemas.openxmlformats.org/officeDocument/2006/relationships/tags" Target="../tags/tag1167.xml"/><Relationship Id="rId188" Type="http://schemas.openxmlformats.org/officeDocument/2006/relationships/tags" Target="../tags/tag1188.xml"/><Relationship Id="rId311" Type="http://schemas.openxmlformats.org/officeDocument/2006/relationships/tags" Target="../tags/tag1311.xml"/><Relationship Id="rId332" Type="http://schemas.openxmlformats.org/officeDocument/2006/relationships/tags" Target="../tags/tag1332.xml"/><Relationship Id="rId353" Type="http://schemas.openxmlformats.org/officeDocument/2006/relationships/tags" Target="../tags/tag1353.xml"/><Relationship Id="rId71" Type="http://schemas.openxmlformats.org/officeDocument/2006/relationships/tags" Target="../tags/tag1071.xml"/><Relationship Id="rId92" Type="http://schemas.openxmlformats.org/officeDocument/2006/relationships/tags" Target="../tags/tag1092.xml"/><Relationship Id="rId213" Type="http://schemas.openxmlformats.org/officeDocument/2006/relationships/tags" Target="../tags/tag1213.xml"/><Relationship Id="rId234" Type="http://schemas.openxmlformats.org/officeDocument/2006/relationships/tags" Target="../tags/tag1234.xml"/><Relationship Id="rId2" Type="http://schemas.openxmlformats.org/officeDocument/2006/relationships/tags" Target="../tags/tag1002.xml"/><Relationship Id="rId29" Type="http://schemas.openxmlformats.org/officeDocument/2006/relationships/tags" Target="../tags/tag1029.xml"/><Relationship Id="rId255" Type="http://schemas.openxmlformats.org/officeDocument/2006/relationships/tags" Target="../tags/tag1255.xml"/><Relationship Id="rId276" Type="http://schemas.openxmlformats.org/officeDocument/2006/relationships/tags" Target="../tags/tag1276.xml"/><Relationship Id="rId297" Type="http://schemas.openxmlformats.org/officeDocument/2006/relationships/tags" Target="../tags/tag1297.xml"/><Relationship Id="rId40" Type="http://schemas.openxmlformats.org/officeDocument/2006/relationships/tags" Target="../tags/tag1040.xml"/><Relationship Id="rId115" Type="http://schemas.openxmlformats.org/officeDocument/2006/relationships/tags" Target="../tags/tag1115.xml"/><Relationship Id="rId136" Type="http://schemas.openxmlformats.org/officeDocument/2006/relationships/tags" Target="../tags/tag1136.xml"/><Relationship Id="rId157" Type="http://schemas.openxmlformats.org/officeDocument/2006/relationships/tags" Target="../tags/tag1157.xml"/><Relationship Id="rId178" Type="http://schemas.openxmlformats.org/officeDocument/2006/relationships/tags" Target="../tags/tag1178.xml"/><Relationship Id="rId301" Type="http://schemas.openxmlformats.org/officeDocument/2006/relationships/tags" Target="../tags/tag1301.xml"/><Relationship Id="rId322" Type="http://schemas.openxmlformats.org/officeDocument/2006/relationships/tags" Target="../tags/tag1322.xml"/><Relationship Id="rId343" Type="http://schemas.openxmlformats.org/officeDocument/2006/relationships/tags" Target="../tags/tag1343.xml"/><Relationship Id="rId364" Type="http://schemas.openxmlformats.org/officeDocument/2006/relationships/image" Target="../media/image38.emf"/><Relationship Id="rId61" Type="http://schemas.openxmlformats.org/officeDocument/2006/relationships/tags" Target="../tags/tag1061.xml"/><Relationship Id="rId82" Type="http://schemas.openxmlformats.org/officeDocument/2006/relationships/tags" Target="../tags/tag1082.xml"/><Relationship Id="rId199" Type="http://schemas.openxmlformats.org/officeDocument/2006/relationships/tags" Target="../tags/tag1199.xml"/><Relationship Id="rId203" Type="http://schemas.openxmlformats.org/officeDocument/2006/relationships/tags" Target="../tags/tag1203.xml"/><Relationship Id="rId19" Type="http://schemas.openxmlformats.org/officeDocument/2006/relationships/tags" Target="../tags/tag1019.xml"/><Relationship Id="rId224" Type="http://schemas.openxmlformats.org/officeDocument/2006/relationships/tags" Target="../tags/tag1224.xml"/><Relationship Id="rId245" Type="http://schemas.openxmlformats.org/officeDocument/2006/relationships/tags" Target="../tags/tag1245.xml"/><Relationship Id="rId266" Type="http://schemas.openxmlformats.org/officeDocument/2006/relationships/tags" Target="../tags/tag1266.xml"/><Relationship Id="rId287" Type="http://schemas.openxmlformats.org/officeDocument/2006/relationships/tags" Target="../tags/tag1287.xml"/><Relationship Id="rId30" Type="http://schemas.openxmlformats.org/officeDocument/2006/relationships/tags" Target="../tags/tag1030.xml"/><Relationship Id="rId105" Type="http://schemas.openxmlformats.org/officeDocument/2006/relationships/tags" Target="../tags/tag1105.xml"/><Relationship Id="rId126" Type="http://schemas.openxmlformats.org/officeDocument/2006/relationships/tags" Target="../tags/tag1126.xml"/><Relationship Id="rId147" Type="http://schemas.openxmlformats.org/officeDocument/2006/relationships/tags" Target="../tags/tag1147.xml"/><Relationship Id="rId168" Type="http://schemas.openxmlformats.org/officeDocument/2006/relationships/tags" Target="../tags/tag1168.xml"/><Relationship Id="rId312" Type="http://schemas.openxmlformats.org/officeDocument/2006/relationships/tags" Target="../tags/tag1312.xml"/><Relationship Id="rId333" Type="http://schemas.openxmlformats.org/officeDocument/2006/relationships/tags" Target="../tags/tag1333.xml"/><Relationship Id="rId354" Type="http://schemas.openxmlformats.org/officeDocument/2006/relationships/tags" Target="../tags/tag1354.xml"/><Relationship Id="rId51" Type="http://schemas.openxmlformats.org/officeDocument/2006/relationships/tags" Target="../tags/tag1051.xml"/><Relationship Id="rId72" Type="http://schemas.openxmlformats.org/officeDocument/2006/relationships/tags" Target="../tags/tag1072.xml"/><Relationship Id="rId93" Type="http://schemas.openxmlformats.org/officeDocument/2006/relationships/tags" Target="../tags/tag1093.xml"/><Relationship Id="rId189" Type="http://schemas.openxmlformats.org/officeDocument/2006/relationships/tags" Target="../tags/tag1189.xml"/><Relationship Id="rId3" Type="http://schemas.openxmlformats.org/officeDocument/2006/relationships/tags" Target="../tags/tag1003.xml"/><Relationship Id="rId214" Type="http://schemas.openxmlformats.org/officeDocument/2006/relationships/tags" Target="../tags/tag1214.xml"/><Relationship Id="rId235" Type="http://schemas.openxmlformats.org/officeDocument/2006/relationships/tags" Target="../tags/tag1235.xml"/><Relationship Id="rId256" Type="http://schemas.openxmlformats.org/officeDocument/2006/relationships/tags" Target="../tags/tag1256.xml"/><Relationship Id="rId277" Type="http://schemas.openxmlformats.org/officeDocument/2006/relationships/tags" Target="../tags/tag1277.xml"/><Relationship Id="rId298" Type="http://schemas.openxmlformats.org/officeDocument/2006/relationships/tags" Target="../tags/tag1298.xml"/><Relationship Id="rId116" Type="http://schemas.openxmlformats.org/officeDocument/2006/relationships/tags" Target="../tags/tag1116.xml"/><Relationship Id="rId137" Type="http://schemas.openxmlformats.org/officeDocument/2006/relationships/tags" Target="../tags/tag1137.xml"/><Relationship Id="rId158" Type="http://schemas.openxmlformats.org/officeDocument/2006/relationships/tags" Target="../tags/tag1158.xml"/><Relationship Id="rId302" Type="http://schemas.openxmlformats.org/officeDocument/2006/relationships/tags" Target="../tags/tag1302.xml"/><Relationship Id="rId323" Type="http://schemas.openxmlformats.org/officeDocument/2006/relationships/tags" Target="../tags/tag1323.xml"/><Relationship Id="rId344" Type="http://schemas.openxmlformats.org/officeDocument/2006/relationships/tags" Target="../tags/tag1344.xml"/><Relationship Id="rId20" Type="http://schemas.openxmlformats.org/officeDocument/2006/relationships/tags" Target="../tags/tag1020.xml"/><Relationship Id="rId41" Type="http://schemas.openxmlformats.org/officeDocument/2006/relationships/tags" Target="../tags/tag1041.xml"/><Relationship Id="rId62" Type="http://schemas.openxmlformats.org/officeDocument/2006/relationships/tags" Target="../tags/tag1062.xml"/><Relationship Id="rId83" Type="http://schemas.openxmlformats.org/officeDocument/2006/relationships/tags" Target="../tags/tag1083.xml"/><Relationship Id="rId179" Type="http://schemas.openxmlformats.org/officeDocument/2006/relationships/tags" Target="../tags/tag1179.xml"/><Relationship Id="rId365" Type="http://schemas.openxmlformats.org/officeDocument/2006/relationships/image" Target="../media/image39.jpeg"/><Relationship Id="rId190" Type="http://schemas.openxmlformats.org/officeDocument/2006/relationships/tags" Target="../tags/tag1190.xml"/><Relationship Id="rId204" Type="http://schemas.openxmlformats.org/officeDocument/2006/relationships/tags" Target="../tags/tag1204.xml"/><Relationship Id="rId225" Type="http://schemas.openxmlformats.org/officeDocument/2006/relationships/tags" Target="../tags/tag1225.xml"/><Relationship Id="rId246" Type="http://schemas.openxmlformats.org/officeDocument/2006/relationships/tags" Target="../tags/tag1246.xml"/><Relationship Id="rId267" Type="http://schemas.openxmlformats.org/officeDocument/2006/relationships/tags" Target="../tags/tag1267.xml"/><Relationship Id="rId288" Type="http://schemas.openxmlformats.org/officeDocument/2006/relationships/tags" Target="../tags/tag1288.xml"/><Relationship Id="rId106" Type="http://schemas.openxmlformats.org/officeDocument/2006/relationships/tags" Target="../tags/tag1106.xml"/><Relationship Id="rId127" Type="http://schemas.openxmlformats.org/officeDocument/2006/relationships/tags" Target="../tags/tag1127.xml"/><Relationship Id="rId313" Type="http://schemas.openxmlformats.org/officeDocument/2006/relationships/tags" Target="../tags/tag1313.xml"/><Relationship Id="rId10" Type="http://schemas.openxmlformats.org/officeDocument/2006/relationships/tags" Target="../tags/tag1010.xml"/><Relationship Id="rId31" Type="http://schemas.openxmlformats.org/officeDocument/2006/relationships/tags" Target="../tags/tag1031.xml"/><Relationship Id="rId52" Type="http://schemas.openxmlformats.org/officeDocument/2006/relationships/tags" Target="../tags/tag1052.xml"/><Relationship Id="rId73" Type="http://schemas.openxmlformats.org/officeDocument/2006/relationships/tags" Target="../tags/tag1073.xml"/><Relationship Id="rId94" Type="http://schemas.openxmlformats.org/officeDocument/2006/relationships/tags" Target="../tags/tag1094.xml"/><Relationship Id="rId148" Type="http://schemas.openxmlformats.org/officeDocument/2006/relationships/tags" Target="../tags/tag1148.xml"/><Relationship Id="rId169" Type="http://schemas.openxmlformats.org/officeDocument/2006/relationships/tags" Target="../tags/tag1169.xml"/><Relationship Id="rId334" Type="http://schemas.openxmlformats.org/officeDocument/2006/relationships/tags" Target="../tags/tag1334.xml"/><Relationship Id="rId355" Type="http://schemas.openxmlformats.org/officeDocument/2006/relationships/tags" Target="../tags/tag1355.xml"/><Relationship Id="rId4" Type="http://schemas.openxmlformats.org/officeDocument/2006/relationships/tags" Target="../tags/tag1004.xml"/><Relationship Id="rId180" Type="http://schemas.openxmlformats.org/officeDocument/2006/relationships/tags" Target="../tags/tag1180.xml"/><Relationship Id="rId215" Type="http://schemas.openxmlformats.org/officeDocument/2006/relationships/tags" Target="../tags/tag1215.xml"/><Relationship Id="rId236" Type="http://schemas.openxmlformats.org/officeDocument/2006/relationships/tags" Target="../tags/tag1236.xml"/><Relationship Id="rId257" Type="http://schemas.openxmlformats.org/officeDocument/2006/relationships/tags" Target="../tags/tag1257.xml"/><Relationship Id="rId278" Type="http://schemas.openxmlformats.org/officeDocument/2006/relationships/tags" Target="../tags/tag1278.xml"/><Relationship Id="rId303" Type="http://schemas.openxmlformats.org/officeDocument/2006/relationships/tags" Target="../tags/tag1303.xml"/><Relationship Id="rId42" Type="http://schemas.openxmlformats.org/officeDocument/2006/relationships/tags" Target="../tags/tag1042.xml"/><Relationship Id="rId84" Type="http://schemas.openxmlformats.org/officeDocument/2006/relationships/tags" Target="../tags/tag1084.xml"/><Relationship Id="rId138" Type="http://schemas.openxmlformats.org/officeDocument/2006/relationships/tags" Target="../tags/tag1138.xml"/><Relationship Id="rId345" Type="http://schemas.openxmlformats.org/officeDocument/2006/relationships/tags" Target="../tags/tag1345.xml"/><Relationship Id="rId191" Type="http://schemas.openxmlformats.org/officeDocument/2006/relationships/tags" Target="../tags/tag1191.xml"/><Relationship Id="rId205" Type="http://schemas.openxmlformats.org/officeDocument/2006/relationships/tags" Target="../tags/tag1205.xml"/><Relationship Id="rId247" Type="http://schemas.openxmlformats.org/officeDocument/2006/relationships/tags" Target="../tags/tag1247.xml"/><Relationship Id="rId107" Type="http://schemas.openxmlformats.org/officeDocument/2006/relationships/tags" Target="../tags/tag1107.xml"/><Relationship Id="rId289" Type="http://schemas.openxmlformats.org/officeDocument/2006/relationships/tags" Target="../tags/tag1289.xml"/><Relationship Id="rId11" Type="http://schemas.openxmlformats.org/officeDocument/2006/relationships/tags" Target="../tags/tag1011.xml"/><Relationship Id="rId53" Type="http://schemas.openxmlformats.org/officeDocument/2006/relationships/tags" Target="../tags/tag1053.xml"/><Relationship Id="rId149" Type="http://schemas.openxmlformats.org/officeDocument/2006/relationships/tags" Target="../tags/tag1149.xml"/><Relationship Id="rId314" Type="http://schemas.openxmlformats.org/officeDocument/2006/relationships/tags" Target="../tags/tag1314.xml"/><Relationship Id="rId356" Type="http://schemas.openxmlformats.org/officeDocument/2006/relationships/tags" Target="../tags/tag1356.xml"/><Relationship Id="rId95" Type="http://schemas.openxmlformats.org/officeDocument/2006/relationships/tags" Target="../tags/tag1095.xml"/><Relationship Id="rId160" Type="http://schemas.openxmlformats.org/officeDocument/2006/relationships/tags" Target="../tags/tag1160.xml"/><Relationship Id="rId216" Type="http://schemas.openxmlformats.org/officeDocument/2006/relationships/tags" Target="../tags/tag1216.xml"/><Relationship Id="rId258" Type="http://schemas.openxmlformats.org/officeDocument/2006/relationships/tags" Target="../tags/tag1258.xml"/><Relationship Id="rId22" Type="http://schemas.openxmlformats.org/officeDocument/2006/relationships/tags" Target="../tags/tag1022.xml"/><Relationship Id="rId64" Type="http://schemas.openxmlformats.org/officeDocument/2006/relationships/tags" Target="../tags/tag1064.xml"/><Relationship Id="rId118" Type="http://schemas.openxmlformats.org/officeDocument/2006/relationships/tags" Target="../tags/tag1118.xml"/><Relationship Id="rId325" Type="http://schemas.openxmlformats.org/officeDocument/2006/relationships/tags" Target="../tags/tag1325.xml"/><Relationship Id="rId367" Type="http://schemas.openxmlformats.org/officeDocument/2006/relationships/image" Target="../media/image31.png"/><Relationship Id="rId171" Type="http://schemas.openxmlformats.org/officeDocument/2006/relationships/tags" Target="../tags/tag1171.xml"/><Relationship Id="rId227" Type="http://schemas.openxmlformats.org/officeDocument/2006/relationships/tags" Target="../tags/tag1227.xml"/><Relationship Id="rId269" Type="http://schemas.openxmlformats.org/officeDocument/2006/relationships/tags" Target="../tags/tag1269.xml"/><Relationship Id="rId33" Type="http://schemas.openxmlformats.org/officeDocument/2006/relationships/tags" Target="../tags/tag1033.xml"/><Relationship Id="rId129" Type="http://schemas.openxmlformats.org/officeDocument/2006/relationships/tags" Target="../tags/tag1129.xml"/><Relationship Id="rId280" Type="http://schemas.openxmlformats.org/officeDocument/2006/relationships/tags" Target="../tags/tag1280.xml"/><Relationship Id="rId336" Type="http://schemas.openxmlformats.org/officeDocument/2006/relationships/tags" Target="../tags/tag1336.xml"/><Relationship Id="rId75" Type="http://schemas.openxmlformats.org/officeDocument/2006/relationships/tags" Target="../tags/tag1075.xml"/><Relationship Id="rId140" Type="http://schemas.openxmlformats.org/officeDocument/2006/relationships/tags" Target="../tags/tag1140.xml"/><Relationship Id="rId182" Type="http://schemas.openxmlformats.org/officeDocument/2006/relationships/tags" Target="../tags/tag1182.xml"/><Relationship Id="rId6" Type="http://schemas.openxmlformats.org/officeDocument/2006/relationships/tags" Target="../tags/tag1006.xml"/><Relationship Id="rId238" Type="http://schemas.openxmlformats.org/officeDocument/2006/relationships/tags" Target="../tags/tag1238.xml"/><Relationship Id="rId291" Type="http://schemas.openxmlformats.org/officeDocument/2006/relationships/tags" Target="../tags/tag1291.xml"/><Relationship Id="rId305" Type="http://schemas.openxmlformats.org/officeDocument/2006/relationships/tags" Target="../tags/tag1305.xml"/><Relationship Id="rId347" Type="http://schemas.openxmlformats.org/officeDocument/2006/relationships/tags" Target="../tags/tag1347.xml"/><Relationship Id="rId44" Type="http://schemas.openxmlformats.org/officeDocument/2006/relationships/tags" Target="../tags/tag1044.xml"/><Relationship Id="rId86" Type="http://schemas.openxmlformats.org/officeDocument/2006/relationships/tags" Target="../tags/tag1086.xml"/><Relationship Id="rId151" Type="http://schemas.openxmlformats.org/officeDocument/2006/relationships/tags" Target="../tags/tag1151.xml"/><Relationship Id="rId193" Type="http://schemas.openxmlformats.org/officeDocument/2006/relationships/tags" Target="../tags/tag1193.xml"/><Relationship Id="rId207" Type="http://schemas.openxmlformats.org/officeDocument/2006/relationships/tags" Target="../tags/tag1207.xml"/><Relationship Id="rId249" Type="http://schemas.openxmlformats.org/officeDocument/2006/relationships/tags" Target="../tags/tag1249.xml"/><Relationship Id="rId13" Type="http://schemas.openxmlformats.org/officeDocument/2006/relationships/tags" Target="../tags/tag1013.xml"/><Relationship Id="rId109" Type="http://schemas.openxmlformats.org/officeDocument/2006/relationships/tags" Target="../tags/tag1109.xml"/><Relationship Id="rId260" Type="http://schemas.openxmlformats.org/officeDocument/2006/relationships/tags" Target="../tags/tag1260.xml"/><Relationship Id="rId316" Type="http://schemas.openxmlformats.org/officeDocument/2006/relationships/tags" Target="../tags/tag1316.xml"/><Relationship Id="rId55" Type="http://schemas.openxmlformats.org/officeDocument/2006/relationships/tags" Target="../tags/tag1055.xml"/><Relationship Id="rId97" Type="http://schemas.openxmlformats.org/officeDocument/2006/relationships/tags" Target="../tags/tag1097.xml"/><Relationship Id="rId120" Type="http://schemas.openxmlformats.org/officeDocument/2006/relationships/tags" Target="../tags/tag1120.xml"/><Relationship Id="rId358" Type="http://schemas.openxmlformats.org/officeDocument/2006/relationships/tags" Target="../tags/tag1358.xml"/><Relationship Id="rId162" Type="http://schemas.openxmlformats.org/officeDocument/2006/relationships/tags" Target="../tags/tag1162.xml"/><Relationship Id="rId218" Type="http://schemas.openxmlformats.org/officeDocument/2006/relationships/tags" Target="../tags/tag1218.xml"/><Relationship Id="rId271" Type="http://schemas.openxmlformats.org/officeDocument/2006/relationships/tags" Target="../tags/tag1271.xml"/><Relationship Id="rId24" Type="http://schemas.openxmlformats.org/officeDocument/2006/relationships/tags" Target="../tags/tag1024.xml"/><Relationship Id="rId66" Type="http://schemas.openxmlformats.org/officeDocument/2006/relationships/tags" Target="../tags/tag1066.xml"/><Relationship Id="rId131" Type="http://schemas.openxmlformats.org/officeDocument/2006/relationships/tags" Target="../tags/tag1131.xml"/><Relationship Id="rId327" Type="http://schemas.openxmlformats.org/officeDocument/2006/relationships/tags" Target="../tags/tag1327.xml"/><Relationship Id="rId173" Type="http://schemas.openxmlformats.org/officeDocument/2006/relationships/tags" Target="../tags/tag1173.xml"/><Relationship Id="rId229" Type="http://schemas.openxmlformats.org/officeDocument/2006/relationships/tags" Target="../tags/tag1229.xml"/><Relationship Id="rId240" Type="http://schemas.openxmlformats.org/officeDocument/2006/relationships/tags" Target="../tags/tag1240.xml"/><Relationship Id="rId35" Type="http://schemas.openxmlformats.org/officeDocument/2006/relationships/tags" Target="../tags/tag1035.xml"/><Relationship Id="rId77" Type="http://schemas.openxmlformats.org/officeDocument/2006/relationships/tags" Target="../tags/tag1077.xml"/><Relationship Id="rId100" Type="http://schemas.openxmlformats.org/officeDocument/2006/relationships/tags" Target="../tags/tag1100.xml"/><Relationship Id="rId282" Type="http://schemas.openxmlformats.org/officeDocument/2006/relationships/tags" Target="../tags/tag1282.xml"/><Relationship Id="rId338" Type="http://schemas.openxmlformats.org/officeDocument/2006/relationships/tags" Target="../tags/tag1338.xml"/><Relationship Id="rId8" Type="http://schemas.openxmlformats.org/officeDocument/2006/relationships/tags" Target="../tags/tag1008.xml"/><Relationship Id="rId142" Type="http://schemas.openxmlformats.org/officeDocument/2006/relationships/tags" Target="../tags/tag1142.xml"/><Relationship Id="rId184" Type="http://schemas.openxmlformats.org/officeDocument/2006/relationships/tags" Target="../tags/tag1184.xml"/><Relationship Id="rId251" Type="http://schemas.openxmlformats.org/officeDocument/2006/relationships/tags" Target="../tags/tag1251.xml"/><Relationship Id="rId46" Type="http://schemas.openxmlformats.org/officeDocument/2006/relationships/tags" Target="../tags/tag1046.xml"/><Relationship Id="rId293" Type="http://schemas.openxmlformats.org/officeDocument/2006/relationships/tags" Target="../tags/tag1293.xml"/><Relationship Id="rId307" Type="http://schemas.openxmlformats.org/officeDocument/2006/relationships/tags" Target="../tags/tag1307.xml"/><Relationship Id="rId349" Type="http://schemas.openxmlformats.org/officeDocument/2006/relationships/tags" Target="../tags/tag1349.xml"/><Relationship Id="rId88" Type="http://schemas.openxmlformats.org/officeDocument/2006/relationships/tags" Target="../tags/tag1088.xml"/><Relationship Id="rId111" Type="http://schemas.openxmlformats.org/officeDocument/2006/relationships/tags" Target="../tags/tag1111.xml"/><Relationship Id="rId153" Type="http://schemas.openxmlformats.org/officeDocument/2006/relationships/tags" Target="../tags/tag1153.xml"/><Relationship Id="rId195" Type="http://schemas.openxmlformats.org/officeDocument/2006/relationships/tags" Target="../tags/tag1195.xml"/><Relationship Id="rId209" Type="http://schemas.openxmlformats.org/officeDocument/2006/relationships/tags" Target="../tags/tag1209.xml"/><Relationship Id="rId360" Type="http://schemas.openxmlformats.org/officeDocument/2006/relationships/tags" Target="../tags/tag1360.xml"/></Relationships>
</file>

<file path=ppt/slides/_rels/slide1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62.xml"/><Relationship Id="rId7" Type="http://schemas.openxmlformats.org/officeDocument/2006/relationships/image" Target="../media/image1.emf"/><Relationship Id="rId2" Type="http://schemas.openxmlformats.org/officeDocument/2006/relationships/tags" Target="../tags/tag136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12.png"/><Relationship Id="rId3" Type="http://schemas.openxmlformats.org/officeDocument/2006/relationships/tags" Target="../tags/tag1364.xml"/><Relationship Id="rId7" Type="http://schemas.openxmlformats.org/officeDocument/2006/relationships/notesSlide" Target="../notesSlides/notesSlide11.xml"/><Relationship Id="rId12" Type="http://schemas.openxmlformats.org/officeDocument/2006/relationships/image" Target="../media/image41.jpeg"/><Relationship Id="rId2" Type="http://schemas.openxmlformats.org/officeDocument/2006/relationships/tags" Target="../tags/tag1363.xml"/><Relationship Id="rId1" Type="http://schemas.openxmlformats.org/officeDocument/2006/relationships/vmlDrawing" Target="../drawings/vmlDrawing23.vml"/><Relationship Id="rId6" Type="http://schemas.openxmlformats.org/officeDocument/2006/relationships/slideLayout" Target="../slideLayouts/slideLayout48.xml"/><Relationship Id="rId11" Type="http://schemas.openxmlformats.org/officeDocument/2006/relationships/image" Target="../media/image43.svg"/><Relationship Id="rId5" Type="http://schemas.openxmlformats.org/officeDocument/2006/relationships/tags" Target="../tags/tag1366.xml"/><Relationship Id="rId10" Type="http://schemas.openxmlformats.org/officeDocument/2006/relationships/image" Target="../media/image40.png"/><Relationship Id="rId4" Type="http://schemas.openxmlformats.org/officeDocument/2006/relationships/tags" Target="../tags/tag1365.xml"/><Relationship Id="rId9" Type="http://schemas.openxmlformats.org/officeDocument/2006/relationships/image" Target="../media/image1.emf"/><Relationship Id="rId14"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68.xml"/><Relationship Id="rId7" Type="http://schemas.openxmlformats.org/officeDocument/2006/relationships/image" Target="../media/image42.emf"/><Relationship Id="rId2" Type="http://schemas.openxmlformats.org/officeDocument/2006/relationships/tags" Target="../tags/tag136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2.xml"/><Relationship Id="rId4" Type="http://schemas.openxmlformats.org/officeDocument/2006/relationships/slideLayout" Target="../slideLayouts/slideLayout229.xml"/></Relationships>
</file>

<file path=ppt/slides/_rels/slide1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Layout" Target="../slideLayouts/slideLayout229.xml"/><Relationship Id="rId1" Type="http://schemas.openxmlformats.org/officeDocument/2006/relationships/tags" Target="../tags/tag1369.xml"/><Relationship Id="rId5" Type="http://schemas.openxmlformats.org/officeDocument/2006/relationships/image" Target="../media/image31.png"/><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517.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slideLayout" Target="../slideLayouts/slideLayout229.xml"/><Relationship Id="rId1" Type="http://schemas.openxmlformats.org/officeDocument/2006/relationships/tags" Target="../tags/tag1370.xml"/><Relationship Id="rId5" Type="http://schemas.openxmlformats.org/officeDocument/2006/relationships/image" Target="../media/image31.png"/><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9.xml"/><Relationship Id="rId1" Type="http://schemas.openxmlformats.org/officeDocument/2006/relationships/tags" Target="../tags/tag1371.xml"/><Relationship Id="rId6" Type="http://schemas.openxmlformats.org/officeDocument/2006/relationships/image" Target="../media/image31.png"/><Relationship Id="rId5" Type="http://schemas.openxmlformats.org/officeDocument/2006/relationships/image" Target="../media/image46.png"/><Relationship Id="rId4" Type="http://schemas.openxmlformats.org/officeDocument/2006/relationships/image" Target="../media/image43.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1.xml"/><Relationship Id="rId1" Type="http://schemas.openxmlformats.org/officeDocument/2006/relationships/tags" Target="../tags/tag1372.xml"/><Relationship Id="rId6" Type="http://schemas.openxmlformats.org/officeDocument/2006/relationships/image" Target="../media/image31.png"/><Relationship Id="rId5" Type="http://schemas.openxmlformats.org/officeDocument/2006/relationships/image" Target="../media/image43.jpeg"/><Relationship Id="rId4" Type="http://schemas.openxmlformats.org/officeDocument/2006/relationships/image" Target="../media/image47.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31.xml"/><Relationship Id="rId1" Type="http://schemas.openxmlformats.org/officeDocument/2006/relationships/tags" Target="../tags/tag1373.xml"/><Relationship Id="rId6" Type="http://schemas.openxmlformats.org/officeDocument/2006/relationships/image" Target="../media/image31.png"/><Relationship Id="rId5" Type="http://schemas.openxmlformats.org/officeDocument/2006/relationships/image" Target="../media/image43.jpeg"/><Relationship Id="rId4" Type="http://schemas.openxmlformats.org/officeDocument/2006/relationships/image" Target="../media/image4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31.png"/><Relationship Id="rId2" Type="http://schemas.openxmlformats.org/officeDocument/2006/relationships/slideLayout" Target="../slideLayouts/slideLayout231.xml"/><Relationship Id="rId1" Type="http://schemas.openxmlformats.org/officeDocument/2006/relationships/tags" Target="../tags/tag1374.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3.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1.xml"/><Relationship Id="rId1" Type="http://schemas.openxmlformats.org/officeDocument/2006/relationships/tags" Target="../tags/tag1375.xml"/><Relationship Id="rId6" Type="http://schemas.openxmlformats.org/officeDocument/2006/relationships/image" Target="../media/image31.png"/><Relationship Id="rId5" Type="http://schemas.openxmlformats.org/officeDocument/2006/relationships/image" Target="../media/image51.emf"/><Relationship Id="rId4" Type="http://schemas.openxmlformats.org/officeDocument/2006/relationships/image" Target="../media/image43.jpeg"/></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377.xml"/><Relationship Id="rId7" Type="http://schemas.openxmlformats.org/officeDocument/2006/relationships/oleObject" Target="../embeddings/oleObject25.bin"/><Relationship Id="rId2" Type="http://schemas.openxmlformats.org/officeDocument/2006/relationships/tags" Target="../tags/tag1376.xml"/><Relationship Id="rId1" Type="http://schemas.openxmlformats.org/officeDocument/2006/relationships/vmlDrawing" Target="../drawings/vmlDrawing25.vml"/><Relationship Id="rId6" Type="http://schemas.openxmlformats.org/officeDocument/2006/relationships/notesSlide" Target="../notesSlides/notesSlide18.xml"/><Relationship Id="rId5" Type="http://schemas.openxmlformats.org/officeDocument/2006/relationships/slideLayout" Target="../slideLayouts/slideLayout229.xml"/><Relationship Id="rId10" Type="http://schemas.openxmlformats.org/officeDocument/2006/relationships/image" Target="../media/image31.png"/><Relationship Id="rId4" Type="http://schemas.openxmlformats.org/officeDocument/2006/relationships/tags" Target="../tags/tag1378.xml"/><Relationship Id="rId9"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tags" Target="../tags/tag1380.xml"/><Relationship Id="rId7" Type="http://schemas.openxmlformats.org/officeDocument/2006/relationships/image" Target="../media/image31.png"/><Relationship Id="rId2" Type="http://schemas.openxmlformats.org/officeDocument/2006/relationships/tags" Target="../tags/tag1379.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69.xml"/></Relationships>
</file>

<file path=ppt/slides/_rels/slide28.xml.rels><?xml version="1.0" encoding="UTF-8" standalone="yes"?>
<Relationships xmlns="http://schemas.openxmlformats.org/package/2006/relationships"><Relationship Id="rId8" Type="http://schemas.openxmlformats.org/officeDocument/2006/relationships/image" Target="../media/image38.emf"/><Relationship Id="rId13" Type="http://schemas.openxmlformats.org/officeDocument/2006/relationships/image" Target="../media/image56.png"/><Relationship Id="rId3" Type="http://schemas.openxmlformats.org/officeDocument/2006/relationships/tags" Target="../tags/tag1382.xml"/><Relationship Id="rId7" Type="http://schemas.openxmlformats.org/officeDocument/2006/relationships/oleObject" Target="../embeddings/oleObject27.bin"/><Relationship Id="rId12" Type="http://schemas.openxmlformats.org/officeDocument/2006/relationships/image" Target="../media/image55.png"/><Relationship Id="rId17" Type="http://schemas.openxmlformats.org/officeDocument/2006/relationships/image" Target="../media/image31.png"/><Relationship Id="rId2" Type="http://schemas.openxmlformats.org/officeDocument/2006/relationships/tags" Target="../tags/tag1381.xml"/><Relationship Id="rId16" Type="http://schemas.openxmlformats.org/officeDocument/2006/relationships/image" Target="../media/image12.png"/><Relationship Id="rId1" Type="http://schemas.openxmlformats.org/officeDocument/2006/relationships/vmlDrawing" Target="../drawings/vmlDrawing27.vml"/><Relationship Id="rId6" Type="http://schemas.openxmlformats.org/officeDocument/2006/relationships/notesSlide" Target="../notesSlides/notesSlide19.xml"/><Relationship Id="rId11" Type="http://schemas.openxmlformats.org/officeDocument/2006/relationships/image" Target="../media/image54.png"/><Relationship Id="rId5" Type="http://schemas.openxmlformats.org/officeDocument/2006/relationships/slideLayout" Target="../slideLayouts/slideLayout113.xml"/><Relationship Id="rId15" Type="http://schemas.openxmlformats.org/officeDocument/2006/relationships/image" Target="../media/image61.svg"/><Relationship Id="rId10" Type="http://schemas.openxmlformats.org/officeDocument/2006/relationships/image" Target="../media/image53.png"/><Relationship Id="rId4" Type="http://schemas.openxmlformats.org/officeDocument/2006/relationships/tags" Target="../tags/tag1383.xml"/><Relationship Id="rId9" Type="http://schemas.openxmlformats.org/officeDocument/2006/relationships/image" Target="../media/image52.png"/><Relationship Id="rId14" Type="http://schemas.openxmlformats.org/officeDocument/2006/relationships/image" Target="../media/image57.png"/></Relationships>
</file>

<file path=ppt/slides/_rels/slide29.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385.xml"/><Relationship Id="rId7" Type="http://schemas.openxmlformats.org/officeDocument/2006/relationships/oleObject" Target="../embeddings/oleObject28.bin"/><Relationship Id="rId2" Type="http://schemas.openxmlformats.org/officeDocument/2006/relationships/tags" Target="../tags/tag1384.xml"/><Relationship Id="rId1" Type="http://schemas.openxmlformats.org/officeDocument/2006/relationships/vmlDrawing" Target="../drawings/vmlDrawing28.vml"/><Relationship Id="rId6" Type="http://schemas.openxmlformats.org/officeDocument/2006/relationships/notesSlide" Target="../notesSlides/notesSlide20.xml"/><Relationship Id="rId5" Type="http://schemas.openxmlformats.org/officeDocument/2006/relationships/slideLayout" Target="../slideLayouts/slideLayout319.xml"/><Relationship Id="rId10" Type="http://schemas.openxmlformats.org/officeDocument/2006/relationships/image" Target="../media/image58.png"/><Relationship Id="rId4" Type="http://schemas.openxmlformats.org/officeDocument/2006/relationships/tags" Target="../tags/tag1386.xml"/><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504.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tags" Target="../tags/tag1388.xml"/><Relationship Id="rId7" Type="http://schemas.openxmlformats.org/officeDocument/2006/relationships/image" Target="../media/image31.png"/><Relationship Id="rId2" Type="http://schemas.openxmlformats.org/officeDocument/2006/relationships/tags" Target="../tags/tag138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320.xml"/></Relationships>
</file>

<file path=ppt/slides/_rels/slide3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1390.xml"/><Relationship Id="rId7" Type="http://schemas.openxmlformats.org/officeDocument/2006/relationships/image" Target="../media/image12.png"/><Relationship Id="rId2" Type="http://schemas.openxmlformats.org/officeDocument/2006/relationships/tags" Target="../tags/tag138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Layout" Target="../slideLayouts/slideLayout319.xml"/></Relationships>
</file>

<file path=ppt/slides/_rels/slide3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1392.xml"/><Relationship Id="rId7" Type="http://schemas.openxmlformats.org/officeDocument/2006/relationships/image" Target="../media/image42.emf"/><Relationship Id="rId2" Type="http://schemas.openxmlformats.org/officeDocument/2006/relationships/tags" Target="../tags/tag139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1.xml"/><Relationship Id="rId4" Type="http://schemas.openxmlformats.org/officeDocument/2006/relationships/slideLayout" Target="../slideLayouts/slideLayout321.xml"/></Relationships>
</file>

<file path=ppt/slides/_rels/slide33.xml.rels><?xml version="1.0" encoding="UTF-8" standalone="yes"?>
<Relationships xmlns="http://schemas.openxmlformats.org/package/2006/relationships"><Relationship Id="rId3" Type="http://schemas.openxmlformats.org/officeDocument/2006/relationships/tags" Target="../tags/tag1394.xml"/><Relationship Id="rId7" Type="http://schemas.openxmlformats.org/officeDocument/2006/relationships/image" Target="../media/image31.png"/><Relationship Id="rId2" Type="http://schemas.openxmlformats.org/officeDocument/2006/relationships/tags" Target="../tags/tag1393.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slideLayout" Target="../slideLayouts/slideLayout32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09.xml"/><Relationship Id="rId7" Type="http://schemas.openxmlformats.org/officeDocument/2006/relationships/image" Target="../media/image31.png"/><Relationship Id="rId2" Type="http://schemas.openxmlformats.org/officeDocument/2006/relationships/tags" Target="../tags/tag1395.xml"/><Relationship Id="rId1" Type="http://schemas.openxmlformats.org/officeDocument/2006/relationships/vmlDrawing" Target="../drawings/vmlDrawing33.vml"/><Relationship Id="rId6" Type="http://schemas.openxmlformats.org/officeDocument/2006/relationships/image" Target="../media/image42.emf"/><Relationship Id="rId5" Type="http://schemas.openxmlformats.org/officeDocument/2006/relationships/oleObject" Target="../embeddings/oleObject33.bin"/><Relationship Id="rId4" Type="http://schemas.openxmlformats.org/officeDocument/2006/relationships/notesSlide" Target="../notesSlides/notesSlide22.xml"/></Relationships>
</file>

<file path=ppt/slides/_rels/slide35.xml.rels><?xml version="1.0" encoding="UTF-8" standalone="yes"?>
<Relationships xmlns="http://schemas.openxmlformats.org/package/2006/relationships"><Relationship Id="rId3" Type="http://schemas.openxmlformats.org/officeDocument/2006/relationships/tags" Target="../tags/tag1397.xml"/><Relationship Id="rId7" Type="http://schemas.openxmlformats.org/officeDocument/2006/relationships/image" Target="../media/image31.png"/><Relationship Id="rId2" Type="http://schemas.openxmlformats.org/officeDocument/2006/relationships/tags" Target="../tags/tag1396.xml"/><Relationship Id="rId1" Type="http://schemas.openxmlformats.org/officeDocument/2006/relationships/vmlDrawing" Target="../drawings/vmlDrawing34.vml"/><Relationship Id="rId6" Type="http://schemas.openxmlformats.org/officeDocument/2006/relationships/image" Target="../media/image11.emf"/><Relationship Id="rId5" Type="http://schemas.openxmlformats.org/officeDocument/2006/relationships/oleObject" Target="../embeddings/oleObject34.bin"/><Relationship Id="rId4" Type="http://schemas.openxmlformats.org/officeDocument/2006/relationships/slideLayout" Target="../slideLayouts/slideLayout322.xml"/></Relationships>
</file>

<file path=ppt/slides/_rels/slide3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99.xml"/><Relationship Id="rId7" Type="http://schemas.openxmlformats.org/officeDocument/2006/relationships/image" Target="../media/image42.emf"/><Relationship Id="rId2" Type="http://schemas.openxmlformats.org/officeDocument/2006/relationships/tags" Target="../tags/tag139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23.xml"/><Relationship Id="rId4" Type="http://schemas.openxmlformats.org/officeDocument/2006/relationships/slideLayout" Target="../slideLayouts/slideLayout323.xml"/></Relationships>
</file>

<file path=ppt/slides/_rels/slide37.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tags" Target="../tags/tag1401.xml"/><Relationship Id="rId7" Type="http://schemas.openxmlformats.org/officeDocument/2006/relationships/image" Target="../media/image11.emf"/><Relationship Id="rId2" Type="http://schemas.openxmlformats.org/officeDocument/2006/relationships/tags" Target="../tags/tag140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Layout" Target="../slideLayouts/slideLayout324.xml"/><Relationship Id="rId4" Type="http://schemas.openxmlformats.org/officeDocument/2006/relationships/tags" Target="../tags/tag1402.xml"/><Relationship Id="rId9" Type="http://schemas.openxmlformats.org/officeDocument/2006/relationships/image" Target="../media/image31.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25.xml"/><Relationship Id="rId7" Type="http://schemas.openxmlformats.org/officeDocument/2006/relationships/image" Target="../media/image31.png"/><Relationship Id="rId2" Type="http://schemas.openxmlformats.org/officeDocument/2006/relationships/tags" Target="../tags/tag1403.xml"/><Relationship Id="rId1" Type="http://schemas.openxmlformats.org/officeDocument/2006/relationships/vmlDrawing" Target="../drawings/vmlDrawing37.vml"/><Relationship Id="rId6" Type="http://schemas.openxmlformats.org/officeDocument/2006/relationships/image" Target="../media/image62.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3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tags" Target="../tags/tag1405.xml"/><Relationship Id="rId7" Type="http://schemas.openxmlformats.org/officeDocument/2006/relationships/image" Target="../media/image42.emf"/><Relationship Id="rId2" Type="http://schemas.openxmlformats.org/officeDocument/2006/relationships/tags" Target="../tags/tag1404.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5.xml"/><Relationship Id="rId4" Type="http://schemas.openxmlformats.org/officeDocument/2006/relationships/slideLayout" Target="../slideLayouts/slideLayout321.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05.xml"/><Relationship Id="rId5" Type="http://schemas.openxmlformats.org/officeDocument/2006/relationships/image" Target="../media/image24.png"/><Relationship Id="rId4" Type="http://schemas.openxmlformats.org/officeDocument/2006/relationships/image" Target="../media/image20.png"/></Relationships>
</file>

<file path=ppt/slides/_rels/slide40.xml.rels><?xml version="1.0" encoding="UTF-8" standalone="yes"?>
<Relationships xmlns="http://schemas.openxmlformats.org/package/2006/relationships"><Relationship Id="rId3" Type="http://schemas.openxmlformats.org/officeDocument/2006/relationships/tags" Target="../tags/tag1407.xml"/><Relationship Id="rId7" Type="http://schemas.openxmlformats.org/officeDocument/2006/relationships/image" Target="../media/image31.png"/><Relationship Id="rId2" Type="http://schemas.openxmlformats.org/officeDocument/2006/relationships/tags" Target="../tags/tag1406.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slideLayout" Target="../slideLayouts/slideLayout322.xml"/></Relationships>
</file>

<file path=ppt/slides/_rels/slide41.xml.rels><?xml version="1.0" encoding="UTF-8" standalone="yes"?>
<Relationships xmlns="http://schemas.openxmlformats.org/package/2006/relationships"><Relationship Id="rId3" Type="http://schemas.openxmlformats.org/officeDocument/2006/relationships/tags" Target="../tags/tag1409.xml"/><Relationship Id="rId7" Type="http://schemas.openxmlformats.org/officeDocument/2006/relationships/image" Target="../media/image31.png"/><Relationship Id="rId2" Type="http://schemas.openxmlformats.org/officeDocument/2006/relationships/tags" Target="../tags/tag1408.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Layout" Target="../slideLayouts/slideLayout322.xml"/></Relationships>
</file>

<file path=ppt/slides/_rels/slide42.xml.rels><?xml version="1.0" encoding="UTF-8" standalone="yes"?>
<Relationships xmlns="http://schemas.openxmlformats.org/package/2006/relationships"><Relationship Id="rId3" Type="http://schemas.openxmlformats.org/officeDocument/2006/relationships/tags" Target="../tags/tag1411.xml"/><Relationship Id="rId7" Type="http://schemas.openxmlformats.org/officeDocument/2006/relationships/image" Target="../media/image63.png"/><Relationship Id="rId2" Type="http://schemas.openxmlformats.org/officeDocument/2006/relationships/tags" Target="../tags/tag141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Layout" Target="../slideLayouts/slideLayout303.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04.xml"/><Relationship Id="rId2" Type="http://schemas.openxmlformats.org/officeDocument/2006/relationships/tags" Target="../tags/tag1412.xml"/><Relationship Id="rId1" Type="http://schemas.openxmlformats.org/officeDocument/2006/relationships/vmlDrawing" Target="../drawings/vmlDrawing42.v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4.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414.xml"/><Relationship Id="rId7" Type="http://schemas.openxmlformats.org/officeDocument/2006/relationships/image" Target="../media/image64.jpeg"/><Relationship Id="rId2" Type="http://schemas.openxmlformats.org/officeDocument/2006/relationships/tags" Target="../tags/tag1413.xml"/><Relationship Id="rId1" Type="http://schemas.openxmlformats.org/officeDocument/2006/relationships/vmlDrawing" Target="../drawings/vmlDrawing43.vml"/><Relationship Id="rId6" Type="http://schemas.openxmlformats.org/officeDocument/2006/relationships/notesSlide" Target="../notesSlides/notesSlide26.xml"/><Relationship Id="rId11" Type="http://schemas.openxmlformats.org/officeDocument/2006/relationships/image" Target="../media/image63.png"/><Relationship Id="rId5" Type="http://schemas.openxmlformats.org/officeDocument/2006/relationships/slideLayout" Target="../slideLayouts/slideLayout307.xml"/><Relationship Id="rId10" Type="http://schemas.openxmlformats.org/officeDocument/2006/relationships/image" Target="../media/image5.png"/><Relationship Id="rId4" Type="http://schemas.openxmlformats.org/officeDocument/2006/relationships/tags" Target="../tags/tag1415.xml"/><Relationship Id="rId9" Type="http://schemas.openxmlformats.org/officeDocument/2006/relationships/image" Target="../media/image1.emf"/></Relationships>
</file>

<file path=ppt/slides/_rels/slide4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287.xml"/><Relationship Id="rId7" Type="http://schemas.openxmlformats.org/officeDocument/2006/relationships/image" Target="../media/image65.png"/><Relationship Id="rId12" Type="http://schemas.openxmlformats.org/officeDocument/2006/relationships/image" Target="../media/image31.png"/><Relationship Id="rId2" Type="http://schemas.openxmlformats.org/officeDocument/2006/relationships/tags" Target="../tags/tag1416.xml"/><Relationship Id="rId1" Type="http://schemas.openxmlformats.org/officeDocument/2006/relationships/vmlDrawing" Target="../drawings/vmlDrawing44.vml"/><Relationship Id="rId6" Type="http://schemas.openxmlformats.org/officeDocument/2006/relationships/image" Target="../media/image1.emf"/><Relationship Id="rId11" Type="http://schemas.openxmlformats.org/officeDocument/2006/relationships/image" Target="../media/image69.png"/><Relationship Id="rId5" Type="http://schemas.openxmlformats.org/officeDocument/2006/relationships/oleObject" Target="../embeddings/oleObject44.bin"/><Relationship Id="rId10" Type="http://schemas.openxmlformats.org/officeDocument/2006/relationships/image" Target="../media/image68.png"/><Relationship Id="rId4" Type="http://schemas.openxmlformats.org/officeDocument/2006/relationships/notesSlide" Target="../notesSlides/notesSlide27.xml"/><Relationship Id="rId9"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287.xml"/></Relationships>
</file>

<file path=ppt/slides/_rels/slide47.xml.rels><?xml version="1.0" encoding="UTF-8" standalone="yes"?>
<Relationships xmlns="http://schemas.openxmlformats.org/package/2006/relationships"><Relationship Id="rId3" Type="http://schemas.openxmlformats.org/officeDocument/2006/relationships/image" Target="../media/image70.emf"/><Relationship Id="rId2" Type="http://schemas.openxmlformats.org/officeDocument/2006/relationships/notesSlide" Target="../notesSlides/notesSlide29.xml"/><Relationship Id="rId1" Type="http://schemas.openxmlformats.org/officeDocument/2006/relationships/slideLayout" Target="../slideLayouts/slideLayout287.xml"/><Relationship Id="rId6" Type="http://schemas.openxmlformats.org/officeDocument/2006/relationships/image" Target="../media/image31.png"/><Relationship Id="rId5" Type="http://schemas.openxmlformats.org/officeDocument/2006/relationships/image" Target="../media/image73.svg"/><Relationship Id="rId4" Type="http://schemas.openxmlformats.org/officeDocument/2006/relationships/image" Target="../media/image71.png"/></Relationships>
</file>

<file path=ppt/slides/_rels/slide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0.xml"/><Relationship Id="rId1" Type="http://schemas.openxmlformats.org/officeDocument/2006/relationships/slideLayout" Target="../slideLayouts/slideLayout287.xml"/></Relationships>
</file>

<file path=ppt/slides/_rels/slide4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287.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Layout" Target="../slideLayouts/slideLayout505.xml"/></Relationships>
</file>

<file path=ppt/slides/_rels/slide5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05.xml"/><Relationship Id="rId5" Type="http://schemas.openxmlformats.org/officeDocument/2006/relationships/image" Target="../media/image77.png"/><Relationship Id="rId4"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05.xml"/><Relationship Id="rId4" Type="http://schemas.openxmlformats.org/officeDocument/2006/relationships/image" Target="../media/image77.png"/></Relationships>
</file>

<file path=ppt/slides/_rels/slide5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05.xml"/><Relationship Id="rId4" Type="http://schemas.openxmlformats.org/officeDocument/2006/relationships/image" Target="../media/image77.png"/></Relationships>
</file>

<file path=ppt/slides/_rels/slide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305.xml"/><Relationship Id="rId4" Type="http://schemas.openxmlformats.org/officeDocument/2006/relationships/image" Target="../media/image77.png"/></Relationships>
</file>

<file path=ppt/slides/_rels/slide5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305.xml"/><Relationship Id="rId4" Type="http://schemas.openxmlformats.org/officeDocument/2006/relationships/image" Target="../media/image77.png"/></Relationships>
</file>

<file path=ppt/slides/_rels/slide5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2.xml"/><Relationship Id="rId1" Type="http://schemas.openxmlformats.org/officeDocument/2006/relationships/slideLayout" Target="../slideLayouts/slideLayout306.xml"/><Relationship Id="rId5" Type="http://schemas.openxmlformats.org/officeDocument/2006/relationships/image" Target="../media/image88.png"/><Relationship Id="rId4" Type="http://schemas.openxmlformats.org/officeDocument/2006/relationships/image" Target="../media/image87.png"/></Relationships>
</file>

<file path=ppt/slides/_rels/slide56.xml.rels><?xml version="1.0" encoding="UTF-8" standalone="yes"?>
<Relationships xmlns="http://schemas.openxmlformats.org/package/2006/relationships"><Relationship Id="rId3" Type="http://schemas.openxmlformats.org/officeDocument/2006/relationships/tags" Target="../tags/tag1418.xml"/><Relationship Id="rId7" Type="http://schemas.openxmlformats.org/officeDocument/2006/relationships/image" Target="../media/image63.png"/><Relationship Id="rId2" Type="http://schemas.openxmlformats.org/officeDocument/2006/relationships/tags" Target="../tags/tag1417.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Layout" Target="../slideLayouts/slideLayout30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06.xml"/><Relationship Id="rId7" Type="http://schemas.openxmlformats.org/officeDocument/2006/relationships/image" Target="../media/image90.png"/><Relationship Id="rId2" Type="http://schemas.openxmlformats.org/officeDocument/2006/relationships/tags" Target="../tags/tag1419.xml"/><Relationship Id="rId1" Type="http://schemas.openxmlformats.org/officeDocument/2006/relationships/vmlDrawing" Target="../drawings/vmlDrawing46.vml"/><Relationship Id="rId6" Type="http://schemas.openxmlformats.org/officeDocument/2006/relationships/image" Target="../media/image89.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58.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6.svg"/><Relationship Id="rId3" Type="http://schemas.openxmlformats.org/officeDocument/2006/relationships/slideLayout" Target="../slideLayouts/slideLayout290.xml"/><Relationship Id="rId7" Type="http://schemas.openxmlformats.org/officeDocument/2006/relationships/image" Target="../media/image90.svg"/><Relationship Id="rId12" Type="http://schemas.openxmlformats.org/officeDocument/2006/relationships/image" Target="../media/image94.png"/><Relationship Id="rId2" Type="http://schemas.openxmlformats.org/officeDocument/2006/relationships/tags" Target="../tags/tag1420.xml"/><Relationship Id="rId16" Type="http://schemas.openxmlformats.org/officeDocument/2006/relationships/image" Target="../media/image87.png"/><Relationship Id="rId1" Type="http://schemas.openxmlformats.org/officeDocument/2006/relationships/vmlDrawing" Target="../drawings/vmlDrawing47.vml"/><Relationship Id="rId6" Type="http://schemas.openxmlformats.org/officeDocument/2006/relationships/image" Target="../media/image91.png"/><Relationship Id="rId11" Type="http://schemas.openxmlformats.org/officeDocument/2006/relationships/image" Target="../media/image94.svg"/><Relationship Id="rId5" Type="http://schemas.openxmlformats.org/officeDocument/2006/relationships/image" Target="../media/image1.emf"/><Relationship Id="rId15" Type="http://schemas.openxmlformats.org/officeDocument/2006/relationships/image" Target="../media/image98.svg"/><Relationship Id="rId10" Type="http://schemas.openxmlformats.org/officeDocument/2006/relationships/image" Target="../media/image93.png"/><Relationship Id="rId4" Type="http://schemas.openxmlformats.org/officeDocument/2006/relationships/oleObject" Target="../embeddings/oleObject47.bin"/><Relationship Id="rId9" Type="http://schemas.openxmlformats.org/officeDocument/2006/relationships/image" Target="../media/image92.svg"/><Relationship Id="rId14" Type="http://schemas.openxmlformats.org/officeDocument/2006/relationships/image" Target="../media/image95.png"/></Relationships>
</file>

<file path=ppt/slides/_rels/slide59.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tags" Target="../tags/tag1422.xml"/><Relationship Id="rId7" Type="http://schemas.openxmlformats.org/officeDocument/2006/relationships/image" Target="../media/image96.png"/><Relationship Id="rId2" Type="http://schemas.openxmlformats.org/officeDocument/2006/relationships/tags" Target="../tags/tag1421.xml"/><Relationship Id="rId1" Type="http://schemas.openxmlformats.org/officeDocument/2006/relationships/vmlDrawing" Target="../drawings/vmlDrawing48.vml"/><Relationship Id="rId6" Type="http://schemas.openxmlformats.org/officeDocument/2006/relationships/image" Target="../media/image29.emf"/><Relationship Id="rId5" Type="http://schemas.openxmlformats.org/officeDocument/2006/relationships/oleObject" Target="../embeddings/oleObject48.bin"/><Relationship Id="rId10" Type="http://schemas.openxmlformats.org/officeDocument/2006/relationships/image" Target="../media/image87.png"/><Relationship Id="rId4" Type="http://schemas.openxmlformats.org/officeDocument/2006/relationships/slideLayout" Target="../slideLayouts/slideLayout229.xml"/><Relationship Id="rId9" Type="http://schemas.openxmlformats.org/officeDocument/2006/relationships/image" Target="../media/image101.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10.xml"/><Relationship Id="rId5" Type="http://schemas.openxmlformats.org/officeDocument/2006/relationships/image" Target="../media/image26.emf"/><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10.xml"/><Relationship Id="rId5" Type="http://schemas.openxmlformats.org/officeDocument/2006/relationships/image" Target="../media/image27.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510.xml"/><Relationship Id="rId5" Type="http://schemas.openxmlformats.org/officeDocument/2006/relationships/image" Target="../media/image28.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50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47512" y="3581681"/>
            <a:ext cx="1512291" cy="1523438"/>
          </a:xfrm>
          <a:prstGeom prst="rect">
            <a:avLst/>
          </a:prstGeom>
        </p:spPr>
      </p:pic>
      <p:sp>
        <p:nvSpPr>
          <p:cNvPr id="5" name="Rectangle 168"/>
          <p:cNvSpPr>
            <a:spLocks noChangeArrowheads="1"/>
          </p:cNvSpPr>
          <p:nvPr/>
        </p:nvSpPr>
        <p:spPr bwMode="auto">
          <a:xfrm>
            <a:off x="27904" y="3733800"/>
            <a:ext cx="11174569"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0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pact of IFRS 17 on Reinsurance Business and Accounting</a:t>
            </a:r>
            <a:endParaRPr kumimoji="0" lang="en-US" altLang="en-US" sz="3000" b="1" i="0" u="none" strike="noStrike" kern="0" cap="none" spc="0" normalizeH="0" baseline="0" noProof="0" dirty="0">
              <a:ln>
                <a:noFill/>
              </a:ln>
              <a:solidFill>
                <a:srgbClr val="000000"/>
              </a:solidFill>
              <a:effectLst/>
              <a:uLnTx/>
              <a:uFillTx/>
              <a:latin typeface="Trebuchet MS" panose="020B0603020202020204" pitchFamily="34" charset="0"/>
              <a:ea typeface="+mn-ea"/>
              <a:cs typeface="Calibri" panose="020F0502020204030204" pitchFamily="34" charset="0"/>
            </a:endParaRPr>
          </a:p>
        </p:txBody>
      </p:sp>
      <p:sp>
        <p:nvSpPr>
          <p:cNvPr id="6" name="Rectangle 150"/>
          <p:cNvSpPr txBox="1">
            <a:spLocks noChangeArrowheads="1"/>
          </p:cNvSpPr>
          <p:nvPr/>
        </p:nvSpPr>
        <p:spPr>
          <a:xfrm>
            <a:off x="41813" y="381000"/>
            <a:ext cx="8263987" cy="27178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0" b="1"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rPr>
              <a:t>5</a:t>
            </a:r>
            <a:r>
              <a:rPr kumimoji="0" lang="en-US" altLang="en-US" sz="4000" b="1" i="0" u="none" strike="noStrike" kern="0" cap="none" spc="0" normalizeH="0" baseline="30000" noProof="0" dirty="0">
                <a:ln>
                  <a:noFill/>
                </a:ln>
                <a:solidFill>
                  <a:srgbClr val="FFFFFF"/>
                </a:solidFill>
                <a:effectLst/>
                <a:uLnTx/>
                <a:uFillTx/>
                <a:latin typeface="Calibri" panose="020F0502020204030204" pitchFamily="34" charset="0"/>
                <a:ea typeface="+mj-ea"/>
                <a:cs typeface="Calibri" panose="020F0502020204030204" pitchFamily="34" charset="0"/>
              </a:rPr>
              <a:t>th</a:t>
            </a:r>
            <a:r>
              <a:rPr kumimoji="0" lang="en-US" altLang="en-US" sz="4000" b="1"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rPr>
              <a:t> Webinar on General Insurance</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UY" altLang="en-US" sz="4000" b="1"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UY" altLang="en-US" sz="4000" b="0"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rPr>
              <a:t>26th August 2021</a:t>
            </a:r>
            <a:endParaRPr kumimoji="0" lang="es-UY" altLang="en-US" sz="4000" b="1"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 altLang="en-US" sz="4000" b="0" i="0" u="none" strike="noStrike" kern="0" cap="none" spc="0" normalizeH="0" baseline="0" noProof="0" dirty="0">
                <a:ln>
                  <a:noFill/>
                </a:ln>
                <a:solidFill>
                  <a:srgbClr val="FFFFFF"/>
                </a:solidFill>
                <a:effectLst/>
                <a:uLnTx/>
                <a:uFillTx/>
                <a:latin typeface="Calibri" panose="020F0502020204030204" pitchFamily="34" charset="0"/>
                <a:ea typeface="+mj-ea"/>
                <a:cs typeface="Calibri" panose="020F0502020204030204" pitchFamily="34" charset="0"/>
              </a:rPr>
              <a:t>1600 – 1800 IST </a:t>
            </a:r>
          </a:p>
        </p:txBody>
      </p:sp>
    </p:spTree>
    <p:extLst>
      <p:ext uri="{BB962C8B-B14F-4D97-AF65-F5344CB8AC3E}">
        <p14:creationId xmlns:p14="http://schemas.microsoft.com/office/powerpoint/2010/main" val="10226235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7E011823-F7CE-4B76-9BC8-3506D1844863}"/>
              </a:ext>
            </a:extLst>
          </p:cNvPr>
          <p:cNvPicPr>
            <a:picLocks/>
          </p:cNvPicPr>
          <p:nvPr>
            <p:custDataLst>
              <p:tags r:id="rId2"/>
            </p:custDataLst>
          </p:nvPr>
        </p:nvPicPr>
        <p:blipFill rotWithShape="1">
          <a:blip r:embed="rId6">
            <a:extLst>
              <a:ext uri="{28A0092B-C50C-407E-A947-70E740481C1C}">
                <a14:useLocalDpi xmlns:a14="http://schemas.microsoft.com/office/drawing/2010/main" val="0"/>
              </a:ext>
            </a:extLst>
          </a:blip>
          <a:srcRect l="31691" r="17718"/>
          <a:stretch/>
        </p:blipFill>
        <p:spPr bwMode="gray">
          <a:xfrm>
            <a:off x="6023992" y="0"/>
            <a:ext cx="6168008" cy="6858000"/>
          </a:xfrm>
          <a:prstGeom prst="rect">
            <a:avLst/>
          </a:prstGeom>
        </p:spPr>
      </p:pic>
      <p:graphicFrame>
        <p:nvGraphicFramePr>
          <p:cNvPr id="2" name="Object 1" hidden="1">
            <a:extLst>
              <a:ext uri="{FF2B5EF4-FFF2-40B4-BE49-F238E27FC236}">
                <a16:creationId xmlns:a16="http://schemas.microsoft.com/office/drawing/2014/main" xmlns="" id="{78936CB6-D304-48AA-BDE6-D8DEC808A5C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7" name="think-cell Slide" r:id="rId7" imgW="408" imgH="408" progId="TCLayout.ActiveDocument.1">
                  <p:embed/>
                </p:oleObj>
              </mc:Choice>
              <mc:Fallback>
                <p:oleObj name="think-cell Slide" r:id="rId7" imgW="408" imgH="408" progId="TCLayout.ActiveDocument.1">
                  <p:embed/>
                  <p:pic>
                    <p:nvPicPr>
                      <p:cNvPr id="2" name="Object 1" hidden="1">
                        <a:extLst>
                          <a:ext uri="{FF2B5EF4-FFF2-40B4-BE49-F238E27FC236}">
                            <a16:creationId xmlns:a16="http://schemas.microsoft.com/office/drawing/2014/main" xmlns="" id="{78936CB6-D304-48AA-BDE6-D8DEC808A5C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GB" b="1"/>
              <a:t>Agenda</a:t>
            </a:r>
          </a:p>
        </p:txBody>
      </p:sp>
      <p:pic>
        <p:nvPicPr>
          <p:cNvPr id="6" name="Picture 5">
            <a:extLst>
              <a:ext uri="{FF2B5EF4-FFF2-40B4-BE49-F238E27FC236}">
                <a16:creationId xmlns:a16="http://schemas.microsoft.com/office/drawing/2014/main" xmlns="" id="{0EADAB15-D2E7-404A-AAB2-A9B641D02C68}"/>
              </a:ext>
            </a:extLst>
          </p:cNvPr>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graphicFrame>
        <p:nvGraphicFramePr>
          <p:cNvPr id="9" name="Table 8">
            <a:extLst>
              <a:ext uri="{FF2B5EF4-FFF2-40B4-BE49-F238E27FC236}">
                <a16:creationId xmlns:a16="http://schemas.microsoft.com/office/drawing/2014/main" xmlns="" id="{42FEF3AE-0C3C-402F-A261-FF7046C48D8D}"/>
              </a:ext>
            </a:extLst>
          </p:cNvPr>
          <p:cNvGraphicFramePr>
            <a:graphicFrameLocks noGrp="1"/>
          </p:cNvGraphicFramePr>
          <p:nvPr>
            <p:extLst>
              <p:ext uri="{D42A27DB-BD31-4B8C-83A1-F6EECF244321}">
                <p14:modId xmlns:p14="http://schemas.microsoft.com/office/powerpoint/2010/main" val="730151900"/>
              </p:ext>
            </p:extLst>
          </p:nvPr>
        </p:nvGraphicFramePr>
        <p:xfrm>
          <a:off x="694694" y="1384798"/>
          <a:ext cx="4921252" cy="2928240"/>
        </p:xfrm>
        <a:graphic>
          <a:graphicData uri="http://schemas.openxmlformats.org/drawingml/2006/table">
            <a:tbl>
              <a:tblPr firstRow="1" bandRow="1">
                <a:tableStyleId>{2D5ABB26-0587-4C30-8999-92F81FD0307C}</a:tableStyleId>
              </a:tblPr>
              <a:tblGrid>
                <a:gridCol w="576139">
                  <a:extLst>
                    <a:ext uri="{9D8B030D-6E8A-4147-A177-3AD203B41FA5}">
                      <a16:colId xmlns:a16="http://schemas.microsoft.com/office/drawing/2014/main" xmlns="" val="985057816"/>
                    </a:ext>
                  </a:extLst>
                </a:gridCol>
                <a:gridCol w="4345113">
                  <a:extLst>
                    <a:ext uri="{9D8B030D-6E8A-4147-A177-3AD203B41FA5}">
                      <a16:colId xmlns:a16="http://schemas.microsoft.com/office/drawing/2014/main" xmlns="" val="766335261"/>
                    </a:ext>
                  </a:extLst>
                </a:gridCol>
              </a:tblGrid>
              <a:tr h="257201">
                <a:tc>
                  <a:txBody>
                    <a:bodyPr/>
                    <a:lstStyle/>
                    <a:p>
                      <a:r>
                        <a:rPr lang="en-AU" b="1" noProof="0">
                          <a:solidFill>
                            <a:schemeClr val="tx2"/>
                          </a:solidFill>
                          <a:latin typeface="+mn-lt"/>
                        </a:rPr>
                        <a:t>00</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noProof="0" dirty="0">
                          <a:solidFill>
                            <a:schemeClr val="tx2"/>
                          </a:solidFill>
                          <a:latin typeface="+mn-lt"/>
                        </a:rPr>
                        <a:t>Opening address</a:t>
                      </a:r>
                    </a:p>
                  </a:txBody>
                  <a:tcPr marT="72000" marB="72000" anchor="ctr"/>
                </a:tc>
                <a:extLst>
                  <a:ext uri="{0D108BD9-81ED-4DB2-BD59-A6C34878D82A}">
                    <a16:rowId xmlns:a16="http://schemas.microsoft.com/office/drawing/2014/main" xmlns="" val="3961238415"/>
                  </a:ext>
                </a:extLst>
              </a:tr>
              <a:tr h="257201">
                <a:tc>
                  <a:txBody>
                    <a:bodyPr/>
                    <a:lstStyle/>
                    <a:p>
                      <a:r>
                        <a:rPr lang="en-AU" b="1" noProof="0">
                          <a:solidFill>
                            <a:schemeClr val="tx2"/>
                          </a:solidFill>
                          <a:latin typeface="+mn-lt"/>
                        </a:rPr>
                        <a:t>01</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noProof="0">
                          <a:solidFill>
                            <a:schemeClr val="tx2"/>
                          </a:solidFill>
                          <a:latin typeface="+mn-lt"/>
                        </a:rPr>
                        <a:t>Why is IFRS 17 important</a:t>
                      </a:r>
                    </a:p>
                  </a:txBody>
                  <a:tcPr marT="72000" marB="72000" anchor="ctr"/>
                </a:tc>
                <a:extLst>
                  <a:ext uri="{0D108BD9-81ED-4DB2-BD59-A6C34878D82A}">
                    <a16:rowId xmlns:a16="http://schemas.microsoft.com/office/drawing/2014/main" xmlns="" val="3667579572"/>
                  </a:ext>
                </a:extLst>
              </a:tr>
              <a:tr h="257201">
                <a:tc>
                  <a:txBody>
                    <a:bodyPr/>
                    <a:lstStyle/>
                    <a:p>
                      <a:r>
                        <a:rPr lang="en-AU" b="1" noProof="0">
                          <a:solidFill>
                            <a:schemeClr val="tx2"/>
                          </a:solidFill>
                          <a:latin typeface="+mn-lt"/>
                        </a:rPr>
                        <a:t>02</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kern="1200" noProof="0" dirty="0">
                          <a:solidFill>
                            <a:schemeClr val="tx2"/>
                          </a:solidFill>
                          <a:latin typeface="+mn-lt"/>
                          <a:ea typeface="+mn-ea"/>
                          <a:cs typeface="+mn-cs"/>
                        </a:rPr>
                        <a:t>Key elements of IFRS</a:t>
                      </a:r>
                    </a:p>
                  </a:txBody>
                  <a:tcPr marT="72000" marB="72000" anchor="ctr"/>
                </a:tc>
                <a:extLst>
                  <a:ext uri="{0D108BD9-81ED-4DB2-BD59-A6C34878D82A}">
                    <a16:rowId xmlns:a16="http://schemas.microsoft.com/office/drawing/2014/main" xmlns="" val="4177939361"/>
                  </a:ext>
                </a:extLst>
              </a:tr>
              <a:tr h="257201">
                <a:tc>
                  <a:txBody>
                    <a:bodyPr/>
                    <a:lstStyle/>
                    <a:p>
                      <a:r>
                        <a:rPr lang="en-AU" b="1" noProof="0" dirty="0">
                          <a:solidFill>
                            <a:schemeClr val="tx2"/>
                          </a:solidFill>
                          <a:latin typeface="+mn-lt"/>
                        </a:rPr>
                        <a:t>03</a:t>
                      </a:r>
                    </a:p>
                  </a:txBody>
                  <a:tcPr marT="72000" marB="72000" anchor="ct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noProof="0" dirty="0">
                          <a:solidFill>
                            <a:schemeClr val="tx2"/>
                          </a:solidFill>
                          <a:latin typeface="+mn-lt"/>
                        </a:rPr>
                        <a:t>Impact on financial accounting and KPIs</a:t>
                      </a:r>
                      <a:endParaRPr lang="en-AU" noProof="0" dirty="0"/>
                    </a:p>
                  </a:txBody>
                  <a:tcPr marT="72000" marB="72000" anchor="ctr"/>
                </a:tc>
                <a:extLst>
                  <a:ext uri="{0D108BD9-81ED-4DB2-BD59-A6C34878D82A}">
                    <a16:rowId xmlns:a16="http://schemas.microsoft.com/office/drawing/2014/main" xmlns="" val="975198900"/>
                  </a:ext>
                </a:extLst>
              </a:tr>
              <a:tr h="257201">
                <a:tc>
                  <a:txBody>
                    <a:bodyPr/>
                    <a:lstStyle/>
                    <a:p>
                      <a:r>
                        <a:rPr lang="en-AU" b="1" noProof="0" dirty="0">
                          <a:solidFill>
                            <a:schemeClr val="tx2"/>
                          </a:solidFill>
                          <a:latin typeface="+mn-lt"/>
                        </a:rPr>
                        <a:t>04</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noProof="0" dirty="0">
                          <a:solidFill>
                            <a:schemeClr val="tx2"/>
                          </a:solidFill>
                          <a:latin typeface="+mn-lt"/>
                        </a:rPr>
                        <a:t>Policy development &amp; Challenges</a:t>
                      </a:r>
                    </a:p>
                  </a:txBody>
                  <a:tcPr marT="72000" marB="72000" anchor="ctr"/>
                </a:tc>
                <a:extLst>
                  <a:ext uri="{0D108BD9-81ED-4DB2-BD59-A6C34878D82A}">
                    <a16:rowId xmlns:a16="http://schemas.microsoft.com/office/drawing/2014/main" xmlns="" val="4292697613"/>
                  </a:ext>
                </a:extLst>
              </a:tr>
              <a:tr h="257201">
                <a:tc>
                  <a:txBody>
                    <a:bodyPr/>
                    <a:lstStyle/>
                    <a:p>
                      <a:r>
                        <a:rPr lang="en-AU" b="1" noProof="0" dirty="0">
                          <a:solidFill>
                            <a:schemeClr val="tx2"/>
                          </a:solidFill>
                          <a:latin typeface="+mn-lt"/>
                        </a:rPr>
                        <a:t>05</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noProof="0" dirty="0">
                          <a:solidFill>
                            <a:schemeClr val="tx2"/>
                          </a:solidFill>
                          <a:latin typeface="+mn-lt"/>
                        </a:rPr>
                        <a:t>Reinsurance impact under IFRS17</a:t>
                      </a:r>
                    </a:p>
                  </a:txBody>
                  <a:tcPr marT="72000" marB="72000" anchor="ctr"/>
                </a:tc>
                <a:extLst>
                  <a:ext uri="{0D108BD9-81ED-4DB2-BD59-A6C34878D82A}">
                    <a16:rowId xmlns:a16="http://schemas.microsoft.com/office/drawing/2014/main" xmlns="" val="755950948"/>
                  </a:ext>
                </a:extLst>
              </a:tr>
              <a:tr h="257201">
                <a:tc>
                  <a:txBody>
                    <a:bodyPr/>
                    <a:lstStyle/>
                    <a:p>
                      <a:r>
                        <a:rPr lang="en-AU" b="1" noProof="0" dirty="0">
                          <a:solidFill>
                            <a:schemeClr val="tx2"/>
                          </a:solidFill>
                          <a:latin typeface="+mn-lt"/>
                        </a:rPr>
                        <a:t>06</a:t>
                      </a:r>
                    </a:p>
                  </a:txBody>
                  <a:tcPr marT="72000" marB="72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800" noProof="0" dirty="0">
                          <a:solidFill>
                            <a:schemeClr val="tx2"/>
                          </a:solidFill>
                          <a:latin typeface="+mn-lt"/>
                        </a:rPr>
                        <a:t>Conclusion</a:t>
                      </a:r>
                    </a:p>
                  </a:txBody>
                  <a:tcPr marT="72000" marB="72000" anchor="ctr"/>
                </a:tc>
                <a:extLst>
                  <a:ext uri="{0D108BD9-81ED-4DB2-BD59-A6C34878D82A}">
                    <a16:rowId xmlns:a16="http://schemas.microsoft.com/office/drawing/2014/main" xmlns="" val="2683519209"/>
                  </a:ext>
                </a:extLst>
              </a:tr>
            </a:tbl>
          </a:graphicData>
        </a:graphic>
      </p:graphicFrame>
      <p:pic>
        <p:nvPicPr>
          <p:cNvPr id="10" name="Picture 9">
            <a:extLst>
              <a:ext uri="{FF2B5EF4-FFF2-40B4-BE49-F238E27FC236}">
                <a16:creationId xmlns:a16="http://schemas.microsoft.com/office/drawing/2014/main" xmlns="" id="{2D265CAE-8E1F-4C76-9D21-8ADDC380DBC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290851" y="5913203"/>
            <a:ext cx="755375" cy="760943"/>
          </a:xfrm>
          <a:prstGeom prst="rect">
            <a:avLst/>
          </a:prstGeom>
        </p:spPr>
      </p:pic>
    </p:spTree>
    <p:extLst>
      <p:ext uri="{BB962C8B-B14F-4D97-AF65-F5344CB8AC3E}">
        <p14:creationId xmlns:p14="http://schemas.microsoft.com/office/powerpoint/2010/main" val="35539334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extLst>
              <p:ext uri="{D42A27DB-BD31-4B8C-83A1-F6EECF244321}">
                <p14:modId xmlns:p14="http://schemas.microsoft.com/office/powerpoint/2010/main" val="2124735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9"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000">
              <a:latin typeface="SwissReSans" panose="020B0604020202020204" pitchFamily="34" charset="0"/>
              <a:ea typeface="+mj-ea"/>
              <a:cs typeface="+mj-cs"/>
              <a:sym typeface="SwissReSans" panose="020B0604020202020204" pitchFamily="34" charset="0"/>
            </a:endParaRPr>
          </a:p>
        </p:txBody>
      </p:sp>
      <p:pic>
        <p:nvPicPr>
          <p:cNvPr id="7" name="Picture 6">
            <a:extLst>
              <a:ext uri="{FF2B5EF4-FFF2-40B4-BE49-F238E27FC236}">
                <a16:creationId xmlns:a16="http://schemas.microsoft.com/office/drawing/2014/main" xmlns="" id="{70A4584C-F313-47F3-B976-E2E70C1D77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90851" y="5913203"/>
            <a:ext cx="755375" cy="760943"/>
          </a:xfrm>
          <a:prstGeom prst="rect">
            <a:avLst/>
          </a:prstGeom>
        </p:spPr>
      </p:pic>
      <p:sp>
        <p:nvSpPr>
          <p:cNvPr id="11" name="Title 1">
            <a:extLst>
              <a:ext uri="{FF2B5EF4-FFF2-40B4-BE49-F238E27FC236}">
                <a16:creationId xmlns:a16="http://schemas.microsoft.com/office/drawing/2014/main" xmlns="" id="{0E2ADAC9-9206-44DC-9139-7C65D2587797}"/>
              </a:ext>
            </a:extLst>
          </p:cNvPr>
          <p:cNvSpPr>
            <a:spLocks noGrp="1"/>
          </p:cNvSpPr>
          <p:nvPr>
            <p:ph type="title"/>
          </p:nvPr>
        </p:nvSpPr>
        <p:spPr>
          <a:xfrm>
            <a:off x="695325" y="1628774"/>
            <a:ext cx="11017251" cy="1296168"/>
          </a:xfrm>
        </p:spPr>
        <p:txBody>
          <a:bodyPr vert="horz"/>
          <a:lstStyle/>
          <a:p>
            <a:r>
              <a:rPr lang="en-GB" sz="3600" dirty="0"/>
              <a:t>Poll Question 1: True or False?</a:t>
            </a:r>
          </a:p>
        </p:txBody>
      </p:sp>
      <p:sp>
        <p:nvSpPr>
          <p:cNvPr id="13" name="Text Placeholder 2">
            <a:extLst>
              <a:ext uri="{FF2B5EF4-FFF2-40B4-BE49-F238E27FC236}">
                <a16:creationId xmlns:a16="http://schemas.microsoft.com/office/drawing/2014/main" xmlns="" id="{E67D81FA-631B-4C83-8D33-B146EF491B0C}"/>
              </a:ext>
            </a:extLst>
          </p:cNvPr>
          <p:cNvSpPr>
            <a:spLocks noGrp="1"/>
          </p:cNvSpPr>
          <p:nvPr>
            <p:ph type="body" sz="quarter" idx="12"/>
          </p:nvPr>
        </p:nvSpPr>
        <p:spPr>
          <a:xfrm>
            <a:off x="695325" y="2996954"/>
            <a:ext cx="11017251" cy="2544487"/>
          </a:xfrm>
        </p:spPr>
        <p:txBody>
          <a:bodyPr/>
          <a:lstStyle/>
          <a:p>
            <a:pPr marL="0" indent="0">
              <a:buNone/>
            </a:pPr>
            <a:r>
              <a:rPr lang="en-US" sz="1600" dirty="0"/>
              <a:t>IFRS-17 will change the way reinsurance works for cedants in terms of ultimate protection</a:t>
            </a:r>
            <a:endParaRPr lang="en-GB" sz="1600" dirty="0"/>
          </a:p>
        </p:txBody>
      </p:sp>
    </p:spTree>
    <p:extLst>
      <p:ext uri="{BB962C8B-B14F-4D97-AF65-F5344CB8AC3E}">
        <p14:creationId xmlns:p14="http://schemas.microsoft.com/office/powerpoint/2010/main" val="1840544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xmlns="" id="{860406A2-4417-4F84-BF71-F1023CA47DE9}"/>
              </a:ext>
            </a:extLst>
          </p:cNvPr>
          <p:cNvPicPr>
            <a:picLocks noGrp="1"/>
          </p:cNvPicPr>
          <p:nvPr>
            <p:ph type="pic" sz="quarter" idx="13"/>
            <p:custDataLst>
              <p:tags r:id="rId1"/>
            </p:custDataLst>
          </p:nvPr>
        </p:nvPicPr>
        <p:blipFill>
          <a:blip r:embed="rId6">
            <a:alphaModFix amt="50000"/>
            <a:extLst>
              <a:ext uri="{28A0092B-C50C-407E-A947-70E740481C1C}">
                <a14:useLocalDpi xmlns:a14="http://schemas.microsoft.com/office/drawing/2010/main" val="0"/>
              </a:ext>
            </a:extLst>
          </a:blip>
          <a:srcRect/>
          <a:stretch>
            <a:fillRect/>
          </a:stretch>
        </p:blipFill>
        <p:spPr bwMode="gray"/>
      </p:pic>
      <p:sp>
        <p:nvSpPr>
          <p:cNvPr id="2" name="Slide Number Placeholder 1">
            <a:extLst>
              <a:ext uri="{FF2B5EF4-FFF2-40B4-BE49-F238E27FC236}">
                <a16:creationId xmlns:a16="http://schemas.microsoft.com/office/drawing/2014/main" xmlns="" id="{8DD3D0CA-C5DE-4B4C-A951-CC86ACF91C13}"/>
              </a:ext>
            </a:extLst>
          </p:cNvPr>
          <p:cNvSpPr>
            <a:spLocks noGrp="1"/>
          </p:cNvSpPr>
          <p:nvPr>
            <p:ph type="sldNum" sz="quarter" idx="12"/>
          </p:nvPr>
        </p:nvSpPr>
        <p:spPr/>
        <p:txBody>
          <a:bodyPr/>
          <a:lstStyle/>
          <a:p>
            <a:fld id="{5E4D2043-7E31-4A53-BD33-72A88E682172}" type="slidenum">
              <a:rPr lang="en-GB" smtClean="0"/>
              <a:pPr/>
              <a:t>12</a:t>
            </a:fld>
            <a:endParaRPr lang="en-GB"/>
          </a:p>
        </p:txBody>
      </p:sp>
      <p:sp>
        <p:nvSpPr>
          <p:cNvPr id="27" name="Title 26">
            <a:extLst>
              <a:ext uri="{FF2B5EF4-FFF2-40B4-BE49-F238E27FC236}">
                <a16:creationId xmlns:a16="http://schemas.microsoft.com/office/drawing/2014/main" xmlns="" id="{2BFA1270-DC4A-4DAE-9FCA-CCFC8B613332}"/>
              </a:ext>
            </a:extLst>
          </p:cNvPr>
          <p:cNvSpPr>
            <a:spLocks noGrp="1"/>
          </p:cNvSpPr>
          <p:nvPr>
            <p:ph type="title"/>
          </p:nvPr>
        </p:nvSpPr>
        <p:spPr/>
        <p:txBody>
          <a:bodyPr/>
          <a:lstStyle/>
          <a:p>
            <a:r>
              <a:rPr lang="en-GB"/>
              <a:t>IFRS17 is an accounting standard</a:t>
            </a:r>
          </a:p>
        </p:txBody>
      </p:sp>
      <p:sp>
        <p:nvSpPr>
          <p:cNvPr id="28" name="Text Placeholder 27">
            <a:extLst>
              <a:ext uri="{FF2B5EF4-FFF2-40B4-BE49-F238E27FC236}">
                <a16:creationId xmlns:a16="http://schemas.microsoft.com/office/drawing/2014/main" xmlns="" id="{AFFB21D2-F00B-4BD7-9600-3D167F19CF87}"/>
              </a:ext>
            </a:extLst>
          </p:cNvPr>
          <p:cNvSpPr>
            <a:spLocks noGrp="1"/>
          </p:cNvSpPr>
          <p:nvPr>
            <p:ph type="body" sz="quarter" idx="14"/>
          </p:nvPr>
        </p:nvSpPr>
        <p:spPr/>
        <p:txBody>
          <a:bodyPr/>
          <a:lstStyle/>
          <a:p>
            <a:r>
              <a:rPr lang="en-GB" sz="2000" b="1" dirty="0">
                <a:latin typeface="+mj-lt"/>
              </a:rPr>
              <a:t>Reinsurance </a:t>
            </a:r>
            <a:r>
              <a:rPr lang="en-GB" sz="2000" dirty="0">
                <a:latin typeface="+mj-lt"/>
              </a:rPr>
              <a:t>protection remains necessary. </a:t>
            </a:r>
          </a:p>
          <a:p>
            <a:r>
              <a:rPr lang="en-GB" sz="2000" dirty="0">
                <a:latin typeface="+mj-lt"/>
              </a:rPr>
              <a:t>Only its </a:t>
            </a:r>
            <a:r>
              <a:rPr lang="en-GB" sz="2000" b="1" dirty="0">
                <a:latin typeface="+mj-lt"/>
              </a:rPr>
              <a:t>representation in your accounts </a:t>
            </a:r>
            <a:r>
              <a:rPr lang="en-GB" sz="2000" dirty="0">
                <a:latin typeface="+mj-lt"/>
              </a:rPr>
              <a:t>is changing</a:t>
            </a:r>
          </a:p>
        </p:txBody>
      </p:sp>
      <p:sp>
        <p:nvSpPr>
          <p:cNvPr id="18" name="Text Placeholder 17">
            <a:extLst>
              <a:ext uri="{FF2B5EF4-FFF2-40B4-BE49-F238E27FC236}">
                <a16:creationId xmlns:a16="http://schemas.microsoft.com/office/drawing/2014/main" xmlns="" id="{86958F12-F883-45AE-9422-376131AE4E67}"/>
              </a:ext>
            </a:extLst>
          </p:cNvPr>
          <p:cNvSpPr>
            <a:spLocks noGrp="1"/>
          </p:cNvSpPr>
          <p:nvPr>
            <p:ph type="body" sz="quarter" idx="15"/>
          </p:nvPr>
        </p:nvSpPr>
        <p:spPr/>
        <p:txBody>
          <a:bodyPr/>
          <a:lstStyle/>
          <a:p>
            <a:r>
              <a:rPr lang="en-GB" dirty="0"/>
              <a:t>The </a:t>
            </a:r>
            <a:r>
              <a:rPr lang="en-GB" b="1" dirty="0"/>
              <a:t>economic protection </a:t>
            </a:r>
            <a:r>
              <a:rPr lang="en-GB" dirty="0"/>
              <a:t>provided by reinsurance remains same under IFRS17 as now.</a:t>
            </a:r>
          </a:p>
        </p:txBody>
      </p:sp>
      <p:sp>
        <p:nvSpPr>
          <p:cNvPr id="6" name="TextBox 5">
            <a:extLst>
              <a:ext uri="{FF2B5EF4-FFF2-40B4-BE49-F238E27FC236}">
                <a16:creationId xmlns:a16="http://schemas.microsoft.com/office/drawing/2014/main" xmlns="" id="{393A4765-C953-4B76-A56A-90A4B5E75860}"/>
              </a:ext>
            </a:extLst>
          </p:cNvPr>
          <p:cNvSpPr txBox="1"/>
          <p:nvPr>
            <p:custDataLst>
              <p:tags r:id="rId2"/>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endParaRPr lang="en-GB" dirty="0">
              <a:solidFill>
                <a:srgbClr val="FFFFFF"/>
              </a:solidFill>
            </a:endParaRPr>
          </a:p>
        </p:txBody>
      </p:sp>
      <p:pic>
        <p:nvPicPr>
          <p:cNvPr id="4" name="Picture 3">
            <a:extLst>
              <a:ext uri="{FF2B5EF4-FFF2-40B4-BE49-F238E27FC236}">
                <a16:creationId xmlns:a16="http://schemas.microsoft.com/office/drawing/2014/main" xmlns="" id="{8C55CEFE-6D2C-46E3-9A22-035212335CB5}"/>
              </a:ext>
            </a:extLst>
          </p:cNvPr>
          <p:cNvPicPr>
            <a:picLocks noChangeAspect="1"/>
          </p:cNvPicPr>
          <p:nvPr>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1884625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52"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000">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de-CH" sz="4000"/>
              <a:t>Why is IFRS 17 important</a:t>
            </a:r>
            <a:r>
              <a:rPr lang="de-CH" sz="4000">
                <a:solidFill>
                  <a:schemeClr val="tx2"/>
                </a:solidFill>
              </a:rPr>
              <a:t/>
            </a:r>
            <a:br>
              <a:rPr lang="de-CH" sz="4000">
                <a:solidFill>
                  <a:schemeClr val="tx2"/>
                </a:solidFill>
              </a:rPr>
            </a:br>
            <a:r>
              <a:rPr lang="en-GB" sz="4000">
                <a:latin typeface="+mn-lt"/>
              </a:rPr>
              <a:t/>
            </a:r>
            <a:br>
              <a:rPr lang="en-GB" sz="4000">
                <a:latin typeface="+mn-lt"/>
              </a:rPr>
            </a:br>
            <a:endParaRPr lang="en-GB" sz="400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a:t>01</a:t>
            </a:r>
          </a:p>
        </p:txBody>
      </p:sp>
      <p:pic>
        <p:nvPicPr>
          <p:cNvPr id="7" name="Picture 6">
            <a:extLst>
              <a:ext uri="{FF2B5EF4-FFF2-40B4-BE49-F238E27FC236}">
                <a16:creationId xmlns:a16="http://schemas.microsoft.com/office/drawing/2014/main" xmlns="" id="{70A4584C-F313-47F3-B976-E2E70C1D77C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90851" y="5913203"/>
            <a:ext cx="755375" cy="760943"/>
          </a:xfrm>
          <a:prstGeom prst="rect">
            <a:avLst/>
          </a:prstGeom>
        </p:spPr>
      </p:pic>
    </p:spTree>
    <p:extLst>
      <p:ext uri="{BB962C8B-B14F-4D97-AF65-F5344CB8AC3E}">
        <p14:creationId xmlns:p14="http://schemas.microsoft.com/office/powerpoint/2010/main" val="1413292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EFA53FF-0661-41FE-891C-C0D79D8BA228}"/>
              </a:ext>
            </a:extLst>
          </p:cNvPr>
          <p:cNvGraphicFramePr>
            <a:graphicFrameLocks noChangeAspect="1"/>
          </p:cNvGraphicFramePr>
          <p:nvPr>
            <p:custDataLst>
              <p:tags r:id="rId2"/>
            </p:custDataLst>
            <p:extLst>
              <p:ext uri="{D42A27DB-BD31-4B8C-83A1-F6EECF244321}">
                <p14:modId xmlns:p14="http://schemas.microsoft.com/office/powerpoint/2010/main" val="2051777133"/>
              </p:ext>
            </p:ext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20523" name="think-cell Slide" r:id="rId7" imgW="473" imgH="473" progId="TCLayout.ActiveDocument.1">
                  <p:embed/>
                </p:oleObj>
              </mc:Choice>
              <mc:Fallback>
                <p:oleObj name="think-cell Slide" r:id="rId7" imgW="473" imgH="473" progId="TCLayout.ActiveDocument.1">
                  <p:embed/>
                  <p:pic>
                    <p:nvPicPr>
                      <p:cNvPr id="5" name="Object 4" hidden="1">
                        <a:extLst>
                          <a:ext uri="{FF2B5EF4-FFF2-40B4-BE49-F238E27FC236}">
                            <a16:creationId xmlns:a16="http://schemas.microsoft.com/office/drawing/2014/main" xmlns="" id="{EEFA53FF-0661-41FE-891C-C0D79D8BA228}"/>
                          </a:ext>
                        </a:extLst>
                      </p:cNvPr>
                      <p:cNvPicPr/>
                      <p:nvPr/>
                    </p:nvPicPr>
                    <p:blipFill>
                      <a:blip r:embed="rId8"/>
                      <a:stretch>
                        <a:fillRect/>
                      </a:stretch>
                    </p:blipFill>
                    <p:spPr>
                      <a:xfrm>
                        <a:off x="1525192" y="85844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2F79AC81-5D93-469C-9A5D-F6BE70631EAC}"/>
              </a:ext>
            </a:extLst>
          </p:cNvPr>
          <p:cNvSpPr/>
          <p:nvPr>
            <p:custDataLst>
              <p:tags r:id="rId3"/>
            </p:custDataLst>
          </p:nvPr>
        </p:nvSpPr>
        <p:spPr>
          <a:xfrm>
            <a:off x="1524001" y="857251"/>
            <a:ext cx="119063" cy="119063"/>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sz="1500">
              <a:solidFill>
                <a:prstClr val="white"/>
              </a:solidFill>
              <a:latin typeface="SwissReSans Light" panose="020B0504020202020204" pitchFamily="34" charset="0"/>
              <a:ea typeface="+mj-ea"/>
              <a:cs typeface="+mj-cs"/>
              <a:sym typeface="SwissReSans Light" panose="020B0504020202020204" pitchFamily="34" charset="0"/>
            </a:endParaRPr>
          </a:p>
        </p:txBody>
      </p:sp>
      <p:grpSp>
        <p:nvGrpSpPr>
          <p:cNvPr id="10" name="Group 9">
            <a:extLst>
              <a:ext uri="{FF2B5EF4-FFF2-40B4-BE49-F238E27FC236}">
                <a16:creationId xmlns:a16="http://schemas.microsoft.com/office/drawing/2014/main" xmlns="" id="{2FB4645A-668F-4C67-99F4-70CA1F5FF9C8}"/>
              </a:ext>
            </a:extLst>
          </p:cNvPr>
          <p:cNvGrpSpPr/>
          <p:nvPr/>
        </p:nvGrpSpPr>
        <p:grpSpPr>
          <a:xfrm>
            <a:off x="699281" y="2508078"/>
            <a:ext cx="11035516" cy="844314"/>
            <a:chOff x="699281" y="2276873"/>
            <a:chExt cx="7992121" cy="621012"/>
          </a:xfrm>
        </p:grpSpPr>
        <p:sp>
          <p:nvSpPr>
            <p:cNvPr id="11" name="Rectangle 10">
              <a:extLst>
                <a:ext uri="{FF2B5EF4-FFF2-40B4-BE49-F238E27FC236}">
                  <a16:creationId xmlns:a16="http://schemas.microsoft.com/office/drawing/2014/main" xmlns="" id="{FA77DFD4-49D9-4BB9-921D-2DB49F94AB1B}"/>
                </a:ext>
              </a:extLst>
            </p:cNvPr>
            <p:cNvSpPr/>
            <p:nvPr/>
          </p:nvSpPr>
          <p:spPr>
            <a:xfrm>
              <a:off x="699281" y="2276885"/>
              <a:ext cx="768008" cy="621000"/>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defTabSz="685800">
                <a:spcAft>
                  <a:spcPts val="450"/>
                </a:spcAft>
                <a:defRPr/>
              </a:pPr>
              <a:endParaRPr lang="en-GB" sz="1100">
                <a:solidFill>
                  <a:prstClr val="white"/>
                </a:solidFill>
                <a:latin typeface="SwissReSans" panose="020B0604020202020204" pitchFamily="34" charset="0"/>
              </a:endParaRPr>
            </a:p>
          </p:txBody>
        </p:sp>
        <p:sp>
          <p:nvSpPr>
            <p:cNvPr id="15" name="Rectangle 14">
              <a:extLst>
                <a:ext uri="{FF2B5EF4-FFF2-40B4-BE49-F238E27FC236}">
                  <a16:creationId xmlns:a16="http://schemas.microsoft.com/office/drawing/2014/main" xmlns="" id="{4919DCDB-7754-40E6-B0ED-536FF9D0B4D1}"/>
                </a:ext>
              </a:extLst>
            </p:cNvPr>
            <p:cNvSpPr/>
            <p:nvPr/>
          </p:nvSpPr>
          <p:spPr>
            <a:xfrm>
              <a:off x="1485005" y="2276873"/>
              <a:ext cx="7206397" cy="621001"/>
            </a:xfrm>
            <a:prstGeom prst="rect">
              <a:avLst/>
            </a:prstGeom>
            <a:solidFill>
              <a:srgbClr val="E7EDF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defTabSz="685800">
                <a:spcBef>
                  <a:spcPts val="900"/>
                </a:spcBef>
                <a:buSzPct val="100000"/>
                <a:defRPr/>
              </a:pPr>
              <a:r>
                <a:rPr lang="en-US" sz="1400">
                  <a:solidFill>
                    <a:srgbClr val="283E36"/>
                  </a:solidFill>
                  <a:latin typeface="SwissReSans Light" panose="020B0504020202020204" pitchFamily="34" charset="0"/>
                </a:rPr>
                <a:t>The objective of IFRS (17) is to </a:t>
              </a:r>
              <a:r>
                <a:rPr lang="en-US" sz="1400">
                  <a:solidFill>
                    <a:srgbClr val="0F4DBC"/>
                  </a:solidFill>
                  <a:latin typeface="SwissReSans Light" panose="020B0504020202020204" pitchFamily="34" charset="0"/>
                </a:rPr>
                <a:t>provide</a:t>
              </a:r>
              <a:r>
                <a:rPr lang="en-US" sz="1400">
                  <a:solidFill>
                    <a:srgbClr val="283E36"/>
                  </a:solidFill>
                  <a:latin typeface="SwissReSans Light" panose="020B0504020202020204" pitchFamily="34" charset="0"/>
                </a:rPr>
                <a:t> </a:t>
              </a:r>
              <a:r>
                <a:rPr lang="en-US" sz="1400">
                  <a:solidFill>
                    <a:srgbClr val="0F4DBC"/>
                  </a:solidFill>
                  <a:latin typeface="SwissReSans Light" panose="020B0504020202020204" pitchFamily="34" charset="0"/>
                </a:rPr>
                <a:t>consistency, comparability, transparency and better information about profitability</a:t>
              </a:r>
              <a:r>
                <a:rPr lang="en-US" sz="1400">
                  <a:solidFill>
                    <a:srgbClr val="283E36"/>
                  </a:solidFill>
                  <a:latin typeface="SwissReSans Light" panose="020B0504020202020204" pitchFamily="34" charset="0"/>
                </a:rPr>
                <a:t> - </a:t>
              </a:r>
              <a:r>
                <a:rPr lang="en-US" sz="1400">
                  <a:solidFill>
                    <a:srgbClr val="0F4DBC"/>
                  </a:solidFill>
                  <a:latin typeface="SwissReSans Light" panose="020B0504020202020204" pitchFamily="34" charset="0"/>
                </a:rPr>
                <a:t>across geography, insurance companies and even industries</a:t>
              </a:r>
              <a:r>
                <a:rPr lang="en-US" sz="1400">
                  <a:solidFill>
                    <a:srgbClr val="283E36"/>
                  </a:solidFill>
                  <a:latin typeface="SwissReSans Light" panose="020B0504020202020204" pitchFamily="34" charset="0"/>
                </a:rPr>
                <a:t>. However, as a principles-based standard, it leaves broad </a:t>
              </a:r>
              <a:r>
                <a:rPr lang="en-US" sz="1400">
                  <a:solidFill>
                    <a:srgbClr val="0F4DBC"/>
                  </a:solidFill>
                  <a:latin typeface="SwissReSans Light" panose="020B0504020202020204" pitchFamily="34" charset="0"/>
                </a:rPr>
                <a:t>room for interpretation</a:t>
              </a:r>
              <a:r>
                <a:rPr lang="en-US" sz="1400">
                  <a:solidFill>
                    <a:srgbClr val="283E36"/>
                  </a:solidFill>
                  <a:latin typeface="SwissReSans Light" panose="020B0504020202020204" pitchFamily="34" charset="0"/>
                </a:rPr>
                <a:t>…</a:t>
              </a:r>
            </a:p>
          </p:txBody>
        </p:sp>
        <p:pic>
          <p:nvPicPr>
            <p:cNvPr id="22" name="Graphic 21" descr="Target">
              <a:extLst>
                <a:ext uri="{FF2B5EF4-FFF2-40B4-BE49-F238E27FC236}">
                  <a16:creationId xmlns:a16="http://schemas.microsoft.com/office/drawing/2014/main" xmlns="" id="{689E4264-B9DD-4AC1-BC72-09CC125263E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844114" y="2348215"/>
              <a:ext cx="478342" cy="478342"/>
            </a:xfrm>
            <a:prstGeom prst="rect">
              <a:avLst/>
            </a:prstGeom>
          </p:spPr>
        </p:pic>
      </p:grpSp>
      <p:grpSp>
        <p:nvGrpSpPr>
          <p:cNvPr id="9" name="Group 8">
            <a:extLst>
              <a:ext uri="{FF2B5EF4-FFF2-40B4-BE49-F238E27FC236}">
                <a16:creationId xmlns:a16="http://schemas.microsoft.com/office/drawing/2014/main" xmlns="" id="{076EF365-3871-4170-9F23-AAEDD74EB4B2}"/>
              </a:ext>
            </a:extLst>
          </p:cNvPr>
          <p:cNvGrpSpPr/>
          <p:nvPr/>
        </p:nvGrpSpPr>
        <p:grpSpPr>
          <a:xfrm>
            <a:off x="699281" y="3400020"/>
            <a:ext cx="11035516" cy="844320"/>
            <a:chOff x="699281" y="2952000"/>
            <a:chExt cx="7992121" cy="621016"/>
          </a:xfrm>
        </p:grpSpPr>
        <p:sp>
          <p:nvSpPr>
            <p:cNvPr id="6" name="Rectangle 5">
              <a:extLst>
                <a:ext uri="{FF2B5EF4-FFF2-40B4-BE49-F238E27FC236}">
                  <a16:creationId xmlns:a16="http://schemas.microsoft.com/office/drawing/2014/main" xmlns="" id="{EBC64019-B8C8-4234-930D-5C33B229466A}"/>
                </a:ext>
              </a:extLst>
            </p:cNvPr>
            <p:cNvSpPr/>
            <p:nvPr/>
          </p:nvSpPr>
          <p:spPr>
            <a:xfrm>
              <a:off x="699281" y="2952016"/>
              <a:ext cx="768008" cy="621000"/>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defTabSz="685800">
                <a:spcAft>
                  <a:spcPts val="450"/>
                </a:spcAft>
                <a:defRPr/>
              </a:pPr>
              <a:endParaRPr lang="en-GB" sz="1100">
                <a:solidFill>
                  <a:prstClr val="white"/>
                </a:solidFill>
                <a:latin typeface="SwissReSans" panose="020B0604020202020204" pitchFamily="34" charset="0"/>
              </a:endParaRPr>
            </a:p>
          </p:txBody>
        </p:sp>
        <p:sp>
          <p:nvSpPr>
            <p:cNvPr id="7" name="Rectangle 6">
              <a:extLst>
                <a:ext uri="{FF2B5EF4-FFF2-40B4-BE49-F238E27FC236}">
                  <a16:creationId xmlns:a16="http://schemas.microsoft.com/office/drawing/2014/main" xmlns="" id="{F33ED071-693C-4A2D-8415-C905BD330609}"/>
                </a:ext>
              </a:extLst>
            </p:cNvPr>
            <p:cNvSpPr/>
            <p:nvPr/>
          </p:nvSpPr>
          <p:spPr>
            <a:xfrm>
              <a:off x="1485005" y="2952000"/>
              <a:ext cx="7206397" cy="621001"/>
            </a:xfrm>
            <a:prstGeom prst="rect">
              <a:avLst/>
            </a:prstGeom>
            <a:solidFill>
              <a:srgbClr val="E7EDF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defTabSz="685800">
                <a:spcBef>
                  <a:spcPts val="900"/>
                </a:spcBef>
                <a:buSzPct val="100000"/>
                <a:defRPr/>
              </a:pPr>
              <a:r>
                <a:rPr lang="en-US" sz="1400" dirty="0">
                  <a:solidFill>
                    <a:srgbClr val="283E36"/>
                  </a:solidFill>
                  <a:latin typeface="SwissReSans Light" panose="020B0504020202020204" pitchFamily="34" charset="0"/>
                </a:rPr>
                <a:t>The IFRS 17 model </a:t>
              </a:r>
              <a:r>
                <a:rPr lang="en-US" sz="1400" dirty="0">
                  <a:solidFill>
                    <a:srgbClr val="0F4DBC"/>
                  </a:solidFill>
                  <a:latin typeface="SwissReSans Light" panose="020B0504020202020204" pitchFamily="34" charset="0"/>
                </a:rPr>
                <a:t>combines a current balance sheet measurement</a:t>
              </a:r>
              <a:r>
                <a:rPr lang="en-US" sz="1400" dirty="0">
                  <a:solidFill>
                    <a:srgbClr val="283E36"/>
                  </a:solidFill>
                  <a:latin typeface="SwissReSans Light" panose="020B0504020202020204" pitchFamily="34" charset="0"/>
                </a:rPr>
                <a:t> of insurance contracts with </a:t>
              </a:r>
              <a:r>
                <a:rPr lang="en-US" sz="1400" dirty="0">
                  <a:solidFill>
                    <a:srgbClr val="0F4DBC"/>
                  </a:solidFill>
                  <a:latin typeface="SwissReSans Light" panose="020B0504020202020204" pitchFamily="34" charset="0"/>
                </a:rPr>
                <a:t>recognition of profit over the period that services are provided</a:t>
              </a:r>
              <a:r>
                <a:rPr lang="en-US" sz="1400" dirty="0">
                  <a:solidFill>
                    <a:srgbClr val="283E36"/>
                  </a:solidFill>
                  <a:latin typeface="SwissReSans Light" panose="020B0504020202020204" pitchFamily="34" charset="0"/>
                </a:rPr>
                <a:t>. </a:t>
              </a:r>
              <a:r>
                <a:rPr lang="en-GB" sz="1400" dirty="0">
                  <a:solidFill>
                    <a:srgbClr val="283E36"/>
                  </a:solidFill>
                  <a:latin typeface="SwissReSans Light" panose="020B0504020202020204" pitchFamily="34" charset="0"/>
                </a:rPr>
                <a:t>The IFRS 17 view on profitability is future-oriented, based on economic principles.</a:t>
              </a:r>
            </a:p>
          </p:txBody>
        </p:sp>
        <p:pic>
          <p:nvPicPr>
            <p:cNvPr id="24" name="Graphic 23" descr="Bar graph with upward trend">
              <a:extLst>
                <a:ext uri="{FF2B5EF4-FFF2-40B4-BE49-F238E27FC236}">
                  <a16:creationId xmlns:a16="http://schemas.microsoft.com/office/drawing/2014/main" xmlns="" id="{97EB4D04-1FB4-4F46-AC6F-802C4EE184C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44114" y="3023346"/>
              <a:ext cx="478342" cy="478342"/>
            </a:xfrm>
            <a:prstGeom prst="rect">
              <a:avLst/>
            </a:prstGeom>
          </p:spPr>
        </p:pic>
      </p:grpSp>
      <p:grpSp>
        <p:nvGrpSpPr>
          <p:cNvPr id="3" name="Group 2">
            <a:extLst>
              <a:ext uri="{FF2B5EF4-FFF2-40B4-BE49-F238E27FC236}">
                <a16:creationId xmlns:a16="http://schemas.microsoft.com/office/drawing/2014/main" xmlns="" id="{6E1E343A-B3B6-4717-BDD6-0CDC94CC5FA9}"/>
              </a:ext>
            </a:extLst>
          </p:cNvPr>
          <p:cNvGrpSpPr/>
          <p:nvPr/>
        </p:nvGrpSpPr>
        <p:grpSpPr>
          <a:xfrm>
            <a:off x="699281" y="5183902"/>
            <a:ext cx="11035516" cy="844300"/>
            <a:chOff x="699281" y="4327952"/>
            <a:chExt cx="7992121" cy="757232"/>
          </a:xfrm>
        </p:grpSpPr>
        <p:sp>
          <p:nvSpPr>
            <p:cNvPr id="14" name="Rectangle 13">
              <a:extLst>
                <a:ext uri="{FF2B5EF4-FFF2-40B4-BE49-F238E27FC236}">
                  <a16:creationId xmlns:a16="http://schemas.microsoft.com/office/drawing/2014/main" xmlns="" id="{73F6BF07-63B4-45CA-9B72-ABF66D776220}"/>
                </a:ext>
              </a:extLst>
            </p:cNvPr>
            <p:cNvSpPr/>
            <p:nvPr/>
          </p:nvSpPr>
          <p:spPr>
            <a:xfrm>
              <a:off x="699281" y="4327952"/>
              <a:ext cx="768008" cy="757231"/>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defTabSz="685800">
                <a:spcAft>
                  <a:spcPts val="450"/>
                </a:spcAft>
                <a:defRPr/>
              </a:pPr>
              <a:endParaRPr lang="en-GB" sz="1100">
                <a:solidFill>
                  <a:prstClr val="white"/>
                </a:solidFill>
                <a:latin typeface="SwissReSans" panose="020B0604020202020204" pitchFamily="34" charset="0"/>
              </a:endParaRPr>
            </a:p>
          </p:txBody>
        </p:sp>
        <p:sp>
          <p:nvSpPr>
            <p:cNvPr id="18" name="Rectangle 17">
              <a:extLst>
                <a:ext uri="{FF2B5EF4-FFF2-40B4-BE49-F238E27FC236}">
                  <a16:creationId xmlns:a16="http://schemas.microsoft.com/office/drawing/2014/main" xmlns="" id="{368095D8-301D-414A-8879-90579EF092F8}"/>
                </a:ext>
              </a:extLst>
            </p:cNvPr>
            <p:cNvSpPr/>
            <p:nvPr/>
          </p:nvSpPr>
          <p:spPr>
            <a:xfrm>
              <a:off x="1485005" y="4327952"/>
              <a:ext cx="7206397" cy="757232"/>
            </a:xfrm>
            <a:prstGeom prst="rect">
              <a:avLst/>
            </a:prstGeom>
            <a:solidFill>
              <a:srgbClr val="E7EDF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defTabSz="685800">
                <a:buSzPct val="100000"/>
                <a:defRPr/>
              </a:pPr>
              <a:r>
                <a:rPr lang="en-US" sz="1400">
                  <a:solidFill>
                    <a:srgbClr val="0F4DBC"/>
                  </a:solidFill>
                  <a:latin typeface="SwissReSans Light" panose="020B0504020202020204" pitchFamily="34" charset="0"/>
                </a:rPr>
                <a:t>Contractual obligations are key</a:t>
              </a:r>
              <a:r>
                <a:rPr lang="en-US" sz="1400">
                  <a:solidFill>
                    <a:srgbClr val="283E36"/>
                  </a:solidFill>
                  <a:latin typeface="SwissReSans Light" panose="020B0504020202020204" pitchFamily="34" charset="0"/>
                </a:rPr>
                <a:t>, though some concessions on this new accounting view are made to recognize the nature / substance of the business</a:t>
              </a:r>
            </a:p>
            <a:p>
              <a:pPr marL="333375" lvl="1" indent="-196454" defTabSz="685800">
                <a:buFont typeface="Arial" panose="020B0604020202020204" pitchFamily="34" charset="0"/>
                <a:buChar char="•"/>
                <a:defRPr/>
              </a:pPr>
              <a:r>
                <a:rPr lang="en-US" sz="1100">
                  <a:solidFill>
                    <a:srgbClr val="0F4DBC"/>
                  </a:solidFill>
                  <a:latin typeface="SwissReSans Light" panose="020B0504020202020204" pitchFamily="34" charset="0"/>
                </a:rPr>
                <a:t>Risk pooling </a:t>
              </a:r>
              <a:r>
                <a:rPr lang="en-US" sz="1100">
                  <a:solidFill>
                    <a:srgbClr val="283E36"/>
                  </a:solidFill>
                  <a:latin typeface="SwissReSans Light" panose="020B0504020202020204" pitchFamily="34" charset="0"/>
                </a:rPr>
                <a:t>(some grouping of contracts to report profitability)</a:t>
              </a:r>
            </a:p>
            <a:p>
              <a:pPr marL="333375" lvl="1" indent="-196454" defTabSz="685800">
                <a:buFont typeface="Arial" panose="020B0604020202020204" pitchFamily="34" charset="0"/>
                <a:buChar char="•"/>
                <a:defRPr/>
              </a:pPr>
              <a:r>
                <a:rPr lang="en-US" sz="1100">
                  <a:solidFill>
                    <a:srgbClr val="0F4DBC"/>
                  </a:solidFill>
                  <a:latin typeface="SwissReSans Light" panose="020B0504020202020204" pitchFamily="34" charset="0"/>
                </a:rPr>
                <a:t>Splitting of components (allocation of multi-line contracts to LoB portfolios)</a:t>
              </a:r>
            </a:p>
          </p:txBody>
        </p:sp>
        <p:pic>
          <p:nvPicPr>
            <p:cNvPr id="30" name="Graphic 29" descr="Checklist">
              <a:extLst>
                <a:ext uri="{FF2B5EF4-FFF2-40B4-BE49-F238E27FC236}">
                  <a16:creationId xmlns:a16="http://schemas.microsoft.com/office/drawing/2014/main" xmlns="" id="{065B48A4-33A4-4632-96E7-A05F28EA5F2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844114" y="4489944"/>
              <a:ext cx="478342" cy="478342"/>
            </a:xfrm>
            <a:prstGeom prst="rect">
              <a:avLst/>
            </a:prstGeom>
          </p:spPr>
        </p:pic>
      </p:grpSp>
      <p:grpSp>
        <p:nvGrpSpPr>
          <p:cNvPr id="19" name="Group 18">
            <a:extLst>
              <a:ext uri="{FF2B5EF4-FFF2-40B4-BE49-F238E27FC236}">
                <a16:creationId xmlns:a16="http://schemas.microsoft.com/office/drawing/2014/main" xmlns="" id="{7D81B87D-959A-4B67-BAA1-355A01AA91B0}"/>
              </a:ext>
            </a:extLst>
          </p:cNvPr>
          <p:cNvGrpSpPr/>
          <p:nvPr/>
        </p:nvGrpSpPr>
        <p:grpSpPr>
          <a:xfrm>
            <a:off x="699281" y="1616148"/>
            <a:ext cx="11035516" cy="844302"/>
            <a:chOff x="699281" y="1628801"/>
            <a:chExt cx="7992121" cy="621003"/>
          </a:xfrm>
        </p:grpSpPr>
        <p:sp>
          <p:nvSpPr>
            <p:cNvPr id="13" name="Rectangle 12">
              <a:extLst>
                <a:ext uri="{FF2B5EF4-FFF2-40B4-BE49-F238E27FC236}">
                  <a16:creationId xmlns:a16="http://schemas.microsoft.com/office/drawing/2014/main" xmlns="" id="{8118A292-179A-4C1A-87FD-CEBDC6CD5701}"/>
                </a:ext>
              </a:extLst>
            </p:cNvPr>
            <p:cNvSpPr/>
            <p:nvPr/>
          </p:nvSpPr>
          <p:spPr>
            <a:xfrm>
              <a:off x="699281" y="1628804"/>
              <a:ext cx="768008" cy="621000"/>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defTabSz="685800">
                <a:spcAft>
                  <a:spcPts val="450"/>
                </a:spcAft>
                <a:defRPr/>
              </a:pPr>
              <a:endParaRPr lang="en-GB" sz="1100">
                <a:solidFill>
                  <a:prstClr val="white"/>
                </a:solidFill>
                <a:latin typeface="SwissReSans" panose="020B0604020202020204" pitchFamily="34" charset="0"/>
              </a:endParaRPr>
            </a:p>
          </p:txBody>
        </p:sp>
        <p:sp>
          <p:nvSpPr>
            <p:cNvPr id="17" name="Rectangle 16">
              <a:extLst>
                <a:ext uri="{FF2B5EF4-FFF2-40B4-BE49-F238E27FC236}">
                  <a16:creationId xmlns:a16="http://schemas.microsoft.com/office/drawing/2014/main" xmlns="" id="{8D9D25CA-E939-4601-8C86-9028B9D4C415}"/>
                </a:ext>
              </a:extLst>
            </p:cNvPr>
            <p:cNvSpPr/>
            <p:nvPr/>
          </p:nvSpPr>
          <p:spPr>
            <a:xfrm>
              <a:off x="1485005" y="1628801"/>
              <a:ext cx="7206397" cy="621001"/>
            </a:xfrm>
            <a:prstGeom prst="rect">
              <a:avLst/>
            </a:prstGeom>
            <a:solidFill>
              <a:srgbClr val="E7EDF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defTabSz="685800">
                <a:spcBef>
                  <a:spcPts val="900"/>
                </a:spcBef>
                <a:buSzPct val="100000"/>
                <a:defRPr/>
              </a:pPr>
              <a:r>
                <a:rPr lang="en-US" sz="1400" dirty="0">
                  <a:solidFill>
                    <a:srgbClr val="283E36"/>
                  </a:solidFill>
                  <a:latin typeface="SwissReSans Light" panose="020B0504020202020204" pitchFamily="34" charset="0"/>
                </a:rPr>
                <a:t>IFRS is the </a:t>
              </a:r>
              <a:r>
                <a:rPr lang="en-US" sz="1400" dirty="0">
                  <a:solidFill>
                    <a:srgbClr val="0F4DBC"/>
                  </a:solidFill>
                  <a:latin typeface="SwissReSans Light" panose="020B0504020202020204" pitchFamily="34" charset="0"/>
                </a:rPr>
                <a:t>globally dominant accounting framework</a:t>
              </a:r>
              <a:r>
                <a:rPr lang="en-US" sz="1400" dirty="0">
                  <a:solidFill>
                    <a:srgbClr val="283E36"/>
                  </a:solidFill>
                  <a:latin typeface="SwissReSans Light" panose="020B0504020202020204" pitchFamily="34" charset="0"/>
                </a:rPr>
                <a:t>, many clients and for local statutory reporting. M</a:t>
              </a:r>
              <a:r>
                <a:rPr lang="en-GB" sz="1400" dirty="0">
                  <a:solidFill>
                    <a:srgbClr val="283E36"/>
                  </a:solidFill>
                  <a:latin typeface="SwissReSans Light" panose="020B0504020202020204" pitchFamily="34" charset="0"/>
                </a:rPr>
                <a:t>any of our clients are looking for both accounting and system related advice as well as reinsurance solutions</a:t>
              </a:r>
              <a:endParaRPr lang="en-US" sz="1400" dirty="0">
                <a:solidFill>
                  <a:srgbClr val="283E36"/>
                </a:solidFill>
                <a:latin typeface="SwissReSans Light" panose="020B0504020202020204" pitchFamily="34" charset="0"/>
              </a:endParaRPr>
            </a:p>
          </p:txBody>
        </p:sp>
        <p:pic>
          <p:nvPicPr>
            <p:cNvPr id="32" name="Graphic 31" descr="Earth globe Africa and Europe">
              <a:extLst>
                <a:ext uri="{FF2B5EF4-FFF2-40B4-BE49-F238E27FC236}">
                  <a16:creationId xmlns:a16="http://schemas.microsoft.com/office/drawing/2014/main" xmlns="" id="{428727F9-1446-4F30-A3DA-261B73487807}"/>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xmlns="" r:embed="rId16"/>
                </a:ext>
              </a:extLst>
            </a:blip>
            <a:stretch>
              <a:fillRect/>
            </a:stretch>
          </p:blipFill>
          <p:spPr>
            <a:xfrm>
              <a:off x="844114" y="1700134"/>
              <a:ext cx="478342" cy="478342"/>
            </a:xfrm>
            <a:prstGeom prst="rect">
              <a:avLst/>
            </a:prstGeom>
          </p:spPr>
        </p:pic>
      </p:grpSp>
      <p:grpSp>
        <p:nvGrpSpPr>
          <p:cNvPr id="8" name="Group 7">
            <a:extLst>
              <a:ext uri="{FF2B5EF4-FFF2-40B4-BE49-F238E27FC236}">
                <a16:creationId xmlns:a16="http://schemas.microsoft.com/office/drawing/2014/main" xmlns="" id="{96F125B6-6B72-42EA-A92A-C74D3527C8F1}"/>
              </a:ext>
            </a:extLst>
          </p:cNvPr>
          <p:cNvGrpSpPr/>
          <p:nvPr/>
        </p:nvGrpSpPr>
        <p:grpSpPr>
          <a:xfrm>
            <a:off x="699281" y="4291968"/>
            <a:ext cx="11035516" cy="844307"/>
            <a:chOff x="699281" y="3645025"/>
            <a:chExt cx="7992121" cy="621007"/>
          </a:xfrm>
        </p:grpSpPr>
        <p:sp>
          <p:nvSpPr>
            <p:cNvPr id="12" name="Rectangle 11">
              <a:extLst>
                <a:ext uri="{FF2B5EF4-FFF2-40B4-BE49-F238E27FC236}">
                  <a16:creationId xmlns:a16="http://schemas.microsoft.com/office/drawing/2014/main" xmlns="" id="{C66343D6-0D30-49B6-B80B-1A9AD629304A}"/>
                </a:ext>
              </a:extLst>
            </p:cNvPr>
            <p:cNvSpPr/>
            <p:nvPr/>
          </p:nvSpPr>
          <p:spPr>
            <a:xfrm>
              <a:off x="699281" y="3645032"/>
              <a:ext cx="768008" cy="621000"/>
            </a:xfrm>
            <a:prstGeom prst="rect">
              <a:avLst/>
            </a:prstGeom>
            <a:solidFill>
              <a:schemeClr val="tx2"/>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defTabSz="685800">
                <a:spcAft>
                  <a:spcPts val="450"/>
                </a:spcAft>
                <a:defRPr/>
              </a:pPr>
              <a:endParaRPr lang="en-GB" sz="1100">
                <a:solidFill>
                  <a:prstClr val="white"/>
                </a:solidFill>
                <a:latin typeface="SwissReSans" panose="020B0604020202020204" pitchFamily="34" charset="0"/>
              </a:endParaRPr>
            </a:p>
          </p:txBody>
        </p:sp>
        <p:sp>
          <p:nvSpPr>
            <p:cNvPr id="16" name="Rectangle 15">
              <a:extLst>
                <a:ext uri="{FF2B5EF4-FFF2-40B4-BE49-F238E27FC236}">
                  <a16:creationId xmlns:a16="http://schemas.microsoft.com/office/drawing/2014/main" xmlns="" id="{D16A5682-85EE-4442-9594-6166756E965F}"/>
                </a:ext>
              </a:extLst>
            </p:cNvPr>
            <p:cNvSpPr/>
            <p:nvPr/>
          </p:nvSpPr>
          <p:spPr>
            <a:xfrm>
              <a:off x="1485005" y="3645025"/>
              <a:ext cx="7206397" cy="621001"/>
            </a:xfrm>
            <a:prstGeom prst="rect">
              <a:avLst/>
            </a:prstGeom>
            <a:solidFill>
              <a:srgbClr val="E7EDF8"/>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defTabSz="685800">
                <a:spcBef>
                  <a:spcPts val="900"/>
                </a:spcBef>
                <a:buSzPct val="100000"/>
                <a:defRPr/>
              </a:pPr>
              <a:r>
                <a:rPr lang="en-US" sz="1400" dirty="0">
                  <a:solidFill>
                    <a:srgbClr val="0F4DBC"/>
                  </a:solidFill>
                  <a:latin typeface="SwissReSans Light" panose="020B0504020202020204" pitchFamily="34" charset="0"/>
                </a:rPr>
                <a:t>Separation is a key concept</a:t>
              </a:r>
              <a:r>
                <a:rPr lang="en-US" sz="1400" dirty="0">
                  <a:solidFill>
                    <a:srgbClr val="283E36"/>
                  </a:solidFill>
                  <a:latin typeface="SwissReSans Light" panose="020B0504020202020204" pitchFamily="34" charset="0"/>
                </a:rPr>
                <a:t> in IFRS 17, with the standard providing specific guidance on the </a:t>
              </a:r>
              <a:r>
                <a:rPr lang="en-US" sz="1400" dirty="0">
                  <a:solidFill>
                    <a:srgbClr val="0F4DBC"/>
                  </a:solidFill>
                  <a:latin typeface="SwissReSans Light" panose="020B0504020202020204" pitchFamily="34" charset="0"/>
                </a:rPr>
                <a:t>separation and measurement </a:t>
              </a:r>
              <a:r>
                <a:rPr lang="en-US" sz="1400" dirty="0">
                  <a:solidFill>
                    <a:srgbClr val="283E36"/>
                  </a:solidFill>
                  <a:latin typeface="SwissReSans Light" panose="020B0504020202020204" pitchFamily="34" charset="0"/>
                </a:rPr>
                <a:t>of things like: assumed vs ceded insurance, investment components, non-insurance services, etc.</a:t>
              </a:r>
            </a:p>
          </p:txBody>
        </p:sp>
        <p:pic>
          <p:nvPicPr>
            <p:cNvPr id="38" name="Graphic 37" descr="Puzzle pieces">
              <a:extLst>
                <a:ext uri="{FF2B5EF4-FFF2-40B4-BE49-F238E27FC236}">
                  <a16:creationId xmlns:a16="http://schemas.microsoft.com/office/drawing/2014/main" xmlns="" id="{97901312-6EFE-4306-BA31-6F25E5CE894D}"/>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844114" y="3716362"/>
              <a:ext cx="478342" cy="478342"/>
            </a:xfrm>
            <a:prstGeom prst="rect">
              <a:avLst/>
            </a:prstGeom>
          </p:spPr>
        </p:pic>
      </p:grpSp>
      <p:sp>
        <p:nvSpPr>
          <p:cNvPr id="2" name="Title 1">
            <a:extLst>
              <a:ext uri="{FF2B5EF4-FFF2-40B4-BE49-F238E27FC236}">
                <a16:creationId xmlns:a16="http://schemas.microsoft.com/office/drawing/2014/main" xmlns="" id="{172377BA-B514-4721-A08B-8310C42719F4}"/>
              </a:ext>
            </a:extLst>
          </p:cNvPr>
          <p:cNvSpPr>
            <a:spLocks noGrp="1"/>
          </p:cNvSpPr>
          <p:nvPr>
            <p:ph type="title"/>
          </p:nvPr>
        </p:nvSpPr>
        <p:spPr>
          <a:xfrm>
            <a:off x="699281" y="701982"/>
            <a:ext cx="10655299" cy="692647"/>
          </a:xfrm>
        </p:spPr>
        <p:txBody>
          <a:bodyPr/>
          <a:lstStyle/>
          <a:p>
            <a:r>
              <a:rPr lang="en-US" dirty="0"/>
              <a:t>Why IFRS?</a:t>
            </a:r>
            <a:br>
              <a:rPr lang="en-US" dirty="0"/>
            </a:br>
            <a:r>
              <a:rPr lang="en-US" sz="1500" dirty="0">
                <a:latin typeface="+mj-lt"/>
              </a:rPr>
              <a:t>High relevance and ambitious goals drive the significant magnitude of change</a:t>
            </a:r>
            <a:endParaRPr lang="en-GB" sz="1500" dirty="0">
              <a:latin typeface="+mj-lt"/>
            </a:endParaRPr>
          </a:p>
        </p:txBody>
      </p:sp>
      <p:sp>
        <p:nvSpPr>
          <p:cNvPr id="26" name="Slide Number Placeholder 7">
            <a:extLst>
              <a:ext uri="{FF2B5EF4-FFF2-40B4-BE49-F238E27FC236}">
                <a16:creationId xmlns:a16="http://schemas.microsoft.com/office/drawing/2014/main" xmlns="" id="{CC1EEE79-B361-4EEE-AC12-78876033577E}"/>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27" name="Picture 26">
            <a:extLst>
              <a:ext uri="{FF2B5EF4-FFF2-40B4-BE49-F238E27FC236}">
                <a16:creationId xmlns:a16="http://schemas.microsoft.com/office/drawing/2014/main" xmlns="" id="{9B64EEE3-8860-4373-860E-1A05EDF6B602}"/>
              </a:ext>
            </a:extLst>
          </p:cNvPr>
          <p:cNvPicPr>
            <a:picLocks noChangeAspect="1"/>
          </p:cNvPicPr>
          <p:nvPr>
            <p:custDataLst>
              <p:tags r:id="rId4"/>
            </p:custDataLst>
          </p:nvPr>
        </p:nvPicPr>
        <p:blipFill>
          <a:blip r:embed="rId19"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29" name="Picture 28">
            <a:extLst>
              <a:ext uri="{FF2B5EF4-FFF2-40B4-BE49-F238E27FC236}">
                <a16:creationId xmlns:a16="http://schemas.microsoft.com/office/drawing/2014/main" xmlns="" id="{934ACC69-E2E1-425C-A961-2C2DC817FD8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324082" y="210751"/>
            <a:ext cx="755375" cy="760943"/>
          </a:xfrm>
          <a:prstGeom prst="rect">
            <a:avLst/>
          </a:prstGeom>
        </p:spPr>
      </p:pic>
    </p:spTree>
    <p:extLst>
      <p:ext uri="{BB962C8B-B14F-4D97-AF65-F5344CB8AC3E}">
        <p14:creationId xmlns:p14="http://schemas.microsoft.com/office/powerpoint/2010/main" val="2045333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5" name="Object 424" hidden="1"/>
          <p:cNvGraphicFramePr>
            <a:graphicFrameLocks noChangeAspect="1"/>
          </p:cNvGraphicFramePr>
          <p:nvPr>
            <p:custDataLst>
              <p:tags r:id="rId2"/>
            </p:custDataLst>
            <p:extLst>
              <p:ext uri="{D42A27DB-BD31-4B8C-83A1-F6EECF244321}">
                <p14:modId xmlns:p14="http://schemas.microsoft.com/office/powerpoint/2010/main" val="374623157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1547" name="think-cell Slide" r:id="rId363" imgW="270" imgH="270" progId="TCLayout.ActiveDocument.1">
                  <p:embed/>
                </p:oleObj>
              </mc:Choice>
              <mc:Fallback>
                <p:oleObj name="think-cell Slide" r:id="rId363" imgW="270" imgH="270" progId="TCLayout.ActiveDocument.1">
                  <p:embed/>
                  <p:pic>
                    <p:nvPicPr>
                      <p:cNvPr id="425" name="Object 424" hidden="1"/>
                      <p:cNvPicPr/>
                      <p:nvPr/>
                    </p:nvPicPr>
                    <p:blipFill>
                      <a:blip r:embed="rId364"/>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a:solidFill>
            <a:srgbClr val="FFFFFF">
              <a:alpha val="50196"/>
            </a:srgbClr>
          </a:solidFill>
          <a:ln w="6350">
            <a:solidFill>
              <a:srgbClr val="A1B1AD">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400">
              <a:solidFill>
                <a:prstClr val="white"/>
              </a:solidFill>
              <a:latin typeface="SwissReSans" panose="020B0604020202020204" pitchFamily="34" charset="0"/>
              <a:sym typeface="SwissReSans" panose="020B0604020202020204" pitchFamily="34" charset="0"/>
            </a:endParaRPr>
          </a:p>
        </p:txBody>
      </p:sp>
      <p:sp>
        <p:nvSpPr>
          <p:cNvPr id="417" name="Title 2"/>
          <p:cNvSpPr txBox="1">
            <a:spLocks/>
          </p:cNvSpPr>
          <p:nvPr/>
        </p:nvSpPr>
        <p:spPr bwMode="black">
          <a:xfrm>
            <a:off x="701767" y="690500"/>
            <a:ext cx="7983416" cy="692647"/>
          </a:xfrm>
          <a:prstGeom prst="rect">
            <a:avLst/>
          </a:prstGeom>
        </p:spPr>
        <p:txBody>
          <a:bodyPr vert="horz" lIns="0" tIns="0" rIns="0" bIns="0" rtlCol="0" anchor="t" anchorCtr="0">
            <a:noAutofit/>
          </a:bodyPr>
          <a:lstStyle>
            <a:lvl1pPr>
              <a:lnSpc>
                <a:spcPct val="90000"/>
              </a:lnSpc>
              <a:spcBef>
                <a:spcPct val="0"/>
              </a:spcBef>
              <a:buNone/>
              <a:defRPr sz="2400">
                <a:solidFill>
                  <a:schemeClr val="tx2"/>
                </a:solidFill>
                <a:latin typeface="SwissReSans" pitchFamily="34" charset="0"/>
                <a:ea typeface="+mj-ea"/>
                <a:cs typeface="+mj-cs"/>
              </a:defRPr>
            </a:lvl1pPr>
          </a:lstStyle>
          <a:p>
            <a:r>
              <a:rPr lang="en-GB"/>
              <a:t>Geographical distribution of IFRS</a:t>
            </a:r>
            <a:br>
              <a:rPr lang="en-GB"/>
            </a:br>
            <a:r>
              <a:rPr lang="en-GB" sz="1500">
                <a:latin typeface="+mj-lt"/>
              </a:rPr>
              <a:t>IFRS has developed into the de-facto global language of financial reporting</a:t>
            </a:r>
          </a:p>
        </p:txBody>
      </p:sp>
      <p:sp>
        <p:nvSpPr>
          <p:cNvPr id="418" name="Content Placeholder 1"/>
          <p:cNvSpPr txBox="1">
            <a:spLocks/>
          </p:cNvSpPr>
          <p:nvPr/>
        </p:nvSpPr>
        <p:spPr bwMode="black">
          <a:xfrm>
            <a:off x="708061" y="5327161"/>
            <a:ext cx="7967708" cy="720899"/>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a:latin typeface="SwissReSans Light" panose="020B0504020202020204" pitchFamily="34" charset="0"/>
            </a:endParaRPr>
          </a:p>
        </p:txBody>
      </p:sp>
      <p:sp>
        <p:nvSpPr>
          <p:cNvPr id="434" name="Rectangle 433"/>
          <p:cNvSpPr/>
          <p:nvPr/>
        </p:nvSpPr>
        <p:spPr>
          <a:xfrm>
            <a:off x="701336" y="5610486"/>
            <a:ext cx="10490957" cy="406443"/>
          </a:xfrm>
          <a:prstGeom prst="rect">
            <a:avLst/>
          </a:prstGeom>
        </p:spPr>
        <p:txBody>
          <a:bodyPr wrap="square" lIns="0" tIns="0" rIns="0" bIns="0">
            <a:noAutofit/>
          </a:bodyPr>
          <a:lstStyle/>
          <a:p>
            <a:pPr marL="180975" indent="-180975">
              <a:buClr>
                <a:srgbClr val="0F4DBC"/>
              </a:buClr>
              <a:buFont typeface="Wingdings" panose="05000000000000000000" pitchFamily="2" charset="2"/>
              <a:buChar char="§"/>
            </a:pPr>
            <a:r>
              <a:rPr lang="en-GB" sz="1200" dirty="0">
                <a:solidFill>
                  <a:srgbClr val="000000"/>
                </a:solidFill>
                <a:latin typeface="SwissReSans Light" panose="020B0504020202020204" pitchFamily="34" charset="0"/>
              </a:rPr>
              <a:t>Today, 144 out of 166 jurisdictions researched by the IFRS Foundation have adopted IFRS </a:t>
            </a:r>
          </a:p>
        </p:txBody>
      </p:sp>
      <p:sp>
        <p:nvSpPr>
          <p:cNvPr id="867" name="Rectangle 866"/>
          <p:cNvSpPr/>
          <p:nvPr/>
        </p:nvSpPr>
        <p:spPr>
          <a:xfrm>
            <a:off x="8910294" y="4336497"/>
            <a:ext cx="210312" cy="210312"/>
          </a:xfrm>
          <a:prstGeom prst="rect">
            <a:avLst/>
          </a:prstGeom>
          <a:solidFill>
            <a:schemeClr val="accent3"/>
          </a:solidFill>
          <a:ln w="6350">
            <a:solidFill>
              <a:srgbClr val="A1B1AD">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solidFill>
                <a:prstClr val="white"/>
              </a:solidFill>
              <a:latin typeface="SwissReSans Light" panose="020B0504020202020204" pitchFamily="34" charset="0"/>
            </a:endParaRPr>
          </a:p>
        </p:txBody>
      </p:sp>
      <p:sp>
        <p:nvSpPr>
          <p:cNvPr id="868" name="Rectangle 867"/>
          <p:cNvSpPr/>
          <p:nvPr/>
        </p:nvSpPr>
        <p:spPr>
          <a:xfrm>
            <a:off x="9214090" y="4336497"/>
            <a:ext cx="2302841" cy="240439"/>
          </a:xfrm>
          <a:prstGeom prst="rect">
            <a:avLst/>
          </a:prstGeom>
        </p:spPr>
        <p:txBody>
          <a:bodyPr wrap="square" lIns="108000" tIns="0" rIns="0" bIns="0">
            <a:noAutofit/>
          </a:bodyPr>
          <a:lstStyle/>
          <a:p>
            <a:r>
              <a:rPr lang="en-GB" sz="1000">
                <a:solidFill>
                  <a:srgbClr val="283E36"/>
                </a:solidFill>
                <a:latin typeface="SwissReSans Light"/>
              </a:rPr>
              <a:t>IFRS required for domestic public companies  </a:t>
            </a:r>
          </a:p>
        </p:txBody>
      </p:sp>
      <p:sp>
        <p:nvSpPr>
          <p:cNvPr id="870" name="Rectangle 869"/>
          <p:cNvSpPr/>
          <p:nvPr/>
        </p:nvSpPr>
        <p:spPr>
          <a:xfrm>
            <a:off x="8894622" y="4818735"/>
            <a:ext cx="210312" cy="210312"/>
          </a:xfrm>
          <a:prstGeom prst="rect">
            <a:avLst/>
          </a:prstGeom>
          <a:solidFill>
            <a:srgbClr val="5783D0"/>
          </a:solidFill>
          <a:ln w="6350">
            <a:solidFill>
              <a:srgbClr val="A1B1AD">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solidFill>
                <a:prstClr val="white"/>
              </a:solidFill>
              <a:latin typeface="SwissReSans Light" panose="020B0504020202020204" pitchFamily="34" charset="0"/>
            </a:endParaRPr>
          </a:p>
        </p:txBody>
      </p:sp>
      <p:sp>
        <p:nvSpPr>
          <p:cNvPr id="871" name="Rectangle 870"/>
          <p:cNvSpPr/>
          <p:nvPr/>
        </p:nvSpPr>
        <p:spPr>
          <a:xfrm>
            <a:off x="9204629" y="4818735"/>
            <a:ext cx="2312302" cy="328972"/>
          </a:xfrm>
          <a:prstGeom prst="rect">
            <a:avLst/>
          </a:prstGeom>
        </p:spPr>
        <p:txBody>
          <a:bodyPr wrap="square" lIns="108000" tIns="0" rIns="0" bIns="0">
            <a:noAutofit/>
          </a:bodyPr>
          <a:lstStyle/>
          <a:p>
            <a:r>
              <a:rPr lang="en-GB" sz="1000" dirty="0">
                <a:solidFill>
                  <a:srgbClr val="283E36"/>
                </a:solidFill>
                <a:latin typeface="SwissReSans Light"/>
              </a:rPr>
              <a:t>IFRS permitted (Japan) or local standards substantially converged to IFRS (e.g. China, Indonesia)</a:t>
            </a:r>
          </a:p>
        </p:txBody>
      </p:sp>
      <p:sp>
        <p:nvSpPr>
          <p:cNvPr id="873" name="Rectangle 872"/>
          <p:cNvSpPr/>
          <p:nvPr/>
        </p:nvSpPr>
        <p:spPr>
          <a:xfrm>
            <a:off x="8921125" y="3852116"/>
            <a:ext cx="212827" cy="210312"/>
          </a:xfrm>
          <a:prstGeom prst="rect">
            <a:avLst/>
          </a:prstGeom>
          <a:solidFill>
            <a:srgbClr val="FFCF97"/>
          </a:solidFill>
          <a:ln w="6350">
            <a:solidFill>
              <a:srgbClr val="A1B1AD">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solidFill>
                <a:prstClr val="white"/>
              </a:solidFill>
              <a:latin typeface="SwissReSans Light" panose="020B0504020202020204" pitchFamily="34" charset="0"/>
            </a:endParaRPr>
          </a:p>
        </p:txBody>
      </p:sp>
      <p:sp>
        <p:nvSpPr>
          <p:cNvPr id="874" name="Rectangle 873"/>
          <p:cNvSpPr/>
          <p:nvPr/>
        </p:nvSpPr>
        <p:spPr>
          <a:xfrm>
            <a:off x="9214090" y="3852116"/>
            <a:ext cx="1717442" cy="282230"/>
          </a:xfrm>
          <a:prstGeom prst="rect">
            <a:avLst/>
          </a:prstGeom>
        </p:spPr>
        <p:txBody>
          <a:bodyPr wrap="square" lIns="108000" tIns="0" rIns="0" bIns="0">
            <a:noAutofit/>
          </a:bodyPr>
          <a:lstStyle/>
          <a:p>
            <a:r>
              <a:rPr lang="en-GB" sz="1000">
                <a:solidFill>
                  <a:srgbClr val="283E36"/>
                </a:solidFill>
                <a:latin typeface="SwissReSans Light"/>
              </a:rPr>
              <a:t>US GAAP  for publicly traded companies  </a:t>
            </a:r>
          </a:p>
        </p:txBody>
      </p:sp>
      <p:grpSp>
        <p:nvGrpSpPr>
          <p:cNvPr id="3" name="Group 2">
            <a:extLst>
              <a:ext uri="{FF2B5EF4-FFF2-40B4-BE49-F238E27FC236}">
                <a16:creationId xmlns:a16="http://schemas.microsoft.com/office/drawing/2014/main" xmlns="" id="{72650161-A7F2-42E2-9230-3D1112241B20}"/>
              </a:ext>
            </a:extLst>
          </p:cNvPr>
          <p:cNvGrpSpPr/>
          <p:nvPr/>
        </p:nvGrpSpPr>
        <p:grpSpPr>
          <a:xfrm>
            <a:off x="685954" y="1714851"/>
            <a:ext cx="8434652" cy="3612310"/>
            <a:chOff x="685954" y="1714851"/>
            <a:chExt cx="7800613" cy="3451390"/>
          </a:xfrm>
        </p:grpSpPr>
        <p:pic>
          <p:nvPicPr>
            <p:cNvPr id="435" name="Picture 434"/>
            <p:cNvPicPr>
              <a:picLocks noChangeAspect="1"/>
            </p:cNvPicPr>
            <p:nvPr/>
          </p:nvPicPr>
          <p:blipFill>
            <a:blip r:embed="rId365" cstate="print">
              <a:extLst>
                <a:ext uri="{28A0092B-C50C-407E-A947-70E740481C1C}">
                  <a14:useLocalDpi xmlns:a14="http://schemas.microsoft.com/office/drawing/2010/main" val="0"/>
                </a:ext>
              </a:extLst>
            </a:blip>
            <a:stretch>
              <a:fillRect/>
            </a:stretch>
          </p:blipFill>
          <p:spPr>
            <a:xfrm>
              <a:off x="2660896" y="3098392"/>
              <a:ext cx="900000" cy="175743"/>
            </a:xfrm>
            <a:prstGeom prst="rect">
              <a:avLst/>
            </a:prstGeom>
          </p:spPr>
        </p:pic>
        <p:grpSp>
          <p:nvGrpSpPr>
            <p:cNvPr id="453" name="Group 452"/>
            <p:cNvGrpSpPr/>
            <p:nvPr/>
          </p:nvGrpSpPr>
          <p:grpSpPr>
            <a:xfrm>
              <a:off x="969802" y="1714851"/>
              <a:ext cx="7144469" cy="3451390"/>
              <a:chOff x="1362672" y="1850723"/>
              <a:chExt cx="6920550" cy="3343218"/>
            </a:xfrm>
          </p:grpSpPr>
          <p:sp>
            <p:nvSpPr>
              <p:cNvPr id="454" name="vMap : Chile (Mainland)">
                <a:extLst>
                  <a:ext uri="{FF2B5EF4-FFF2-40B4-BE49-F238E27FC236}">
                    <a16:creationId xmlns:a16="http://schemas.microsoft.com/office/drawing/2014/main" xmlns="" id="{D951AA6C-F48C-AF4A-A354-FDB76B97EE8D}"/>
                  </a:ext>
                </a:extLst>
              </p:cNvPr>
              <p:cNvSpPr>
                <a:spLocks noChangeAspect="1"/>
              </p:cNvSpPr>
              <p:nvPr>
                <p:custDataLst>
                  <p:tags r:id="rId5"/>
                </p:custDataLst>
              </p:nvPr>
            </p:nvSpPr>
            <p:spPr bwMode="gray">
              <a:xfrm>
                <a:off x="2890588" y="4246945"/>
                <a:ext cx="290564" cy="946996"/>
              </a:xfrm>
              <a:custGeom>
                <a:avLst/>
                <a:gdLst>
                  <a:gd name="T0" fmla="*/ 74 w 311"/>
                  <a:gd name="T1" fmla="*/ 350 h 991"/>
                  <a:gd name="T2" fmla="*/ 84 w 311"/>
                  <a:gd name="T3" fmla="*/ 361 h 991"/>
                  <a:gd name="T4" fmla="*/ 91 w 311"/>
                  <a:gd name="T5" fmla="*/ 369 h 991"/>
                  <a:gd name="T6" fmla="*/ 103 w 311"/>
                  <a:gd name="T7" fmla="*/ 374 h 991"/>
                  <a:gd name="T8" fmla="*/ 117 w 311"/>
                  <a:gd name="T9" fmla="*/ 358 h 991"/>
                  <a:gd name="T10" fmla="*/ 78 w 311"/>
                  <a:gd name="T11" fmla="*/ 342 h 991"/>
                  <a:gd name="T12" fmla="*/ 67 w 311"/>
                  <a:gd name="T13" fmla="*/ 338 h 991"/>
                  <a:gd name="T14" fmla="*/ 61 w 311"/>
                  <a:gd name="T15" fmla="*/ 286 h 991"/>
                  <a:gd name="T16" fmla="*/ 59 w 311"/>
                  <a:gd name="T17" fmla="*/ 281 h 991"/>
                  <a:gd name="T18" fmla="*/ 45 w 311"/>
                  <a:gd name="T19" fmla="*/ 259 h 991"/>
                  <a:gd name="T20" fmla="*/ 41 w 311"/>
                  <a:gd name="T21" fmla="*/ 247 h 991"/>
                  <a:gd name="T22" fmla="*/ 39 w 311"/>
                  <a:gd name="T23" fmla="*/ 218 h 991"/>
                  <a:gd name="T24" fmla="*/ 36 w 311"/>
                  <a:gd name="T25" fmla="*/ 192 h 991"/>
                  <a:gd name="T26" fmla="*/ 36 w 311"/>
                  <a:gd name="T27" fmla="*/ 173 h 991"/>
                  <a:gd name="T28" fmla="*/ 25 w 311"/>
                  <a:gd name="T29" fmla="*/ 110 h 991"/>
                  <a:gd name="T30" fmla="*/ 28 w 311"/>
                  <a:gd name="T31" fmla="*/ 73 h 991"/>
                  <a:gd name="T32" fmla="*/ 36 w 311"/>
                  <a:gd name="T33" fmla="*/ 55 h 991"/>
                  <a:gd name="T34" fmla="*/ 23 w 311"/>
                  <a:gd name="T35" fmla="*/ 35 h 991"/>
                  <a:gd name="T36" fmla="*/ 20 w 311"/>
                  <a:gd name="T37" fmla="*/ 17 h 991"/>
                  <a:gd name="T38" fmla="*/ 0 w 311"/>
                  <a:gd name="T39" fmla="*/ 6 h 991"/>
                  <a:gd name="T40" fmla="*/ 6 w 311"/>
                  <a:gd name="T41" fmla="*/ 60 h 991"/>
                  <a:gd name="T42" fmla="*/ 9 w 311"/>
                  <a:gd name="T43" fmla="*/ 119 h 991"/>
                  <a:gd name="T44" fmla="*/ 17 w 311"/>
                  <a:gd name="T45" fmla="*/ 204 h 991"/>
                  <a:gd name="T46" fmla="*/ 23 w 311"/>
                  <a:gd name="T47" fmla="*/ 228 h 991"/>
                  <a:gd name="T48" fmla="*/ 26 w 311"/>
                  <a:gd name="T49" fmla="*/ 247 h 991"/>
                  <a:gd name="T50" fmla="*/ 39 w 311"/>
                  <a:gd name="T51" fmla="*/ 250 h 991"/>
                  <a:gd name="T52" fmla="*/ 42 w 311"/>
                  <a:gd name="T53" fmla="*/ 261 h 991"/>
                  <a:gd name="T54" fmla="*/ 50 w 311"/>
                  <a:gd name="T55" fmla="*/ 283 h 991"/>
                  <a:gd name="T56" fmla="*/ 45 w 311"/>
                  <a:gd name="T57" fmla="*/ 291 h 991"/>
                  <a:gd name="T58" fmla="*/ 47 w 311"/>
                  <a:gd name="T59" fmla="*/ 294 h 991"/>
                  <a:gd name="T60" fmla="*/ 50 w 311"/>
                  <a:gd name="T61" fmla="*/ 294 h 991"/>
                  <a:gd name="T62" fmla="*/ 47 w 311"/>
                  <a:gd name="T63" fmla="*/ 301 h 991"/>
                  <a:gd name="T64" fmla="*/ 35 w 311"/>
                  <a:gd name="T65" fmla="*/ 294 h 991"/>
                  <a:gd name="T66" fmla="*/ 35 w 311"/>
                  <a:gd name="T67" fmla="*/ 303 h 991"/>
                  <a:gd name="T68" fmla="*/ 49 w 311"/>
                  <a:gd name="T69" fmla="*/ 308 h 991"/>
                  <a:gd name="T70" fmla="*/ 58 w 311"/>
                  <a:gd name="T71" fmla="*/ 318 h 991"/>
                  <a:gd name="T72" fmla="*/ 52 w 311"/>
                  <a:gd name="T73" fmla="*/ 319 h 991"/>
                  <a:gd name="T74" fmla="*/ 57 w 311"/>
                  <a:gd name="T75" fmla="*/ 329 h 991"/>
                  <a:gd name="T76" fmla="*/ 61 w 311"/>
                  <a:gd name="T77" fmla="*/ 331 h 991"/>
                  <a:gd name="T78" fmla="*/ 67 w 311"/>
                  <a:gd name="T79" fmla="*/ 342 h 991"/>
                  <a:gd name="T80" fmla="*/ 75 w 311"/>
                  <a:gd name="T81" fmla="*/ 355 h 9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11" h="991">
                    <a:moveTo>
                      <a:pt x="207" y="941"/>
                    </a:moveTo>
                    <a:lnTo>
                      <a:pt x="195" y="927"/>
                    </a:lnTo>
                    <a:lnTo>
                      <a:pt x="215" y="937"/>
                    </a:lnTo>
                    <a:lnTo>
                      <a:pt x="223" y="957"/>
                    </a:lnTo>
                    <a:lnTo>
                      <a:pt x="261" y="965"/>
                    </a:lnTo>
                    <a:lnTo>
                      <a:pt x="241" y="977"/>
                    </a:lnTo>
                    <a:lnTo>
                      <a:pt x="261" y="987"/>
                    </a:lnTo>
                    <a:lnTo>
                      <a:pt x="273" y="991"/>
                    </a:lnTo>
                    <a:lnTo>
                      <a:pt x="265" y="961"/>
                    </a:lnTo>
                    <a:lnTo>
                      <a:pt x="311" y="949"/>
                    </a:lnTo>
                    <a:lnTo>
                      <a:pt x="227" y="941"/>
                    </a:lnTo>
                    <a:lnTo>
                      <a:pt x="207" y="907"/>
                    </a:lnTo>
                    <a:lnTo>
                      <a:pt x="187" y="911"/>
                    </a:lnTo>
                    <a:lnTo>
                      <a:pt x="177" y="895"/>
                    </a:lnTo>
                    <a:lnTo>
                      <a:pt x="173" y="799"/>
                    </a:lnTo>
                    <a:lnTo>
                      <a:pt x="161" y="758"/>
                    </a:lnTo>
                    <a:lnTo>
                      <a:pt x="145" y="750"/>
                    </a:lnTo>
                    <a:lnTo>
                      <a:pt x="157" y="746"/>
                    </a:lnTo>
                    <a:lnTo>
                      <a:pt x="141" y="740"/>
                    </a:lnTo>
                    <a:lnTo>
                      <a:pt x="120" y="686"/>
                    </a:lnTo>
                    <a:lnTo>
                      <a:pt x="120" y="670"/>
                    </a:lnTo>
                    <a:lnTo>
                      <a:pt x="108" y="654"/>
                    </a:lnTo>
                    <a:lnTo>
                      <a:pt x="100" y="620"/>
                    </a:lnTo>
                    <a:lnTo>
                      <a:pt x="104" y="578"/>
                    </a:lnTo>
                    <a:lnTo>
                      <a:pt x="86" y="528"/>
                    </a:lnTo>
                    <a:lnTo>
                      <a:pt x="96" y="508"/>
                    </a:lnTo>
                    <a:lnTo>
                      <a:pt x="90" y="487"/>
                    </a:lnTo>
                    <a:lnTo>
                      <a:pt x="96" y="457"/>
                    </a:lnTo>
                    <a:lnTo>
                      <a:pt x="62" y="375"/>
                    </a:lnTo>
                    <a:lnTo>
                      <a:pt x="66" y="291"/>
                    </a:lnTo>
                    <a:lnTo>
                      <a:pt x="86" y="257"/>
                    </a:lnTo>
                    <a:lnTo>
                      <a:pt x="74" y="192"/>
                    </a:lnTo>
                    <a:lnTo>
                      <a:pt x="100" y="176"/>
                    </a:lnTo>
                    <a:lnTo>
                      <a:pt x="96" y="146"/>
                    </a:lnTo>
                    <a:lnTo>
                      <a:pt x="78" y="142"/>
                    </a:lnTo>
                    <a:lnTo>
                      <a:pt x="62" y="92"/>
                    </a:lnTo>
                    <a:lnTo>
                      <a:pt x="50" y="74"/>
                    </a:lnTo>
                    <a:lnTo>
                      <a:pt x="54" y="46"/>
                    </a:lnTo>
                    <a:lnTo>
                      <a:pt x="24" y="0"/>
                    </a:lnTo>
                    <a:lnTo>
                      <a:pt x="0" y="16"/>
                    </a:lnTo>
                    <a:lnTo>
                      <a:pt x="24" y="108"/>
                    </a:lnTo>
                    <a:lnTo>
                      <a:pt x="16" y="158"/>
                    </a:lnTo>
                    <a:lnTo>
                      <a:pt x="28" y="253"/>
                    </a:lnTo>
                    <a:lnTo>
                      <a:pt x="24" y="315"/>
                    </a:lnTo>
                    <a:lnTo>
                      <a:pt x="50" y="445"/>
                    </a:lnTo>
                    <a:lnTo>
                      <a:pt x="44" y="540"/>
                    </a:lnTo>
                    <a:lnTo>
                      <a:pt x="36" y="544"/>
                    </a:lnTo>
                    <a:lnTo>
                      <a:pt x="62" y="604"/>
                    </a:lnTo>
                    <a:lnTo>
                      <a:pt x="54" y="616"/>
                    </a:lnTo>
                    <a:lnTo>
                      <a:pt x="70" y="654"/>
                    </a:lnTo>
                    <a:lnTo>
                      <a:pt x="82" y="666"/>
                    </a:lnTo>
                    <a:lnTo>
                      <a:pt x="104" y="662"/>
                    </a:lnTo>
                    <a:lnTo>
                      <a:pt x="96" y="674"/>
                    </a:lnTo>
                    <a:lnTo>
                      <a:pt x="112" y="690"/>
                    </a:lnTo>
                    <a:lnTo>
                      <a:pt x="112" y="732"/>
                    </a:lnTo>
                    <a:lnTo>
                      <a:pt x="132" y="750"/>
                    </a:lnTo>
                    <a:lnTo>
                      <a:pt x="120" y="754"/>
                    </a:lnTo>
                    <a:lnTo>
                      <a:pt x="120" y="770"/>
                    </a:lnTo>
                    <a:lnTo>
                      <a:pt x="128" y="770"/>
                    </a:lnTo>
                    <a:lnTo>
                      <a:pt x="124" y="778"/>
                    </a:lnTo>
                    <a:lnTo>
                      <a:pt x="128" y="789"/>
                    </a:lnTo>
                    <a:lnTo>
                      <a:pt x="132" y="778"/>
                    </a:lnTo>
                    <a:lnTo>
                      <a:pt x="132" y="789"/>
                    </a:lnTo>
                    <a:lnTo>
                      <a:pt x="124" y="795"/>
                    </a:lnTo>
                    <a:lnTo>
                      <a:pt x="108" y="778"/>
                    </a:lnTo>
                    <a:lnTo>
                      <a:pt x="92" y="778"/>
                    </a:lnTo>
                    <a:lnTo>
                      <a:pt x="100" y="789"/>
                    </a:lnTo>
                    <a:lnTo>
                      <a:pt x="92" y="803"/>
                    </a:lnTo>
                    <a:lnTo>
                      <a:pt x="120" y="803"/>
                    </a:lnTo>
                    <a:lnTo>
                      <a:pt x="128" y="815"/>
                    </a:lnTo>
                    <a:lnTo>
                      <a:pt x="120" y="819"/>
                    </a:lnTo>
                    <a:lnTo>
                      <a:pt x="153" y="841"/>
                    </a:lnTo>
                    <a:lnTo>
                      <a:pt x="128" y="835"/>
                    </a:lnTo>
                    <a:lnTo>
                      <a:pt x="136" y="845"/>
                    </a:lnTo>
                    <a:lnTo>
                      <a:pt x="138" y="849"/>
                    </a:lnTo>
                    <a:lnTo>
                      <a:pt x="149" y="873"/>
                    </a:lnTo>
                    <a:lnTo>
                      <a:pt x="157" y="865"/>
                    </a:lnTo>
                    <a:lnTo>
                      <a:pt x="161" y="877"/>
                    </a:lnTo>
                    <a:lnTo>
                      <a:pt x="153" y="895"/>
                    </a:lnTo>
                    <a:lnTo>
                      <a:pt x="177" y="907"/>
                    </a:lnTo>
                    <a:lnTo>
                      <a:pt x="177" y="919"/>
                    </a:lnTo>
                    <a:lnTo>
                      <a:pt x="199" y="941"/>
                    </a:lnTo>
                    <a:lnTo>
                      <a:pt x="207" y="941"/>
                    </a:lnTo>
                  </a:path>
                </a:pathLst>
              </a:custGeom>
              <a:solidFill>
                <a:srgbClr val="0F4DBC"/>
              </a:solid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455" name="Group 454"/>
              <p:cNvGrpSpPr/>
              <p:nvPr/>
            </p:nvGrpSpPr>
            <p:grpSpPr>
              <a:xfrm>
                <a:off x="1362672" y="1850723"/>
                <a:ext cx="6920550" cy="3262180"/>
                <a:chOff x="909319" y="2177179"/>
                <a:chExt cx="7210876" cy="3427221"/>
              </a:xfrm>
            </p:grpSpPr>
            <p:sp>
              <p:nvSpPr>
                <p:cNvPr id="456" name="vMap : Mauritius">
                  <a:extLst>
                    <a:ext uri="{FF2B5EF4-FFF2-40B4-BE49-F238E27FC236}">
                      <a16:creationId xmlns:a16="http://schemas.microsoft.com/office/drawing/2014/main" xmlns="" id="{8B495BC2-81BD-9A41-9ED9-2F7664F0E569}"/>
                    </a:ext>
                  </a:extLst>
                </p:cNvPr>
                <p:cNvSpPr>
                  <a:spLocks noChangeAspect="1"/>
                </p:cNvSpPr>
                <p:nvPr>
                  <p:custDataLst>
                    <p:tags r:id="rId6"/>
                  </p:custDataLst>
                </p:nvPr>
              </p:nvSpPr>
              <p:spPr bwMode="gray">
                <a:xfrm>
                  <a:off x="5359068" y="4758479"/>
                  <a:ext cx="6085" cy="10885"/>
                </a:xfrm>
                <a:custGeom>
                  <a:avLst/>
                  <a:gdLst>
                    <a:gd name="T0" fmla="*/ 1 w 7"/>
                    <a:gd name="T1" fmla="*/ 0 h 12"/>
                    <a:gd name="T2" fmla="*/ 2 w 7"/>
                    <a:gd name="T3" fmla="*/ 4 h 12"/>
                    <a:gd name="T4" fmla="*/ 0 w 7"/>
                    <a:gd name="T5" fmla="*/ 4 h 12"/>
                    <a:gd name="T6" fmla="*/ 1 w 7"/>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2">
                      <a:moveTo>
                        <a:pt x="3" y="0"/>
                      </a:moveTo>
                      <a:lnTo>
                        <a:pt x="7" y="12"/>
                      </a:lnTo>
                      <a:lnTo>
                        <a:pt x="0" y="12"/>
                      </a:lnTo>
                      <a:lnTo>
                        <a:pt x="3" y="0"/>
                      </a:lnTo>
                      <a:close/>
                    </a:path>
                  </a:pathLst>
                </a:custGeom>
                <a:solidFill>
                  <a:srgbClr val="0F4DBC"/>
                </a:solidFill>
                <a:ln w="3175">
                  <a:solidFill>
                    <a:srgbClr val="FFFFFF"/>
                  </a:solidFill>
                </a:ln>
              </p:spPr>
              <p:txBody>
                <a:bodyPr/>
                <a:lstStyle/>
                <a:p>
                  <a:endParaRPr lang="en-GB">
                    <a:solidFill>
                      <a:srgbClr val="283E36"/>
                    </a:solidFill>
                    <a:latin typeface="SwissReSans"/>
                  </a:endParaRPr>
                </a:p>
              </p:txBody>
            </p:sp>
            <p:sp>
              <p:nvSpPr>
                <p:cNvPr id="457" name="vMap : USA">
                  <a:extLst>
                    <a:ext uri="{FF2B5EF4-FFF2-40B4-BE49-F238E27FC236}">
                      <a16:creationId xmlns:a16="http://schemas.microsoft.com/office/drawing/2014/main" xmlns="" id="{88058C6A-0317-3644-B192-F8B5F82C8248}"/>
                    </a:ext>
                  </a:extLst>
                </p:cNvPr>
                <p:cNvSpPr>
                  <a:spLocks noChangeAspect="1"/>
                </p:cNvSpPr>
                <p:nvPr>
                  <p:custDataLst>
                    <p:tags r:id="rId7"/>
                  </p:custDataLst>
                </p:nvPr>
              </p:nvSpPr>
              <p:spPr bwMode="gray">
                <a:xfrm>
                  <a:off x="1491970" y="2936020"/>
                  <a:ext cx="1250493" cy="634441"/>
                </a:xfrm>
                <a:custGeom>
                  <a:avLst/>
                  <a:gdLst>
                    <a:gd name="T0" fmla="*/ 368 w 1339"/>
                    <a:gd name="T1" fmla="*/ 34 h 666"/>
                    <a:gd name="T2" fmla="*/ 345 w 1339"/>
                    <a:gd name="T3" fmla="*/ 36 h 666"/>
                    <a:gd name="T4" fmla="*/ 322 w 1339"/>
                    <a:gd name="T5" fmla="*/ 62 h 666"/>
                    <a:gd name="T6" fmla="*/ 333 w 1339"/>
                    <a:gd name="T7" fmla="*/ 67 h 666"/>
                    <a:gd name="T8" fmla="*/ 349 w 1339"/>
                    <a:gd name="T9" fmla="*/ 43 h 666"/>
                    <a:gd name="T10" fmla="*/ 368 w 1339"/>
                    <a:gd name="T11" fmla="*/ 42 h 666"/>
                    <a:gd name="T12" fmla="*/ 368 w 1339"/>
                    <a:gd name="T13" fmla="*/ 53 h 666"/>
                    <a:gd name="T14" fmla="*/ 359 w 1339"/>
                    <a:gd name="T15" fmla="*/ 70 h 666"/>
                    <a:gd name="T16" fmla="*/ 355 w 1339"/>
                    <a:gd name="T17" fmla="*/ 79 h 666"/>
                    <a:gd name="T18" fmla="*/ 395 w 1339"/>
                    <a:gd name="T19" fmla="*/ 62 h 666"/>
                    <a:gd name="T20" fmla="*/ 430 w 1339"/>
                    <a:gd name="T21" fmla="*/ 48 h 666"/>
                    <a:gd name="T22" fmla="*/ 475 w 1339"/>
                    <a:gd name="T23" fmla="*/ 42 h 666"/>
                    <a:gd name="T24" fmla="*/ 505 w 1339"/>
                    <a:gd name="T25" fmla="*/ 23 h 666"/>
                    <a:gd name="T26" fmla="*/ 500 w 1339"/>
                    <a:gd name="T27" fmla="*/ 47 h 666"/>
                    <a:gd name="T28" fmla="*/ 481 w 1339"/>
                    <a:gd name="T29" fmla="*/ 55 h 666"/>
                    <a:gd name="T30" fmla="*/ 465 w 1339"/>
                    <a:gd name="T31" fmla="*/ 78 h 666"/>
                    <a:gd name="T32" fmla="*/ 427 w 1339"/>
                    <a:gd name="T33" fmla="*/ 94 h 666"/>
                    <a:gd name="T34" fmla="*/ 413 w 1339"/>
                    <a:gd name="T35" fmla="*/ 111 h 666"/>
                    <a:gd name="T36" fmla="*/ 401 w 1339"/>
                    <a:gd name="T37" fmla="*/ 112 h 666"/>
                    <a:gd name="T38" fmla="*/ 401 w 1339"/>
                    <a:gd name="T39" fmla="*/ 103 h 666"/>
                    <a:gd name="T40" fmla="*/ 398 w 1339"/>
                    <a:gd name="T41" fmla="*/ 118 h 666"/>
                    <a:gd name="T42" fmla="*/ 398 w 1339"/>
                    <a:gd name="T43" fmla="*/ 128 h 666"/>
                    <a:gd name="T44" fmla="*/ 389 w 1339"/>
                    <a:gd name="T45" fmla="*/ 138 h 666"/>
                    <a:gd name="T46" fmla="*/ 397 w 1339"/>
                    <a:gd name="T47" fmla="*/ 141 h 666"/>
                    <a:gd name="T48" fmla="*/ 362 w 1339"/>
                    <a:gd name="T49" fmla="*/ 161 h 666"/>
                    <a:gd name="T50" fmla="*/ 333 w 1339"/>
                    <a:gd name="T51" fmla="*/ 230 h 666"/>
                    <a:gd name="T52" fmla="*/ 317 w 1339"/>
                    <a:gd name="T53" fmla="*/ 240 h 666"/>
                    <a:gd name="T54" fmla="*/ 312 w 1339"/>
                    <a:gd name="T55" fmla="*/ 221 h 666"/>
                    <a:gd name="T56" fmla="*/ 294 w 1339"/>
                    <a:gd name="T57" fmla="*/ 201 h 666"/>
                    <a:gd name="T58" fmla="*/ 274 w 1339"/>
                    <a:gd name="T59" fmla="*/ 189 h 666"/>
                    <a:gd name="T60" fmla="*/ 251 w 1339"/>
                    <a:gd name="T61" fmla="*/ 198 h 666"/>
                    <a:gd name="T62" fmla="*/ 258 w 1339"/>
                    <a:gd name="T63" fmla="*/ 208 h 666"/>
                    <a:gd name="T64" fmla="*/ 237 w 1339"/>
                    <a:gd name="T65" fmla="*/ 201 h 666"/>
                    <a:gd name="T66" fmla="*/ 206 w 1339"/>
                    <a:gd name="T67" fmla="*/ 210 h 666"/>
                    <a:gd name="T68" fmla="*/ 193 w 1339"/>
                    <a:gd name="T69" fmla="*/ 213 h 666"/>
                    <a:gd name="T70" fmla="*/ 183 w 1339"/>
                    <a:gd name="T71" fmla="*/ 227 h 666"/>
                    <a:gd name="T72" fmla="*/ 165 w 1339"/>
                    <a:gd name="T73" fmla="*/ 236 h 666"/>
                    <a:gd name="T74" fmla="*/ 141 w 1339"/>
                    <a:gd name="T75" fmla="*/ 201 h 666"/>
                    <a:gd name="T76" fmla="*/ 124 w 1339"/>
                    <a:gd name="T77" fmla="*/ 192 h 666"/>
                    <a:gd name="T78" fmla="*/ 47 w 1339"/>
                    <a:gd name="T79" fmla="*/ 171 h 666"/>
                    <a:gd name="T80" fmla="*/ 19 w 1339"/>
                    <a:gd name="T81" fmla="*/ 156 h 666"/>
                    <a:gd name="T82" fmla="*/ 1 w 1339"/>
                    <a:gd name="T83" fmla="*/ 134 h 666"/>
                    <a:gd name="T84" fmla="*/ 4 w 1339"/>
                    <a:gd name="T85" fmla="*/ 121 h 666"/>
                    <a:gd name="T86" fmla="*/ 0 w 1339"/>
                    <a:gd name="T87" fmla="*/ 115 h 666"/>
                    <a:gd name="T88" fmla="*/ 16 w 1339"/>
                    <a:gd name="T89" fmla="*/ 66 h 666"/>
                    <a:gd name="T90" fmla="*/ 44 w 1339"/>
                    <a:gd name="T91" fmla="*/ 30 h 666"/>
                    <a:gd name="T92" fmla="*/ 66 w 1339"/>
                    <a:gd name="T93" fmla="*/ 12 h 666"/>
                    <a:gd name="T94" fmla="*/ 69 w 1339"/>
                    <a:gd name="T95" fmla="*/ 9 h 666"/>
                    <a:gd name="T96" fmla="*/ 293 w 1339"/>
                    <a:gd name="T97" fmla="*/ 4 h 666"/>
                    <a:gd name="T98" fmla="*/ 330 w 1339"/>
                    <a:gd name="T99" fmla="*/ 14 h 666"/>
                    <a:gd name="T100" fmla="*/ 315 w 1339"/>
                    <a:gd name="T101" fmla="*/ 29 h 666"/>
                    <a:gd name="T102" fmla="*/ 335 w 1339"/>
                    <a:gd name="T103" fmla="*/ 26 h 6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9" h="666">
                      <a:moveTo>
                        <a:pt x="969" y="78"/>
                      </a:moveTo>
                      <a:lnTo>
                        <a:pt x="973" y="78"/>
                      </a:lnTo>
                      <a:lnTo>
                        <a:pt x="976" y="92"/>
                      </a:lnTo>
                      <a:lnTo>
                        <a:pt x="945" y="88"/>
                      </a:lnTo>
                      <a:lnTo>
                        <a:pt x="911" y="100"/>
                      </a:lnTo>
                      <a:lnTo>
                        <a:pt x="915" y="96"/>
                      </a:lnTo>
                      <a:lnTo>
                        <a:pt x="877" y="123"/>
                      </a:lnTo>
                      <a:lnTo>
                        <a:pt x="895" y="115"/>
                      </a:lnTo>
                      <a:lnTo>
                        <a:pt x="853" y="165"/>
                      </a:lnTo>
                      <a:lnTo>
                        <a:pt x="841" y="207"/>
                      </a:lnTo>
                      <a:lnTo>
                        <a:pt x="865" y="203"/>
                      </a:lnTo>
                      <a:lnTo>
                        <a:pt x="885" y="179"/>
                      </a:lnTo>
                      <a:lnTo>
                        <a:pt x="891" y="153"/>
                      </a:lnTo>
                      <a:lnTo>
                        <a:pt x="907" y="125"/>
                      </a:lnTo>
                      <a:lnTo>
                        <a:pt x="927" y="115"/>
                      </a:lnTo>
                      <a:lnTo>
                        <a:pt x="931" y="119"/>
                      </a:lnTo>
                      <a:lnTo>
                        <a:pt x="949" y="100"/>
                      </a:lnTo>
                      <a:lnTo>
                        <a:pt x="976" y="111"/>
                      </a:lnTo>
                      <a:lnTo>
                        <a:pt x="969" y="133"/>
                      </a:lnTo>
                      <a:lnTo>
                        <a:pt x="949" y="153"/>
                      </a:lnTo>
                      <a:lnTo>
                        <a:pt x="976" y="141"/>
                      </a:lnTo>
                      <a:lnTo>
                        <a:pt x="973" y="169"/>
                      </a:lnTo>
                      <a:lnTo>
                        <a:pt x="965" y="183"/>
                      </a:lnTo>
                      <a:lnTo>
                        <a:pt x="953" y="187"/>
                      </a:lnTo>
                      <a:lnTo>
                        <a:pt x="945" y="199"/>
                      </a:lnTo>
                      <a:lnTo>
                        <a:pt x="933" y="207"/>
                      </a:lnTo>
                      <a:lnTo>
                        <a:pt x="941" y="211"/>
                      </a:lnTo>
                      <a:lnTo>
                        <a:pt x="969" y="211"/>
                      </a:lnTo>
                      <a:lnTo>
                        <a:pt x="1048" y="175"/>
                      </a:lnTo>
                      <a:lnTo>
                        <a:pt x="1048" y="165"/>
                      </a:lnTo>
                      <a:lnTo>
                        <a:pt x="1118" y="157"/>
                      </a:lnTo>
                      <a:lnTo>
                        <a:pt x="1122" y="141"/>
                      </a:lnTo>
                      <a:lnTo>
                        <a:pt x="1140" y="129"/>
                      </a:lnTo>
                      <a:lnTo>
                        <a:pt x="1160" y="119"/>
                      </a:lnTo>
                      <a:lnTo>
                        <a:pt x="1231" y="119"/>
                      </a:lnTo>
                      <a:lnTo>
                        <a:pt x="1259" y="111"/>
                      </a:lnTo>
                      <a:lnTo>
                        <a:pt x="1285" y="70"/>
                      </a:lnTo>
                      <a:lnTo>
                        <a:pt x="1309" y="50"/>
                      </a:lnTo>
                      <a:lnTo>
                        <a:pt x="1339" y="62"/>
                      </a:lnTo>
                      <a:lnTo>
                        <a:pt x="1323" y="100"/>
                      </a:lnTo>
                      <a:lnTo>
                        <a:pt x="1335" y="111"/>
                      </a:lnTo>
                      <a:lnTo>
                        <a:pt x="1327" y="125"/>
                      </a:lnTo>
                      <a:lnTo>
                        <a:pt x="1297" y="137"/>
                      </a:lnTo>
                      <a:lnTo>
                        <a:pt x="1289" y="129"/>
                      </a:lnTo>
                      <a:lnTo>
                        <a:pt x="1277" y="145"/>
                      </a:lnTo>
                      <a:lnTo>
                        <a:pt x="1251" y="153"/>
                      </a:lnTo>
                      <a:lnTo>
                        <a:pt x="1219" y="191"/>
                      </a:lnTo>
                      <a:lnTo>
                        <a:pt x="1235" y="207"/>
                      </a:lnTo>
                      <a:lnTo>
                        <a:pt x="1164" y="219"/>
                      </a:lnTo>
                      <a:lnTo>
                        <a:pt x="1132" y="233"/>
                      </a:lnTo>
                      <a:lnTo>
                        <a:pt x="1132" y="249"/>
                      </a:lnTo>
                      <a:lnTo>
                        <a:pt x="1102" y="283"/>
                      </a:lnTo>
                      <a:lnTo>
                        <a:pt x="1090" y="265"/>
                      </a:lnTo>
                      <a:lnTo>
                        <a:pt x="1094" y="295"/>
                      </a:lnTo>
                      <a:lnTo>
                        <a:pt x="1064" y="333"/>
                      </a:lnTo>
                      <a:lnTo>
                        <a:pt x="1072" y="311"/>
                      </a:lnTo>
                      <a:lnTo>
                        <a:pt x="1064" y="299"/>
                      </a:lnTo>
                      <a:lnTo>
                        <a:pt x="1068" y="283"/>
                      </a:lnTo>
                      <a:lnTo>
                        <a:pt x="1082" y="269"/>
                      </a:lnTo>
                      <a:lnTo>
                        <a:pt x="1064" y="275"/>
                      </a:lnTo>
                      <a:lnTo>
                        <a:pt x="1056" y="307"/>
                      </a:lnTo>
                      <a:lnTo>
                        <a:pt x="1040" y="291"/>
                      </a:lnTo>
                      <a:lnTo>
                        <a:pt x="1056" y="315"/>
                      </a:lnTo>
                      <a:lnTo>
                        <a:pt x="1052" y="333"/>
                      </a:lnTo>
                      <a:lnTo>
                        <a:pt x="1044" y="337"/>
                      </a:lnTo>
                      <a:lnTo>
                        <a:pt x="1056" y="341"/>
                      </a:lnTo>
                      <a:lnTo>
                        <a:pt x="1052" y="361"/>
                      </a:lnTo>
                      <a:lnTo>
                        <a:pt x="1036" y="357"/>
                      </a:lnTo>
                      <a:lnTo>
                        <a:pt x="1032" y="367"/>
                      </a:lnTo>
                      <a:lnTo>
                        <a:pt x="1044" y="371"/>
                      </a:lnTo>
                      <a:lnTo>
                        <a:pt x="1052" y="367"/>
                      </a:lnTo>
                      <a:lnTo>
                        <a:pt x="1052" y="375"/>
                      </a:lnTo>
                      <a:lnTo>
                        <a:pt x="1026" y="379"/>
                      </a:lnTo>
                      <a:lnTo>
                        <a:pt x="1026" y="398"/>
                      </a:lnTo>
                      <a:lnTo>
                        <a:pt x="961" y="428"/>
                      </a:lnTo>
                      <a:lnTo>
                        <a:pt x="903" y="470"/>
                      </a:lnTo>
                      <a:lnTo>
                        <a:pt x="877" y="512"/>
                      </a:lnTo>
                      <a:lnTo>
                        <a:pt x="885" y="612"/>
                      </a:lnTo>
                      <a:lnTo>
                        <a:pt x="873" y="654"/>
                      </a:lnTo>
                      <a:lnTo>
                        <a:pt x="853" y="666"/>
                      </a:lnTo>
                      <a:lnTo>
                        <a:pt x="841" y="640"/>
                      </a:lnTo>
                      <a:lnTo>
                        <a:pt x="831" y="600"/>
                      </a:lnTo>
                      <a:lnTo>
                        <a:pt x="835" y="590"/>
                      </a:lnTo>
                      <a:lnTo>
                        <a:pt x="827" y="590"/>
                      </a:lnTo>
                      <a:lnTo>
                        <a:pt x="835" y="552"/>
                      </a:lnTo>
                      <a:lnTo>
                        <a:pt x="815" y="528"/>
                      </a:lnTo>
                      <a:lnTo>
                        <a:pt x="781" y="536"/>
                      </a:lnTo>
                      <a:lnTo>
                        <a:pt x="761" y="516"/>
                      </a:lnTo>
                      <a:lnTo>
                        <a:pt x="724" y="520"/>
                      </a:lnTo>
                      <a:lnTo>
                        <a:pt x="728" y="504"/>
                      </a:lnTo>
                      <a:lnTo>
                        <a:pt x="720" y="520"/>
                      </a:lnTo>
                      <a:lnTo>
                        <a:pt x="666" y="520"/>
                      </a:lnTo>
                      <a:lnTo>
                        <a:pt x="666" y="528"/>
                      </a:lnTo>
                      <a:lnTo>
                        <a:pt x="690" y="528"/>
                      </a:lnTo>
                      <a:lnTo>
                        <a:pt x="678" y="540"/>
                      </a:lnTo>
                      <a:lnTo>
                        <a:pt x="686" y="554"/>
                      </a:lnTo>
                      <a:lnTo>
                        <a:pt x="670" y="544"/>
                      </a:lnTo>
                      <a:lnTo>
                        <a:pt x="650" y="552"/>
                      </a:lnTo>
                      <a:lnTo>
                        <a:pt x="628" y="536"/>
                      </a:lnTo>
                      <a:lnTo>
                        <a:pt x="558" y="544"/>
                      </a:lnTo>
                      <a:lnTo>
                        <a:pt x="554" y="536"/>
                      </a:lnTo>
                      <a:lnTo>
                        <a:pt x="548" y="558"/>
                      </a:lnTo>
                      <a:lnTo>
                        <a:pt x="520" y="574"/>
                      </a:lnTo>
                      <a:lnTo>
                        <a:pt x="532" y="566"/>
                      </a:lnTo>
                      <a:lnTo>
                        <a:pt x="512" y="566"/>
                      </a:lnTo>
                      <a:lnTo>
                        <a:pt x="512" y="574"/>
                      </a:lnTo>
                      <a:lnTo>
                        <a:pt x="486" y="590"/>
                      </a:lnTo>
                      <a:lnTo>
                        <a:pt x="486" y="604"/>
                      </a:lnTo>
                      <a:lnTo>
                        <a:pt x="479" y="608"/>
                      </a:lnTo>
                      <a:lnTo>
                        <a:pt x="479" y="644"/>
                      </a:lnTo>
                      <a:lnTo>
                        <a:pt x="437" y="628"/>
                      </a:lnTo>
                      <a:lnTo>
                        <a:pt x="433" y="598"/>
                      </a:lnTo>
                      <a:lnTo>
                        <a:pt x="403" y="532"/>
                      </a:lnTo>
                      <a:lnTo>
                        <a:pt x="375" y="536"/>
                      </a:lnTo>
                      <a:lnTo>
                        <a:pt x="353" y="558"/>
                      </a:lnTo>
                      <a:lnTo>
                        <a:pt x="329" y="528"/>
                      </a:lnTo>
                      <a:lnTo>
                        <a:pt x="329" y="512"/>
                      </a:lnTo>
                      <a:lnTo>
                        <a:pt x="307" y="482"/>
                      </a:lnTo>
                      <a:lnTo>
                        <a:pt x="196" y="494"/>
                      </a:lnTo>
                      <a:lnTo>
                        <a:pt x="124" y="456"/>
                      </a:lnTo>
                      <a:lnTo>
                        <a:pt x="66" y="458"/>
                      </a:lnTo>
                      <a:lnTo>
                        <a:pt x="70" y="444"/>
                      </a:lnTo>
                      <a:lnTo>
                        <a:pt x="50" y="416"/>
                      </a:lnTo>
                      <a:lnTo>
                        <a:pt x="12" y="406"/>
                      </a:lnTo>
                      <a:lnTo>
                        <a:pt x="16" y="387"/>
                      </a:lnTo>
                      <a:lnTo>
                        <a:pt x="4" y="357"/>
                      </a:lnTo>
                      <a:lnTo>
                        <a:pt x="12" y="341"/>
                      </a:lnTo>
                      <a:lnTo>
                        <a:pt x="8" y="317"/>
                      </a:lnTo>
                      <a:lnTo>
                        <a:pt x="12" y="321"/>
                      </a:lnTo>
                      <a:lnTo>
                        <a:pt x="16" y="311"/>
                      </a:lnTo>
                      <a:lnTo>
                        <a:pt x="24" y="307"/>
                      </a:lnTo>
                      <a:lnTo>
                        <a:pt x="0" y="307"/>
                      </a:lnTo>
                      <a:lnTo>
                        <a:pt x="4" y="245"/>
                      </a:lnTo>
                      <a:lnTo>
                        <a:pt x="32" y="203"/>
                      </a:lnTo>
                      <a:lnTo>
                        <a:pt x="42" y="175"/>
                      </a:lnTo>
                      <a:lnTo>
                        <a:pt x="112" y="88"/>
                      </a:lnTo>
                      <a:lnTo>
                        <a:pt x="128" y="84"/>
                      </a:lnTo>
                      <a:lnTo>
                        <a:pt x="116" y="80"/>
                      </a:lnTo>
                      <a:lnTo>
                        <a:pt x="128" y="62"/>
                      </a:lnTo>
                      <a:lnTo>
                        <a:pt x="134" y="32"/>
                      </a:lnTo>
                      <a:lnTo>
                        <a:pt x="174" y="32"/>
                      </a:lnTo>
                      <a:lnTo>
                        <a:pt x="158" y="50"/>
                      </a:lnTo>
                      <a:lnTo>
                        <a:pt x="180" y="38"/>
                      </a:lnTo>
                      <a:lnTo>
                        <a:pt x="184" y="24"/>
                      </a:lnTo>
                      <a:lnTo>
                        <a:pt x="192" y="16"/>
                      </a:lnTo>
                      <a:lnTo>
                        <a:pt x="188" y="12"/>
                      </a:lnTo>
                      <a:lnTo>
                        <a:pt x="777" y="12"/>
                      </a:lnTo>
                      <a:lnTo>
                        <a:pt x="785" y="0"/>
                      </a:lnTo>
                      <a:lnTo>
                        <a:pt x="785" y="16"/>
                      </a:lnTo>
                      <a:lnTo>
                        <a:pt x="877" y="38"/>
                      </a:lnTo>
                      <a:lnTo>
                        <a:pt x="807" y="74"/>
                      </a:lnTo>
                      <a:lnTo>
                        <a:pt x="835" y="66"/>
                      </a:lnTo>
                      <a:lnTo>
                        <a:pt x="835" y="78"/>
                      </a:lnTo>
                      <a:lnTo>
                        <a:pt x="849" y="74"/>
                      </a:lnTo>
                      <a:lnTo>
                        <a:pt x="911" y="50"/>
                      </a:lnTo>
                      <a:lnTo>
                        <a:pt x="887" y="70"/>
                      </a:lnTo>
                      <a:lnTo>
                        <a:pt x="969" y="78"/>
                      </a:lnTo>
                    </a:path>
                  </a:pathLst>
                </a:custGeom>
                <a:solidFill>
                  <a:srgbClr val="FFCF97"/>
                </a:solidFill>
                <a:ln w="3175" cap="flat" cmpd="sng">
                  <a:solidFill>
                    <a:schemeClr val="bg1"/>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58" name="vMap : Guatemala">
                  <a:extLst>
                    <a:ext uri="{FF2B5EF4-FFF2-40B4-BE49-F238E27FC236}">
                      <a16:creationId xmlns:a16="http://schemas.microsoft.com/office/drawing/2014/main" xmlns="" id="{18EDCB9A-C72E-DC47-AC02-CE83E82DFAB2}"/>
                    </a:ext>
                  </a:extLst>
                </p:cNvPr>
                <p:cNvSpPr>
                  <a:spLocks noChangeAspect="1"/>
                </p:cNvSpPr>
                <p:nvPr>
                  <p:custDataLst>
                    <p:tags r:id="rId8"/>
                  </p:custDataLst>
                </p:nvPr>
              </p:nvSpPr>
              <p:spPr bwMode="gray">
                <a:xfrm>
                  <a:off x="2001600" y="3761725"/>
                  <a:ext cx="89756" cy="108850"/>
                </a:xfrm>
                <a:custGeom>
                  <a:avLst/>
                  <a:gdLst>
                    <a:gd name="T0" fmla="*/ 36 w 96"/>
                    <a:gd name="T1" fmla="*/ 22 h 113"/>
                    <a:gd name="T2" fmla="*/ 32 w 96"/>
                    <a:gd name="T3" fmla="*/ 20 h 113"/>
                    <a:gd name="T4" fmla="*/ 29 w 96"/>
                    <a:gd name="T5" fmla="*/ 19 h 113"/>
                    <a:gd name="T6" fmla="*/ 32 w 96"/>
                    <a:gd name="T7" fmla="*/ 0 h 113"/>
                    <a:gd name="T8" fmla="*/ 16 w 96"/>
                    <a:gd name="T9" fmla="*/ 0 h 113"/>
                    <a:gd name="T10" fmla="*/ 14 w 96"/>
                    <a:gd name="T11" fmla="*/ 4 h 113"/>
                    <a:gd name="T12" fmla="*/ 9 w 96"/>
                    <a:gd name="T13" fmla="*/ 4 h 113"/>
                    <a:gd name="T14" fmla="*/ 17 w 96"/>
                    <a:gd name="T15" fmla="*/ 17 h 113"/>
                    <a:gd name="T16" fmla="*/ 7 w 96"/>
                    <a:gd name="T17" fmla="*/ 19 h 113"/>
                    <a:gd name="T18" fmla="*/ 0 w 96"/>
                    <a:gd name="T19" fmla="*/ 33 h 113"/>
                    <a:gd name="T20" fmla="*/ 6 w 96"/>
                    <a:gd name="T21" fmla="*/ 41 h 113"/>
                    <a:gd name="T22" fmla="*/ 17 w 96"/>
                    <a:gd name="T23" fmla="*/ 43 h 113"/>
                    <a:gd name="T24" fmla="*/ 24 w 96"/>
                    <a:gd name="T25" fmla="*/ 35 h 113"/>
                    <a:gd name="T26" fmla="*/ 36 w 96"/>
                    <a:gd name="T27" fmla="*/ 22 h 1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6" h="113">
                      <a:moveTo>
                        <a:pt x="96" y="58"/>
                      </a:moveTo>
                      <a:lnTo>
                        <a:pt x="84" y="54"/>
                      </a:lnTo>
                      <a:lnTo>
                        <a:pt x="76" y="50"/>
                      </a:lnTo>
                      <a:lnTo>
                        <a:pt x="84" y="0"/>
                      </a:lnTo>
                      <a:lnTo>
                        <a:pt x="42" y="0"/>
                      </a:lnTo>
                      <a:lnTo>
                        <a:pt x="38" y="12"/>
                      </a:lnTo>
                      <a:lnTo>
                        <a:pt x="22" y="12"/>
                      </a:lnTo>
                      <a:lnTo>
                        <a:pt x="46" y="46"/>
                      </a:lnTo>
                      <a:lnTo>
                        <a:pt x="18" y="50"/>
                      </a:lnTo>
                      <a:lnTo>
                        <a:pt x="0" y="87"/>
                      </a:lnTo>
                      <a:lnTo>
                        <a:pt x="14" y="107"/>
                      </a:lnTo>
                      <a:lnTo>
                        <a:pt x="46" y="113"/>
                      </a:lnTo>
                      <a:lnTo>
                        <a:pt x="64" y="91"/>
                      </a:lnTo>
                      <a:lnTo>
                        <a:pt x="96" y="58"/>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59" name="vMap : Honduras">
                  <a:extLst>
                    <a:ext uri="{FF2B5EF4-FFF2-40B4-BE49-F238E27FC236}">
                      <a16:creationId xmlns:a16="http://schemas.microsoft.com/office/drawing/2014/main" xmlns="" id="{7117F8E9-9E0B-8E48-BFD7-2989514EE5E6}"/>
                    </a:ext>
                  </a:extLst>
                </p:cNvPr>
                <p:cNvSpPr>
                  <a:spLocks noChangeAspect="1"/>
                </p:cNvSpPr>
                <p:nvPr>
                  <p:custDataLst>
                    <p:tags r:id="rId9"/>
                  </p:custDataLst>
                </p:nvPr>
              </p:nvSpPr>
              <p:spPr bwMode="gray">
                <a:xfrm>
                  <a:off x="2062450" y="3813039"/>
                  <a:ext cx="139958" cy="76195"/>
                </a:xfrm>
                <a:custGeom>
                  <a:avLst/>
                  <a:gdLst>
                    <a:gd name="T0" fmla="*/ 57 w 149"/>
                    <a:gd name="T1" fmla="*/ 10 h 79"/>
                    <a:gd name="T2" fmla="*/ 43 w 149"/>
                    <a:gd name="T3" fmla="*/ 0 h 79"/>
                    <a:gd name="T4" fmla="*/ 12 w 149"/>
                    <a:gd name="T5" fmla="*/ 1 h 79"/>
                    <a:gd name="T6" fmla="*/ 0 w 149"/>
                    <a:gd name="T7" fmla="*/ 14 h 79"/>
                    <a:gd name="T8" fmla="*/ 14 w 149"/>
                    <a:gd name="T9" fmla="*/ 20 h 79"/>
                    <a:gd name="T10" fmla="*/ 14 w 149"/>
                    <a:gd name="T11" fmla="*/ 26 h 79"/>
                    <a:gd name="T12" fmla="*/ 17 w 149"/>
                    <a:gd name="T13" fmla="*/ 30 h 79"/>
                    <a:gd name="T14" fmla="*/ 23 w 149"/>
                    <a:gd name="T15" fmla="*/ 27 h 79"/>
                    <a:gd name="T16" fmla="*/ 23 w 149"/>
                    <a:gd name="T17" fmla="*/ 23 h 79"/>
                    <a:gd name="T18" fmla="*/ 40 w 149"/>
                    <a:gd name="T19" fmla="*/ 17 h 79"/>
                    <a:gd name="T20" fmla="*/ 43 w 149"/>
                    <a:gd name="T21" fmla="*/ 11 h 79"/>
                    <a:gd name="T22" fmla="*/ 48 w 149"/>
                    <a:gd name="T23" fmla="*/ 12 h 79"/>
                    <a:gd name="T24" fmla="*/ 57 w 149"/>
                    <a:gd name="T25" fmla="*/ 10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9" h="79">
                      <a:moveTo>
                        <a:pt x="149" y="26"/>
                      </a:moveTo>
                      <a:lnTo>
                        <a:pt x="112" y="0"/>
                      </a:lnTo>
                      <a:lnTo>
                        <a:pt x="32" y="4"/>
                      </a:lnTo>
                      <a:lnTo>
                        <a:pt x="0" y="37"/>
                      </a:lnTo>
                      <a:lnTo>
                        <a:pt x="36" y="53"/>
                      </a:lnTo>
                      <a:lnTo>
                        <a:pt x="38" y="67"/>
                      </a:lnTo>
                      <a:lnTo>
                        <a:pt x="46" y="79"/>
                      </a:lnTo>
                      <a:lnTo>
                        <a:pt x="62" y="71"/>
                      </a:lnTo>
                      <a:lnTo>
                        <a:pt x="62" y="59"/>
                      </a:lnTo>
                      <a:lnTo>
                        <a:pt x="104" y="45"/>
                      </a:lnTo>
                      <a:lnTo>
                        <a:pt x="112" y="29"/>
                      </a:lnTo>
                      <a:lnTo>
                        <a:pt x="127" y="33"/>
                      </a:lnTo>
                      <a:lnTo>
                        <a:pt x="149" y="26"/>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60" name="vMap : Mexico">
                  <a:extLst>
                    <a:ext uri="{FF2B5EF4-FFF2-40B4-BE49-F238E27FC236}">
                      <a16:creationId xmlns:a16="http://schemas.microsoft.com/office/drawing/2014/main" xmlns="" id="{B8EB482B-ED58-EB44-8A97-DAF67E747841}"/>
                    </a:ext>
                  </a:extLst>
                </p:cNvPr>
                <p:cNvSpPr>
                  <a:spLocks noChangeAspect="1"/>
                </p:cNvSpPr>
                <p:nvPr>
                  <p:custDataLst>
                    <p:tags r:id="rId10"/>
                  </p:custDataLst>
                </p:nvPr>
              </p:nvSpPr>
              <p:spPr bwMode="gray">
                <a:xfrm>
                  <a:off x="1552821" y="3371419"/>
                  <a:ext cx="590257" cy="474275"/>
                </a:xfrm>
                <a:custGeom>
                  <a:avLst/>
                  <a:gdLst>
                    <a:gd name="T0" fmla="*/ 139 w 634"/>
                    <a:gd name="T1" fmla="*/ 65 h 496"/>
                    <a:gd name="T2" fmla="*/ 126 w 634"/>
                    <a:gd name="T3" fmla="*/ 29 h 496"/>
                    <a:gd name="T4" fmla="*/ 108 w 634"/>
                    <a:gd name="T5" fmla="*/ 39 h 496"/>
                    <a:gd name="T6" fmla="*/ 99 w 634"/>
                    <a:gd name="T7" fmla="*/ 21 h 496"/>
                    <a:gd name="T8" fmla="*/ 49 w 634"/>
                    <a:gd name="T9" fmla="*/ 14 h 496"/>
                    <a:gd name="T10" fmla="*/ 0 w 634"/>
                    <a:gd name="T11" fmla="*/ 1 h 496"/>
                    <a:gd name="T12" fmla="*/ 13 w 634"/>
                    <a:gd name="T13" fmla="*/ 45 h 496"/>
                    <a:gd name="T14" fmla="*/ 3 w 634"/>
                    <a:gd name="T15" fmla="*/ 52 h 496"/>
                    <a:gd name="T16" fmla="*/ 17 w 634"/>
                    <a:gd name="T17" fmla="*/ 60 h 496"/>
                    <a:gd name="T18" fmla="*/ 19 w 634"/>
                    <a:gd name="T19" fmla="*/ 82 h 496"/>
                    <a:gd name="T20" fmla="*/ 34 w 634"/>
                    <a:gd name="T21" fmla="*/ 103 h 496"/>
                    <a:gd name="T22" fmla="*/ 33 w 634"/>
                    <a:gd name="T23" fmla="*/ 88 h 496"/>
                    <a:gd name="T24" fmla="*/ 27 w 634"/>
                    <a:gd name="T25" fmla="*/ 63 h 496"/>
                    <a:gd name="T26" fmla="*/ 14 w 634"/>
                    <a:gd name="T27" fmla="*/ 32 h 496"/>
                    <a:gd name="T28" fmla="*/ 30 w 634"/>
                    <a:gd name="T29" fmla="*/ 16 h 496"/>
                    <a:gd name="T30" fmla="*/ 50 w 634"/>
                    <a:gd name="T31" fmla="*/ 66 h 496"/>
                    <a:gd name="T32" fmla="*/ 54 w 634"/>
                    <a:gd name="T33" fmla="*/ 78 h 496"/>
                    <a:gd name="T34" fmla="*/ 75 w 634"/>
                    <a:gd name="T35" fmla="*/ 120 h 496"/>
                    <a:gd name="T36" fmla="*/ 69 w 634"/>
                    <a:gd name="T37" fmla="*/ 128 h 496"/>
                    <a:gd name="T38" fmla="*/ 86 w 634"/>
                    <a:gd name="T39" fmla="*/ 150 h 496"/>
                    <a:gd name="T40" fmla="*/ 145 w 634"/>
                    <a:gd name="T41" fmla="*/ 178 h 496"/>
                    <a:gd name="T42" fmla="*/ 168 w 634"/>
                    <a:gd name="T43" fmla="*/ 176 h 496"/>
                    <a:gd name="T44" fmla="*/ 187 w 634"/>
                    <a:gd name="T45" fmla="*/ 173 h 496"/>
                    <a:gd name="T46" fmla="*/ 188 w 634"/>
                    <a:gd name="T47" fmla="*/ 159 h 496"/>
                    <a:gd name="T48" fmla="*/ 196 w 634"/>
                    <a:gd name="T49" fmla="*/ 155 h 496"/>
                    <a:gd name="T50" fmla="*/ 218 w 634"/>
                    <a:gd name="T51" fmla="*/ 149 h 496"/>
                    <a:gd name="T52" fmla="*/ 223 w 634"/>
                    <a:gd name="T53" fmla="*/ 152 h 496"/>
                    <a:gd name="T54" fmla="*/ 237 w 634"/>
                    <a:gd name="T55" fmla="*/ 120 h 496"/>
                    <a:gd name="T56" fmla="*/ 226 w 634"/>
                    <a:gd name="T57" fmla="*/ 114 h 496"/>
                    <a:gd name="T58" fmla="*/ 198 w 634"/>
                    <a:gd name="T59" fmla="*/ 139 h 496"/>
                    <a:gd name="T60" fmla="*/ 183 w 634"/>
                    <a:gd name="T61" fmla="*/ 144 h 496"/>
                    <a:gd name="T62" fmla="*/ 160 w 634"/>
                    <a:gd name="T63" fmla="*/ 146 h 496"/>
                    <a:gd name="T64" fmla="*/ 143 w 634"/>
                    <a:gd name="T65" fmla="*/ 109 h 496"/>
                    <a:gd name="T66" fmla="*/ 155 w 634"/>
                    <a:gd name="T67" fmla="*/ 71 h 4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4" h="496">
                      <a:moveTo>
                        <a:pt x="413" y="188"/>
                      </a:moveTo>
                      <a:lnTo>
                        <a:pt x="371" y="172"/>
                      </a:lnTo>
                      <a:lnTo>
                        <a:pt x="367" y="142"/>
                      </a:lnTo>
                      <a:lnTo>
                        <a:pt x="337" y="76"/>
                      </a:lnTo>
                      <a:lnTo>
                        <a:pt x="309" y="80"/>
                      </a:lnTo>
                      <a:lnTo>
                        <a:pt x="287" y="102"/>
                      </a:lnTo>
                      <a:lnTo>
                        <a:pt x="263" y="72"/>
                      </a:lnTo>
                      <a:lnTo>
                        <a:pt x="263" y="56"/>
                      </a:lnTo>
                      <a:lnTo>
                        <a:pt x="241" y="26"/>
                      </a:lnTo>
                      <a:lnTo>
                        <a:pt x="130" y="38"/>
                      </a:lnTo>
                      <a:lnTo>
                        <a:pt x="58" y="0"/>
                      </a:lnTo>
                      <a:lnTo>
                        <a:pt x="0" y="2"/>
                      </a:lnTo>
                      <a:lnTo>
                        <a:pt x="8" y="80"/>
                      </a:lnTo>
                      <a:lnTo>
                        <a:pt x="34" y="118"/>
                      </a:lnTo>
                      <a:lnTo>
                        <a:pt x="26" y="138"/>
                      </a:lnTo>
                      <a:lnTo>
                        <a:pt x="8" y="138"/>
                      </a:lnTo>
                      <a:lnTo>
                        <a:pt x="30" y="164"/>
                      </a:lnTo>
                      <a:lnTo>
                        <a:pt x="46" y="160"/>
                      </a:lnTo>
                      <a:lnTo>
                        <a:pt x="58" y="190"/>
                      </a:lnTo>
                      <a:lnTo>
                        <a:pt x="50" y="217"/>
                      </a:lnTo>
                      <a:lnTo>
                        <a:pt x="84" y="247"/>
                      </a:lnTo>
                      <a:lnTo>
                        <a:pt x="92" y="271"/>
                      </a:lnTo>
                      <a:lnTo>
                        <a:pt x="108" y="251"/>
                      </a:lnTo>
                      <a:lnTo>
                        <a:pt x="88" y="233"/>
                      </a:lnTo>
                      <a:lnTo>
                        <a:pt x="80" y="168"/>
                      </a:lnTo>
                      <a:lnTo>
                        <a:pt x="72" y="168"/>
                      </a:lnTo>
                      <a:lnTo>
                        <a:pt x="58" y="106"/>
                      </a:lnTo>
                      <a:lnTo>
                        <a:pt x="38" y="84"/>
                      </a:lnTo>
                      <a:lnTo>
                        <a:pt x="46" y="18"/>
                      </a:lnTo>
                      <a:lnTo>
                        <a:pt x="80" y="42"/>
                      </a:lnTo>
                      <a:lnTo>
                        <a:pt x="88" y="110"/>
                      </a:lnTo>
                      <a:lnTo>
                        <a:pt x="134" y="176"/>
                      </a:lnTo>
                      <a:lnTo>
                        <a:pt x="126" y="198"/>
                      </a:lnTo>
                      <a:lnTo>
                        <a:pt x="146" y="206"/>
                      </a:lnTo>
                      <a:lnTo>
                        <a:pt x="195" y="279"/>
                      </a:lnTo>
                      <a:lnTo>
                        <a:pt x="199" y="317"/>
                      </a:lnTo>
                      <a:lnTo>
                        <a:pt x="195" y="335"/>
                      </a:lnTo>
                      <a:lnTo>
                        <a:pt x="183" y="339"/>
                      </a:lnTo>
                      <a:lnTo>
                        <a:pt x="199" y="371"/>
                      </a:lnTo>
                      <a:lnTo>
                        <a:pt x="229" y="397"/>
                      </a:lnTo>
                      <a:lnTo>
                        <a:pt x="351" y="463"/>
                      </a:lnTo>
                      <a:lnTo>
                        <a:pt x="387" y="471"/>
                      </a:lnTo>
                      <a:lnTo>
                        <a:pt x="417" y="455"/>
                      </a:lnTo>
                      <a:lnTo>
                        <a:pt x="450" y="467"/>
                      </a:lnTo>
                      <a:lnTo>
                        <a:pt x="482" y="496"/>
                      </a:lnTo>
                      <a:lnTo>
                        <a:pt x="500" y="459"/>
                      </a:lnTo>
                      <a:lnTo>
                        <a:pt x="528" y="455"/>
                      </a:lnTo>
                      <a:lnTo>
                        <a:pt x="504" y="421"/>
                      </a:lnTo>
                      <a:lnTo>
                        <a:pt x="520" y="421"/>
                      </a:lnTo>
                      <a:lnTo>
                        <a:pt x="524" y="409"/>
                      </a:lnTo>
                      <a:lnTo>
                        <a:pt x="566" y="409"/>
                      </a:lnTo>
                      <a:lnTo>
                        <a:pt x="584" y="393"/>
                      </a:lnTo>
                      <a:lnTo>
                        <a:pt x="596" y="381"/>
                      </a:lnTo>
                      <a:lnTo>
                        <a:pt x="596" y="401"/>
                      </a:lnTo>
                      <a:lnTo>
                        <a:pt x="608" y="359"/>
                      </a:lnTo>
                      <a:lnTo>
                        <a:pt x="634" y="317"/>
                      </a:lnTo>
                      <a:lnTo>
                        <a:pt x="630" y="305"/>
                      </a:lnTo>
                      <a:lnTo>
                        <a:pt x="604" y="301"/>
                      </a:lnTo>
                      <a:lnTo>
                        <a:pt x="550" y="317"/>
                      </a:lnTo>
                      <a:lnTo>
                        <a:pt x="528" y="367"/>
                      </a:lnTo>
                      <a:lnTo>
                        <a:pt x="508" y="389"/>
                      </a:lnTo>
                      <a:lnTo>
                        <a:pt x="488" y="381"/>
                      </a:lnTo>
                      <a:lnTo>
                        <a:pt x="440" y="401"/>
                      </a:lnTo>
                      <a:lnTo>
                        <a:pt x="428" y="385"/>
                      </a:lnTo>
                      <a:lnTo>
                        <a:pt x="405" y="371"/>
                      </a:lnTo>
                      <a:lnTo>
                        <a:pt x="383" y="289"/>
                      </a:lnTo>
                      <a:lnTo>
                        <a:pt x="391" y="221"/>
                      </a:lnTo>
                      <a:lnTo>
                        <a:pt x="413" y="18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61" name="vMap : Nicaragua">
                  <a:extLst>
                    <a:ext uri="{FF2B5EF4-FFF2-40B4-BE49-F238E27FC236}">
                      <a16:creationId xmlns:a16="http://schemas.microsoft.com/office/drawing/2014/main" xmlns="" id="{DCC5F731-771E-4D4B-A8E9-2BD2768EA175}"/>
                    </a:ext>
                  </a:extLst>
                </p:cNvPr>
                <p:cNvSpPr>
                  <a:spLocks noChangeAspect="1"/>
                </p:cNvSpPr>
                <p:nvPr>
                  <p:custDataLst>
                    <p:tags r:id="rId11"/>
                  </p:custDataLst>
                </p:nvPr>
              </p:nvSpPr>
              <p:spPr bwMode="gray">
                <a:xfrm>
                  <a:off x="2097440" y="3839474"/>
                  <a:ext cx="104969" cy="105740"/>
                </a:xfrm>
                <a:custGeom>
                  <a:avLst/>
                  <a:gdLst>
                    <a:gd name="T0" fmla="*/ 35 w 111"/>
                    <a:gd name="T1" fmla="*/ 42 h 111"/>
                    <a:gd name="T2" fmla="*/ 43 w 111"/>
                    <a:gd name="T3" fmla="*/ 0 h 111"/>
                    <a:gd name="T4" fmla="*/ 34 w 111"/>
                    <a:gd name="T5" fmla="*/ 2 h 111"/>
                    <a:gd name="T6" fmla="*/ 29 w 111"/>
                    <a:gd name="T7" fmla="*/ 1 h 111"/>
                    <a:gd name="T8" fmla="*/ 25 w 111"/>
                    <a:gd name="T9" fmla="*/ 7 h 111"/>
                    <a:gd name="T10" fmla="*/ 9 w 111"/>
                    <a:gd name="T11" fmla="*/ 12 h 111"/>
                    <a:gd name="T12" fmla="*/ 9 w 111"/>
                    <a:gd name="T13" fmla="*/ 17 h 111"/>
                    <a:gd name="T14" fmla="*/ 3 w 111"/>
                    <a:gd name="T15" fmla="*/ 20 h 111"/>
                    <a:gd name="T16" fmla="*/ 0 w 111"/>
                    <a:gd name="T17" fmla="*/ 21 h 111"/>
                    <a:gd name="T18" fmla="*/ 17 w 111"/>
                    <a:gd name="T19" fmla="*/ 40 h 111"/>
                    <a:gd name="T20" fmla="*/ 35 w 111"/>
                    <a:gd name="T21" fmla="*/ 42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1" h="111">
                      <a:moveTo>
                        <a:pt x="91" y="111"/>
                      </a:moveTo>
                      <a:lnTo>
                        <a:pt x="111" y="0"/>
                      </a:lnTo>
                      <a:lnTo>
                        <a:pt x="89" y="7"/>
                      </a:lnTo>
                      <a:lnTo>
                        <a:pt x="74" y="3"/>
                      </a:lnTo>
                      <a:lnTo>
                        <a:pt x="66" y="19"/>
                      </a:lnTo>
                      <a:lnTo>
                        <a:pt x="24" y="33"/>
                      </a:lnTo>
                      <a:lnTo>
                        <a:pt x="24" y="45"/>
                      </a:lnTo>
                      <a:lnTo>
                        <a:pt x="8" y="53"/>
                      </a:lnTo>
                      <a:lnTo>
                        <a:pt x="0" y="57"/>
                      </a:lnTo>
                      <a:lnTo>
                        <a:pt x="44" y="107"/>
                      </a:lnTo>
                      <a:lnTo>
                        <a:pt x="91" y="111"/>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62" name="vMap : San Jose">
                  <a:extLst>
                    <a:ext uri="{FF2B5EF4-FFF2-40B4-BE49-F238E27FC236}">
                      <a16:creationId xmlns:a16="http://schemas.microsoft.com/office/drawing/2014/main" xmlns="" id="{91843E66-3844-A449-971C-38307429C7D2}"/>
                    </a:ext>
                  </a:extLst>
                </p:cNvPr>
                <p:cNvSpPr>
                  <a:spLocks noChangeAspect="1"/>
                </p:cNvSpPr>
                <p:nvPr>
                  <p:custDataLst>
                    <p:tags r:id="rId12"/>
                  </p:custDataLst>
                </p:nvPr>
              </p:nvSpPr>
              <p:spPr bwMode="gray">
                <a:xfrm>
                  <a:off x="2140035" y="3942104"/>
                  <a:ext cx="65416" cy="66865"/>
                </a:xfrm>
                <a:custGeom>
                  <a:avLst/>
                  <a:gdLst>
                    <a:gd name="T0" fmla="*/ 26 w 71"/>
                    <a:gd name="T1" fmla="*/ 14 h 72"/>
                    <a:gd name="T2" fmla="*/ 17 w 71"/>
                    <a:gd name="T3" fmla="*/ 1 h 72"/>
                    <a:gd name="T4" fmla="*/ 0 w 71"/>
                    <a:gd name="T5" fmla="*/ 0 h 72"/>
                    <a:gd name="T6" fmla="*/ 0 w 71"/>
                    <a:gd name="T7" fmla="*/ 11 h 72"/>
                    <a:gd name="T8" fmla="*/ 5 w 71"/>
                    <a:gd name="T9" fmla="*/ 14 h 72"/>
                    <a:gd name="T10" fmla="*/ 5 w 71"/>
                    <a:gd name="T11" fmla="*/ 10 h 72"/>
                    <a:gd name="T12" fmla="*/ 16 w 71"/>
                    <a:gd name="T13" fmla="*/ 19 h 72"/>
                    <a:gd name="T14" fmla="*/ 16 w 71"/>
                    <a:gd name="T15" fmla="*/ 24 h 72"/>
                    <a:gd name="T16" fmla="*/ 19 w 71"/>
                    <a:gd name="T17" fmla="*/ 23 h 72"/>
                    <a:gd name="T18" fmla="*/ 22 w 71"/>
                    <a:gd name="T19" fmla="*/ 26 h 72"/>
                    <a:gd name="T20" fmla="*/ 23 w 71"/>
                    <a:gd name="T21" fmla="*/ 16 h 72"/>
                    <a:gd name="T22" fmla="*/ 26 w 71"/>
                    <a:gd name="T23" fmla="*/ 14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1" h="72">
                      <a:moveTo>
                        <a:pt x="71" y="38"/>
                      </a:moveTo>
                      <a:lnTo>
                        <a:pt x="47" y="4"/>
                      </a:lnTo>
                      <a:lnTo>
                        <a:pt x="0" y="0"/>
                      </a:lnTo>
                      <a:lnTo>
                        <a:pt x="0" y="30"/>
                      </a:lnTo>
                      <a:lnTo>
                        <a:pt x="14" y="38"/>
                      </a:lnTo>
                      <a:lnTo>
                        <a:pt x="14" y="26"/>
                      </a:lnTo>
                      <a:lnTo>
                        <a:pt x="45" y="54"/>
                      </a:lnTo>
                      <a:lnTo>
                        <a:pt x="45" y="68"/>
                      </a:lnTo>
                      <a:lnTo>
                        <a:pt x="51" y="66"/>
                      </a:lnTo>
                      <a:lnTo>
                        <a:pt x="59" y="72"/>
                      </a:lnTo>
                      <a:lnTo>
                        <a:pt x="63" y="46"/>
                      </a:lnTo>
                      <a:lnTo>
                        <a:pt x="71" y="3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63" name="vMap : El Salvador">
                  <a:extLst>
                    <a:ext uri="{FF2B5EF4-FFF2-40B4-BE49-F238E27FC236}">
                      <a16:creationId xmlns:a16="http://schemas.microsoft.com/office/drawing/2014/main" xmlns="" id="{3055AD1A-A108-7340-B499-FC51C93C65C1}"/>
                    </a:ext>
                  </a:extLst>
                </p:cNvPr>
                <p:cNvSpPr>
                  <a:spLocks noChangeAspect="1"/>
                </p:cNvSpPr>
                <p:nvPr>
                  <p:custDataLst>
                    <p:tags r:id="rId13"/>
                  </p:custDataLst>
                </p:nvPr>
              </p:nvSpPr>
              <p:spPr bwMode="gray">
                <a:xfrm>
                  <a:off x="2045716" y="3850360"/>
                  <a:ext cx="51724" cy="32655"/>
                </a:xfrm>
                <a:custGeom>
                  <a:avLst/>
                  <a:gdLst>
                    <a:gd name="T0" fmla="*/ 0 w 56"/>
                    <a:gd name="T1" fmla="*/ 9 h 34"/>
                    <a:gd name="T2" fmla="*/ 13 w 56"/>
                    <a:gd name="T3" fmla="*/ 13 h 34"/>
                    <a:gd name="T4" fmla="*/ 21 w 56"/>
                    <a:gd name="T5" fmla="*/ 12 h 34"/>
                    <a:gd name="T6" fmla="*/ 20 w 56"/>
                    <a:gd name="T7" fmla="*/ 6 h 34"/>
                    <a:gd name="T8" fmla="*/ 7 w 56"/>
                    <a:gd name="T9" fmla="*/ 0 h 34"/>
                    <a:gd name="T10" fmla="*/ 0 w 56"/>
                    <a:gd name="T11" fmla="*/ 9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 h="34">
                      <a:moveTo>
                        <a:pt x="0" y="22"/>
                      </a:moveTo>
                      <a:lnTo>
                        <a:pt x="34" y="34"/>
                      </a:lnTo>
                      <a:lnTo>
                        <a:pt x="56" y="30"/>
                      </a:lnTo>
                      <a:lnTo>
                        <a:pt x="54" y="16"/>
                      </a:lnTo>
                      <a:lnTo>
                        <a:pt x="18" y="0"/>
                      </a:lnTo>
                      <a:lnTo>
                        <a:pt x="0" y="2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64" name="vMap : Jamaica">
                  <a:extLst>
                    <a:ext uri="{FF2B5EF4-FFF2-40B4-BE49-F238E27FC236}">
                      <a16:creationId xmlns:a16="http://schemas.microsoft.com/office/drawing/2014/main" xmlns="" id="{2503FC21-13E8-5542-86F4-945F3BBD6F49}"/>
                    </a:ext>
                  </a:extLst>
                </p:cNvPr>
                <p:cNvSpPr>
                  <a:spLocks noChangeAspect="1"/>
                </p:cNvSpPr>
                <p:nvPr>
                  <p:custDataLst>
                    <p:tags r:id="rId14"/>
                  </p:custDataLst>
                </p:nvPr>
              </p:nvSpPr>
              <p:spPr bwMode="gray">
                <a:xfrm>
                  <a:off x="2321069" y="3747729"/>
                  <a:ext cx="48681" cy="18660"/>
                </a:xfrm>
                <a:custGeom>
                  <a:avLst/>
                  <a:gdLst>
                    <a:gd name="T0" fmla="*/ 13 w 50"/>
                    <a:gd name="T1" fmla="*/ 0 h 20"/>
                    <a:gd name="T2" fmla="*/ 20 w 50"/>
                    <a:gd name="T3" fmla="*/ 6 h 20"/>
                    <a:gd name="T4" fmla="*/ 12 w 50"/>
                    <a:gd name="T5" fmla="*/ 7 h 20"/>
                    <a:gd name="T6" fmla="*/ 0 w 50"/>
                    <a:gd name="T7" fmla="*/ 0 h 20"/>
                    <a:gd name="T8" fmla="*/ 13 w 50"/>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 h="20">
                      <a:moveTo>
                        <a:pt x="32" y="0"/>
                      </a:moveTo>
                      <a:lnTo>
                        <a:pt x="50" y="16"/>
                      </a:lnTo>
                      <a:lnTo>
                        <a:pt x="28" y="20"/>
                      </a:lnTo>
                      <a:lnTo>
                        <a:pt x="0" y="0"/>
                      </a:lnTo>
                      <a:lnTo>
                        <a:pt x="32"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492" name="vMap : Cuba">
                  <a:extLst>
                    <a:ext uri="{FF2B5EF4-FFF2-40B4-BE49-F238E27FC236}">
                      <a16:creationId xmlns:a16="http://schemas.microsoft.com/office/drawing/2014/main" xmlns="" id="{38232D41-4881-0248-83A2-39B12DA7BD96}"/>
                    </a:ext>
                  </a:extLst>
                </p:cNvPr>
                <p:cNvGrpSpPr/>
                <p:nvPr/>
              </p:nvGrpSpPr>
              <p:grpSpPr>
                <a:xfrm>
                  <a:off x="2191759" y="3618664"/>
                  <a:ext cx="231235" cy="93300"/>
                  <a:chOff x="2291499" y="2918370"/>
                  <a:chExt cx="378706" cy="152807"/>
                </a:xfrm>
                <a:solidFill>
                  <a:srgbClr val="E6E6E6"/>
                </a:solidFill>
              </p:grpSpPr>
              <p:sp>
                <p:nvSpPr>
                  <p:cNvPr id="862" name="vMap : Cuba (Offshore)">
                    <a:extLst>
                      <a:ext uri="{FF2B5EF4-FFF2-40B4-BE49-F238E27FC236}">
                        <a16:creationId xmlns:a16="http://schemas.microsoft.com/office/drawing/2014/main" xmlns="" id="{180DB3EF-CD51-F74F-8BD1-519FAD0047EE}"/>
                      </a:ext>
                    </a:extLst>
                  </p:cNvPr>
                  <p:cNvSpPr>
                    <a:spLocks noChangeAspect="1"/>
                  </p:cNvSpPr>
                  <p:nvPr>
                    <p:custDataLst>
                      <p:tags r:id="rId357"/>
                    </p:custDataLst>
                  </p:nvPr>
                </p:nvSpPr>
                <p:spPr bwMode="gray">
                  <a:xfrm>
                    <a:off x="2515733" y="2951479"/>
                    <a:ext cx="29898" cy="25467"/>
                  </a:xfrm>
                  <a:custGeom>
                    <a:avLst/>
                    <a:gdLst>
                      <a:gd name="T0" fmla="*/ 6 w 20"/>
                      <a:gd name="T1" fmla="*/ 2 h 18"/>
                      <a:gd name="T2" fmla="*/ 7 w 20"/>
                      <a:gd name="T3" fmla="*/ 6 h 18"/>
                      <a:gd name="T4" fmla="*/ 0 w 20"/>
                      <a:gd name="T5" fmla="*/ 0 h 18"/>
                      <a:gd name="T6" fmla="*/ 6 w 20"/>
                      <a:gd name="T7" fmla="*/ 2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6" y="6"/>
                        </a:moveTo>
                        <a:lnTo>
                          <a:pt x="20" y="18"/>
                        </a:lnTo>
                        <a:lnTo>
                          <a:pt x="0" y="0"/>
                        </a:lnTo>
                        <a:lnTo>
                          <a:pt x="16" y="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63" name="vMap : Cuba (Offshore)">
                    <a:extLst>
                      <a:ext uri="{FF2B5EF4-FFF2-40B4-BE49-F238E27FC236}">
                        <a16:creationId xmlns:a16="http://schemas.microsoft.com/office/drawing/2014/main" xmlns="" id="{E5CEF0CB-4B9A-F14E-AF77-E57E1C70547C}"/>
                      </a:ext>
                    </a:extLst>
                  </p:cNvPr>
                  <p:cNvSpPr>
                    <a:spLocks noChangeAspect="1"/>
                  </p:cNvSpPr>
                  <p:nvPr>
                    <p:custDataLst>
                      <p:tags r:id="rId358"/>
                    </p:custDataLst>
                  </p:nvPr>
                </p:nvSpPr>
                <p:spPr bwMode="gray">
                  <a:xfrm>
                    <a:off x="2351295" y="2976946"/>
                    <a:ext cx="14949" cy="20374"/>
                  </a:xfrm>
                  <a:custGeom>
                    <a:avLst/>
                    <a:gdLst>
                      <a:gd name="T0" fmla="*/ 4 w 10"/>
                      <a:gd name="T1" fmla="*/ 0 h 12"/>
                      <a:gd name="T2" fmla="*/ 4 w 10"/>
                      <a:gd name="T3" fmla="*/ 3 h 12"/>
                      <a:gd name="T4" fmla="*/ 0 w 10"/>
                      <a:gd name="T5" fmla="*/ 5 h 12"/>
                      <a:gd name="T6" fmla="*/ 4 w 10"/>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2">
                        <a:moveTo>
                          <a:pt x="10" y="0"/>
                        </a:moveTo>
                        <a:lnTo>
                          <a:pt x="10" y="8"/>
                        </a:lnTo>
                        <a:lnTo>
                          <a:pt x="0" y="12"/>
                        </a:lnTo>
                        <a:lnTo>
                          <a:pt x="1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64" name="vMap : Cuba (Offshore)">
                    <a:extLst>
                      <a:ext uri="{FF2B5EF4-FFF2-40B4-BE49-F238E27FC236}">
                        <a16:creationId xmlns:a16="http://schemas.microsoft.com/office/drawing/2014/main" xmlns="" id="{4D4E02C3-F25A-2642-9172-623F97364510}"/>
                      </a:ext>
                    </a:extLst>
                  </p:cNvPr>
                  <p:cNvSpPr>
                    <a:spLocks noChangeAspect="1"/>
                  </p:cNvSpPr>
                  <p:nvPr>
                    <p:custDataLst>
                      <p:tags r:id="rId359"/>
                    </p:custDataLst>
                  </p:nvPr>
                </p:nvSpPr>
                <p:spPr bwMode="gray">
                  <a:xfrm>
                    <a:off x="2448463" y="3020240"/>
                    <a:ext cx="14949" cy="20374"/>
                  </a:xfrm>
                  <a:custGeom>
                    <a:avLst/>
                    <a:gdLst>
                      <a:gd name="T0" fmla="*/ 4 w 10"/>
                      <a:gd name="T1" fmla="*/ 0 h 12"/>
                      <a:gd name="T2" fmla="*/ 4 w 10"/>
                      <a:gd name="T3" fmla="*/ 3 h 12"/>
                      <a:gd name="T4" fmla="*/ 0 w 10"/>
                      <a:gd name="T5" fmla="*/ 5 h 12"/>
                      <a:gd name="T6" fmla="*/ 4 w 10"/>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2">
                        <a:moveTo>
                          <a:pt x="10" y="0"/>
                        </a:moveTo>
                        <a:lnTo>
                          <a:pt x="10" y="8"/>
                        </a:lnTo>
                        <a:lnTo>
                          <a:pt x="0" y="12"/>
                        </a:lnTo>
                        <a:lnTo>
                          <a:pt x="1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65" name="vMap : Cuba (Mainland)">
                    <a:extLst>
                      <a:ext uri="{FF2B5EF4-FFF2-40B4-BE49-F238E27FC236}">
                        <a16:creationId xmlns:a16="http://schemas.microsoft.com/office/drawing/2014/main" xmlns="" id="{DB51185E-BDE2-4541-922D-6C73358779CD}"/>
                      </a:ext>
                    </a:extLst>
                  </p:cNvPr>
                  <p:cNvSpPr>
                    <a:spLocks noChangeAspect="1"/>
                  </p:cNvSpPr>
                  <p:nvPr>
                    <p:custDataLst>
                      <p:tags r:id="rId360"/>
                    </p:custDataLst>
                  </p:nvPr>
                </p:nvSpPr>
                <p:spPr bwMode="gray">
                  <a:xfrm>
                    <a:off x="2291499" y="2918370"/>
                    <a:ext cx="378706" cy="152807"/>
                  </a:xfrm>
                  <a:custGeom>
                    <a:avLst/>
                    <a:gdLst>
                      <a:gd name="T0" fmla="*/ 68 w 249"/>
                      <a:gd name="T1" fmla="*/ 18 h 96"/>
                      <a:gd name="T2" fmla="*/ 93 w 249"/>
                      <a:gd name="T3" fmla="*/ 33 h 96"/>
                      <a:gd name="T4" fmla="*/ 62 w 249"/>
                      <a:gd name="T5" fmla="*/ 38 h 96"/>
                      <a:gd name="T6" fmla="*/ 68 w 249"/>
                      <a:gd name="T7" fmla="*/ 30 h 96"/>
                      <a:gd name="T8" fmla="*/ 59 w 249"/>
                      <a:gd name="T9" fmla="*/ 29 h 96"/>
                      <a:gd name="T10" fmla="*/ 54 w 249"/>
                      <a:gd name="T11" fmla="*/ 18 h 96"/>
                      <a:gd name="T12" fmla="*/ 26 w 249"/>
                      <a:gd name="T13" fmla="*/ 12 h 96"/>
                      <a:gd name="T14" fmla="*/ 27 w 249"/>
                      <a:gd name="T15" fmla="*/ 8 h 96"/>
                      <a:gd name="T16" fmla="*/ 20 w 249"/>
                      <a:gd name="T17" fmla="*/ 6 h 96"/>
                      <a:gd name="T18" fmla="*/ 3 w 249"/>
                      <a:gd name="T19" fmla="*/ 16 h 96"/>
                      <a:gd name="T20" fmla="*/ 0 w 249"/>
                      <a:gd name="T21" fmla="*/ 15 h 96"/>
                      <a:gd name="T22" fmla="*/ 10 w 249"/>
                      <a:gd name="T23" fmla="*/ 5 h 96"/>
                      <a:gd name="T24" fmla="*/ 31 w 249"/>
                      <a:gd name="T25" fmla="*/ 0 h 96"/>
                      <a:gd name="T26" fmla="*/ 43 w 249"/>
                      <a:gd name="T27" fmla="*/ 3 h 96"/>
                      <a:gd name="T28" fmla="*/ 68 w 249"/>
                      <a:gd name="T29" fmla="*/ 18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9" h="96">
                        <a:moveTo>
                          <a:pt x="182" y="46"/>
                        </a:moveTo>
                        <a:lnTo>
                          <a:pt x="249" y="84"/>
                        </a:lnTo>
                        <a:lnTo>
                          <a:pt x="166" y="96"/>
                        </a:lnTo>
                        <a:lnTo>
                          <a:pt x="182" y="76"/>
                        </a:lnTo>
                        <a:lnTo>
                          <a:pt x="158" y="74"/>
                        </a:lnTo>
                        <a:lnTo>
                          <a:pt x="146" y="46"/>
                        </a:lnTo>
                        <a:lnTo>
                          <a:pt x="70" y="30"/>
                        </a:lnTo>
                        <a:lnTo>
                          <a:pt x="74" y="20"/>
                        </a:lnTo>
                        <a:lnTo>
                          <a:pt x="54" y="16"/>
                        </a:lnTo>
                        <a:lnTo>
                          <a:pt x="8" y="42"/>
                        </a:lnTo>
                        <a:lnTo>
                          <a:pt x="0" y="38"/>
                        </a:lnTo>
                        <a:lnTo>
                          <a:pt x="28" y="12"/>
                        </a:lnTo>
                        <a:lnTo>
                          <a:pt x="82" y="0"/>
                        </a:lnTo>
                        <a:lnTo>
                          <a:pt x="116" y="8"/>
                        </a:lnTo>
                        <a:lnTo>
                          <a:pt x="182" y="46"/>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grpSp>
              <p:nvGrpSpPr>
                <p:cNvPr id="493" name="vMap : Dominican Republic">
                  <a:extLst>
                    <a:ext uri="{FF2B5EF4-FFF2-40B4-BE49-F238E27FC236}">
                      <a16:creationId xmlns:a16="http://schemas.microsoft.com/office/drawing/2014/main" xmlns="" id="{7AA27705-F8F2-F94C-BED8-7E92340628E5}"/>
                    </a:ext>
                  </a:extLst>
                </p:cNvPr>
                <p:cNvGrpSpPr/>
                <p:nvPr/>
              </p:nvGrpSpPr>
              <p:grpSpPr>
                <a:xfrm>
                  <a:off x="2410824" y="3711964"/>
                  <a:ext cx="194725" cy="54425"/>
                  <a:chOff x="2650273" y="3071177"/>
                  <a:chExt cx="318912" cy="89138"/>
                </a:xfrm>
                <a:solidFill>
                  <a:srgbClr val="E6E6E6"/>
                </a:solidFill>
              </p:grpSpPr>
              <p:sp>
                <p:nvSpPr>
                  <p:cNvPr id="855" name="vMap : Dominican Republic">
                    <a:extLst>
                      <a:ext uri="{FF2B5EF4-FFF2-40B4-BE49-F238E27FC236}">
                        <a16:creationId xmlns:a16="http://schemas.microsoft.com/office/drawing/2014/main" xmlns="" id="{77AF15A6-9EA9-534E-A5EE-D768EE5B8826}"/>
                      </a:ext>
                    </a:extLst>
                  </p:cNvPr>
                  <p:cNvSpPr>
                    <a:spLocks noChangeAspect="1"/>
                  </p:cNvSpPr>
                  <p:nvPr>
                    <p:custDataLst>
                      <p:tags r:id="rId350"/>
                    </p:custDataLst>
                  </p:nvPr>
                </p:nvSpPr>
                <p:spPr bwMode="gray">
                  <a:xfrm>
                    <a:off x="2916863" y="3129753"/>
                    <a:ext cx="52322" cy="17827"/>
                  </a:xfrm>
                  <a:custGeom>
                    <a:avLst/>
                    <a:gdLst>
                      <a:gd name="T0" fmla="*/ 13 w 34"/>
                      <a:gd name="T1" fmla="*/ 0 h 12"/>
                      <a:gd name="T2" fmla="*/ 13 w 34"/>
                      <a:gd name="T3" fmla="*/ 3 h 12"/>
                      <a:gd name="T4" fmla="*/ 7 w 34"/>
                      <a:gd name="T5" fmla="*/ 4 h 12"/>
                      <a:gd name="T6" fmla="*/ 0 w 34"/>
                      <a:gd name="T7" fmla="*/ 4 h 12"/>
                      <a:gd name="T8" fmla="*/ 0 w 34"/>
                      <a:gd name="T9" fmla="*/ 1 h 12"/>
                      <a:gd name="T10" fmla="*/ 13 w 3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12">
                        <a:moveTo>
                          <a:pt x="34" y="0"/>
                        </a:moveTo>
                        <a:lnTo>
                          <a:pt x="34" y="8"/>
                        </a:lnTo>
                        <a:lnTo>
                          <a:pt x="18" y="12"/>
                        </a:lnTo>
                        <a:lnTo>
                          <a:pt x="0" y="12"/>
                        </a:lnTo>
                        <a:lnTo>
                          <a:pt x="0" y="4"/>
                        </a:lnTo>
                        <a:lnTo>
                          <a:pt x="3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6" name="vMap : Dominican Republic">
                    <a:extLst>
                      <a:ext uri="{FF2B5EF4-FFF2-40B4-BE49-F238E27FC236}">
                        <a16:creationId xmlns:a16="http://schemas.microsoft.com/office/drawing/2014/main" xmlns="" id="{286DA65A-38C7-FC4E-8E35-664C0AF8831F}"/>
                      </a:ext>
                    </a:extLst>
                  </p:cNvPr>
                  <p:cNvSpPr>
                    <a:spLocks noChangeAspect="1"/>
                  </p:cNvSpPr>
                  <p:nvPr>
                    <p:custDataLst>
                      <p:tags r:id="rId351"/>
                    </p:custDataLst>
                  </p:nvPr>
                </p:nvSpPr>
                <p:spPr bwMode="gray">
                  <a:xfrm>
                    <a:off x="2650273" y="3071177"/>
                    <a:ext cx="109625" cy="68763"/>
                  </a:xfrm>
                  <a:custGeom>
                    <a:avLst/>
                    <a:gdLst>
                      <a:gd name="T0" fmla="*/ 28 w 70"/>
                      <a:gd name="T1" fmla="*/ 0 h 46"/>
                      <a:gd name="T2" fmla="*/ 25 w 70"/>
                      <a:gd name="T3" fmla="*/ 16 h 46"/>
                      <a:gd name="T4" fmla="*/ 5 w 70"/>
                      <a:gd name="T5" fmla="*/ 16 h 46"/>
                      <a:gd name="T6" fmla="*/ 0 w 70"/>
                      <a:gd name="T7" fmla="*/ 13 h 46"/>
                      <a:gd name="T8" fmla="*/ 19 w 70"/>
                      <a:gd name="T9" fmla="*/ 12 h 46"/>
                      <a:gd name="T10" fmla="*/ 16 w 70"/>
                      <a:gd name="T11" fmla="*/ 3 h 46"/>
                      <a:gd name="T12" fmla="*/ 11 w 70"/>
                      <a:gd name="T13" fmla="*/ 0 h 46"/>
                      <a:gd name="T14" fmla="*/ 28 w 70"/>
                      <a:gd name="T15" fmla="*/ 0 h 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 h="46">
                        <a:moveTo>
                          <a:pt x="70" y="0"/>
                        </a:moveTo>
                        <a:lnTo>
                          <a:pt x="62" y="46"/>
                        </a:lnTo>
                        <a:lnTo>
                          <a:pt x="12" y="46"/>
                        </a:lnTo>
                        <a:lnTo>
                          <a:pt x="0" y="38"/>
                        </a:lnTo>
                        <a:lnTo>
                          <a:pt x="50" y="34"/>
                        </a:lnTo>
                        <a:lnTo>
                          <a:pt x="42" y="8"/>
                        </a:lnTo>
                        <a:lnTo>
                          <a:pt x="28" y="0"/>
                        </a:lnTo>
                        <a:lnTo>
                          <a:pt x="7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7" name="vMap : Dominican Republic">
                    <a:extLst>
                      <a:ext uri="{FF2B5EF4-FFF2-40B4-BE49-F238E27FC236}">
                        <a16:creationId xmlns:a16="http://schemas.microsoft.com/office/drawing/2014/main" xmlns="" id="{3A9B963F-2DAD-EC4E-97CB-DBA9E21FC9C6}"/>
                      </a:ext>
                    </a:extLst>
                  </p:cNvPr>
                  <p:cNvSpPr>
                    <a:spLocks noChangeAspect="1"/>
                  </p:cNvSpPr>
                  <p:nvPr>
                    <p:custDataLst>
                      <p:tags r:id="rId352"/>
                    </p:custDataLst>
                  </p:nvPr>
                </p:nvSpPr>
                <p:spPr bwMode="gray">
                  <a:xfrm>
                    <a:off x="2744950" y="3071177"/>
                    <a:ext cx="129557" cy="89138"/>
                  </a:xfrm>
                  <a:custGeom>
                    <a:avLst/>
                    <a:gdLst>
                      <a:gd name="T0" fmla="*/ 3 w 84"/>
                      <a:gd name="T1" fmla="*/ 0 h 58"/>
                      <a:gd name="T2" fmla="*/ 0 w 84"/>
                      <a:gd name="T3" fmla="*/ 17 h 58"/>
                      <a:gd name="T4" fmla="*/ 3 w 84"/>
                      <a:gd name="T5" fmla="*/ 21 h 58"/>
                      <a:gd name="T6" fmla="*/ 10 w 84"/>
                      <a:gd name="T7" fmla="*/ 14 h 58"/>
                      <a:gd name="T8" fmla="*/ 12 w 84"/>
                      <a:gd name="T9" fmla="*/ 17 h 58"/>
                      <a:gd name="T10" fmla="*/ 20 w 84"/>
                      <a:gd name="T11" fmla="*/ 14 h 58"/>
                      <a:gd name="T12" fmla="*/ 29 w 84"/>
                      <a:gd name="T13" fmla="*/ 15 h 58"/>
                      <a:gd name="T14" fmla="*/ 32 w 84"/>
                      <a:gd name="T15" fmla="*/ 11 h 58"/>
                      <a:gd name="T16" fmla="*/ 22 w 84"/>
                      <a:gd name="T17" fmla="*/ 7 h 58"/>
                      <a:gd name="T18" fmla="*/ 25 w 84"/>
                      <a:gd name="T19" fmla="*/ 6 h 58"/>
                      <a:gd name="T20" fmla="*/ 19 w 84"/>
                      <a:gd name="T21" fmla="*/ 1 h 58"/>
                      <a:gd name="T22" fmla="*/ 3 w 84"/>
                      <a:gd name="T23" fmla="*/ 0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4" h="58">
                        <a:moveTo>
                          <a:pt x="8" y="0"/>
                        </a:moveTo>
                        <a:lnTo>
                          <a:pt x="0" y="46"/>
                        </a:lnTo>
                        <a:lnTo>
                          <a:pt x="8" y="58"/>
                        </a:lnTo>
                        <a:lnTo>
                          <a:pt x="26" y="38"/>
                        </a:lnTo>
                        <a:lnTo>
                          <a:pt x="30" y="46"/>
                        </a:lnTo>
                        <a:lnTo>
                          <a:pt x="54" y="38"/>
                        </a:lnTo>
                        <a:lnTo>
                          <a:pt x="76" y="42"/>
                        </a:lnTo>
                        <a:lnTo>
                          <a:pt x="84" y="30"/>
                        </a:lnTo>
                        <a:lnTo>
                          <a:pt x="58" y="20"/>
                        </a:lnTo>
                        <a:lnTo>
                          <a:pt x="66" y="16"/>
                        </a:lnTo>
                        <a:lnTo>
                          <a:pt x="50" y="4"/>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8" name="vMap : Dominican Republic">
                    <a:extLst>
                      <a:ext uri="{FF2B5EF4-FFF2-40B4-BE49-F238E27FC236}">
                        <a16:creationId xmlns:a16="http://schemas.microsoft.com/office/drawing/2014/main" xmlns="" id="{8A0A946C-D668-F84B-91AD-4E77887F80A3}"/>
                      </a:ext>
                    </a:extLst>
                  </p:cNvPr>
                  <p:cNvSpPr>
                    <a:spLocks noChangeAspect="1"/>
                  </p:cNvSpPr>
                  <p:nvPr>
                    <p:custDataLst>
                      <p:tags r:id="rId353"/>
                    </p:custDataLst>
                  </p:nvPr>
                </p:nvSpPr>
                <p:spPr bwMode="gray">
                  <a:xfrm>
                    <a:off x="2916863" y="3129753"/>
                    <a:ext cx="52322" cy="17827"/>
                  </a:xfrm>
                  <a:custGeom>
                    <a:avLst/>
                    <a:gdLst>
                      <a:gd name="T0" fmla="*/ 13 w 34"/>
                      <a:gd name="T1" fmla="*/ 0 h 12"/>
                      <a:gd name="T2" fmla="*/ 13 w 34"/>
                      <a:gd name="T3" fmla="*/ 3 h 12"/>
                      <a:gd name="T4" fmla="*/ 7 w 34"/>
                      <a:gd name="T5" fmla="*/ 4 h 12"/>
                      <a:gd name="T6" fmla="*/ 0 w 34"/>
                      <a:gd name="T7" fmla="*/ 4 h 12"/>
                      <a:gd name="T8" fmla="*/ 0 w 34"/>
                      <a:gd name="T9" fmla="*/ 1 h 12"/>
                      <a:gd name="T10" fmla="*/ 13 w 3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12">
                        <a:moveTo>
                          <a:pt x="34" y="0"/>
                        </a:moveTo>
                        <a:lnTo>
                          <a:pt x="34" y="8"/>
                        </a:lnTo>
                        <a:lnTo>
                          <a:pt x="18" y="12"/>
                        </a:lnTo>
                        <a:lnTo>
                          <a:pt x="0" y="12"/>
                        </a:lnTo>
                        <a:lnTo>
                          <a:pt x="0" y="4"/>
                        </a:lnTo>
                        <a:lnTo>
                          <a:pt x="3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9" name="vMap : Dominican Republic">
                    <a:extLst>
                      <a:ext uri="{FF2B5EF4-FFF2-40B4-BE49-F238E27FC236}">
                        <a16:creationId xmlns:a16="http://schemas.microsoft.com/office/drawing/2014/main" xmlns="" id="{78D85DA5-AE18-CB49-A7D5-474770115926}"/>
                      </a:ext>
                    </a:extLst>
                  </p:cNvPr>
                  <p:cNvSpPr>
                    <a:spLocks noChangeAspect="1"/>
                  </p:cNvSpPr>
                  <p:nvPr>
                    <p:custDataLst>
                      <p:tags r:id="rId354"/>
                    </p:custDataLst>
                  </p:nvPr>
                </p:nvSpPr>
                <p:spPr bwMode="gray">
                  <a:xfrm>
                    <a:off x="2650273" y="3071177"/>
                    <a:ext cx="109625" cy="68763"/>
                  </a:xfrm>
                  <a:custGeom>
                    <a:avLst/>
                    <a:gdLst>
                      <a:gd name="T0" fmla="*/ 28 w 70"/>
                      <a:gd name="T1" fmla="*/ 0 h 46"/>
                      <a:gd name="T2" fmla="*/ 25 w 70"/>
                      <a:gd name="T3" fmla="*/ 16 h 46"/>
                      <a:gd name="T4" fmla="*/ 5 w 70"/>
                      <a:gd name="T5" fmla="*/ 16 h 46"/>
                      <a:gd name="T6" fmla="*/ 0 w 70"/>
                      <a:gd name="T7" fmla="*/ 13 h 46"/>
                      <a:gd name="T8" fmla="*/ 19 w 70"/>
                      <a:gd name="T9" fmla="*/ 12 h 46"/>
                      <a:gd name="T10" fmla="*/ 16 w 70"/>
                      <a:gd name="T11" fmla="*/ 3 h 46"/>
                      <a:gd name="T12" fmla="*/ 11 w 70"/>
                      <a:gd name="T13" fmla="*/ 0 h 46"/>
                      <a:gd name="T14" fmla="*/ 28 w 70"/>
                      <a:gd name="T15" fmla="*/ 0 h 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 h="46">
                        <a:moveTo>
                          <a:pt x="70" y="0"/>
                        </a:moveTo>
                        <a:lnTo>
                          <a:pt x="62" y="46"/>
                        </a:lnTo>
                        <a:lnTo>
                          <a:pt x="12" y="46"/>
                        </a:lnTo>
                        <a:lnTo>
                          <a:pt x="0" y="38"/>
                        </a:lnTo>
                        <a:lnTo>
                          <a:pt x="50" y="34"/>
                        </a:lnTo>
                        <a:lnTo>
                          <a:pt x="42" y="8"/>
                        </a:lnTo>
                        <a:lnTo>
                          <a:pt x="28" y="0"/>
                        </a:lnTo>
                        <a:lnTo>
                          <a:pt x="7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60" name="vMap : Dominican Republic">
                    <a:extLst>
                      <a:ext uri="{FF2B5EF4-FFF2-40B4-BE49-F238E27FC236}">
                        <a16:creationId xmlns:a16="http://schemas.microsoft.com/office/drawing/2014/main" xmlns="" id="{A95E3C5C-6706-8744-9CF6-E45025ED846D}"/>
                      </a:ext>
                    </a:extLst>
                  </p:cNvPr>
                  <p:cNvSpPr>
                    <a:spLocks noChangeAspect="1"/>
                  </p:cNvSpPr>
                  <p:nvPr>
                    <p:custDataLst>
                      <p:tags r:id="rId355"/>
                    </p:custDataLst>
                  </p:nvPr>
                </p:nvSpPr>
                <p:spPr bwMode="gray">
                  <a:xfrm>
                    <a:off x="2744950" y="3071177"/>
                    <a:ext cx="129557" cy="89138"/>
                  </a:xfrm>
                  <a:custGeom>
                    <a:avLst/>
                    <a:gdLst>
                      <a:gd name="T0" fmla="*/ 3 w 84"/>
                      <a:gd name="T1" fmla="*/ 0 h 58"/>
                      <a:gd name="T2" fmla="*/ 0 w 84"/>
                      <a:gd name="T3" fmla="*/ 17 h 58"/>
                      <a:gd name="T4" fmla="*/ 3 w 84"/>
                      <a:gd name="T5" fmla="*/ 21 h 58"/>
                      <a:gd name="T6" fmla="*/ 10 w 84"/>
                      <a:gd name="T7" fmla="*/ 14 h 58"/>
                      <a:gd name="T8" fmla="*/ 12 w 84"/>
                      <a:gd name="T9" fmla="*/ 17 h 58"/>
                      <a:gd name="T10" fmla="*/ 20 w 84"/>
                      <a:gd name="T11" fmla="*/ 14 h 58"/>
                      <a:gd name="T12" fmla="*/ 29 w 84"/>
                      <a:gd name="T13" fmla="*/ 15 h 58"/>
                      <a:gd name="T14" fmla="*/ 32 w 84"/>
                      <a:gd name="T15" fmla="*/ 11 h 58"/>
                      <a:gd name="T16" fmla="*/ 22 w 84"/>
                      <a:gd name="T17" fmla="*/ 7 h 58"/>
                      <a:gd name="T18" fmla="*/ 25 w 84"/>
                      <a:gd name="T19" fmla="*/ 6 h 58"/>
                      <a:gd name="T20" fmla="*/ 19 w 84"/>
                      <a:gd name="T21" fmla="*/ 1 h 58"/>
                      <a:gd name="T22" fmla="*/ 3 w 84"/>
                      <a:gd name="T23" fmla="*/ 0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4" h="58">
                        <a:moveTo>
                          <a:pt x="8" y="0"/>
                        </a:moveTo>
                        <a:lnTo>
                          <a:pt x="0" y="46"/>
                        </a:lnTo>
                        <a:lnTo>
                          <a:pt x="8" y="58"/>
                        </a:lnTo>
                        <a:lnTo>
                          <a:pt x="26" y="38"/>
                        </a:lnTo>
                        <a:lnTo>
                          <a:pt x="30" y="46"/>
                        </a:lnTo>
                        <a:lnTo>
                          <a:pt x="54" y="38"/>
                        </a:lnTo>
                        <a:lnTo>
                          <a:pt x="76" y="42"/>
                        </a:lnTo>
                        <a:lnTo>
                          <a:pt x="84" y="30"/>
                        </a:lnTo>
                        <a:lnTo>
                          <a:pt x="58" y="20"/>
                        </a:lnTo>
                        <a:lnTo>
                          <a:pt x="66" y="16"/>
                        </a:lnTo>
                        <a:lnTo>
                          <a:pt x="50" y="4"/>
                        </a:lnTo>
                        <a:lnTo>
                          <a:pt x="8" y="0"/>
                        </a:lnTo>
                      </a:path>
                    </a:pathLst>
                  </a:custGeom>
                  <a:solidFill>
                    <a:srgbClr val="0F4DBC"/>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61" name="vMap : Dominican Republic">
                    <a:extLst>
                      <a:ext uri="{FF2B5EF4-FFF2-40B4-BE49-F238E27FC236}">
                        <a16:creationId xmlns:a16="http://schemas.microsoft.com/office/drawing/2014/main" xmlns="" id="{62BDE819-61B8-B240-A6BA-1FF9553A9786}"/>
                      </a:ext>
                    </a:extLst>
                  </p:cNvPr>
                  <p:cNvSpPr>
                    <a:spLocks noChangeAspect="1"/>
                  </p:cNvSpPr>
                  <p:nvPr>
                    <p:custDataLst>
                      <p:tags r:id="rId356"/>
                    </p:custDataLst>
                  </p:nvPr>
                </p:nvSpPr>
                <p:spPr bwMode="gray">
                  <a:xfrm>
                    <a:off x="2881982" y="3114473"/>
                    <a:ext cx="17441" cy="20374"/>
                  </a:xfrm>
                  <a:custGeom>
                    <a:avLst/>
                    <a:gdLst>
                      <a:gd name="T0" fmla="*/ 3 w 12"/>
                      <a:gd name="T1" fmla="*/ 3 h 14"/>
                      <a:gd name="T2" fmla="*/ 0 w 12"/>
                      <a:gd name="T3" fmla="*/ 0 h 14"/>
                      <a:gd name="T4" fmla="*/ 4 w 12"/>
                      <a:gd name="T5" fmla="*/ 1 h 14"/>
                      <a:gd name="T6" fmla="*/ 1 w 12"/>
                      <a:gd name="T7" fmla="*/ 5 h 14"/>
                      <a:gd name="T8" fmla="*/ 3 w 12"/>
                      <a:gd name="T9" fmla="*/ 3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4">
                        <a:moveTo>
                          <a:pt x="8" y="8"/>
                        </a:moveTo>
                        <a:lnTo>
                          <a:pt x="0" y="0"/>
                        </a:lnTo>
                        <a:lnTo>
                          <a:pt x="12" y="4"/>
                        </a:lnTo>
                        <a:lnTo>
                          <a:pt x="4" y="14"/>
                        </a:lnTo>
                        <a:lnTo>
                          <a:pt x="8"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494" name="vMap : Lago de Nicaragua">
                  <a:extLst>
                    <a:ext uri="{FF2B5EF4-FFF2-40B4-BE49-F238E27FC236}">
                      <a16:creationId xmlns:a16="http://schemas.microsoft.com/office/drawing/2014/main" xmlns="" id="{C3F81780-27C7-E148-B6B4-1B16186E6542}"/>
                    </a:ext>
                  </a:extLst>
                </p:cNvPr>
                <p:cNvSpPr>
                  <a:spLocks noChangeAspect="1"/>
                </p:cNvSpPr>
                <p:nvPr>
                  <p:custDataLst>
                    <p:tags r:id="rId15"/>
                  </p:custDataLst>
                </p:nvPr>
              </p:nvSpPr>
              <p:spPr bwMode="gray">
                <a:xfrm>
                  <a:off x="2133950" y="3915670"/>
                  <a:ext cx="22820" cy="21770"/>
                </a:xfrm>
                <a:custGeom>
                  <a:avLst/>
                  <a:gdLst>
                    <a:gd name="T0" fmla="*/ 3 w 22"/>
                    <a:gd name="T1" fmla="*/ 0 h 24"/>
                    <a:gd name="T2" fmla="*/ 10 w 22"/>
                    <a:gd name="T3" fmla="*/ 8 h 24"/>
                    <a:gd name="T4" fmla="*/ 3 w 22"/>
                    <a:gd name="T5" fmla="*/ 7 h 24"/>
                    <a:gd name="T6" fmla="*/ 0 w 22"/>
                    <a:gd name="T7" fmla="*/ 0 h 24"/>
                    <a:gd name="T8" fmla="*/ 3 w 22"/>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24">
                      <a:moveTo>
                        <a:pt x="6" y="0"/>
                      </a:moveTo>
                      <a:lnTo>
                        <a:pt x="22" y="24"/>
                      </a:lnTo>
                      <a:lnTo>
                        <a:pt x="6" y="20"/>
                      </a:lnTo>
                      <a:lnTo>
                        <a:pt x="0" y="0"/>
                      </a:lnTo>
                      <a:lnTo>
                        <a:pt x="6"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95" name="vMap : Panama">
                  <a:extLst>
                    <a:ext uri="{FF2B5EF4-FFF2-40B4-BE49-F238E27FC236}">
                      <a16:creationId xmlns:a16="http://schemas.microsoft.com/office/drawing/2014/main" xmlns="" id="{BACD85CD-1CFD-C24C-9DEA-E5B58AEA2C03}"/>
                    </a:ext>
                  </a:extLst>
                </p:cNvPr>
                <p:cNvSpPr>
                  <a:spLocks noChangeAspect="1"/>
                </p:cNvSpPr>
                <p:nvPr>
                  <p:custDataLst>
                    <p:tags r:id="rId16"/>
                  </p:custDataLst>
                </p:nvPr>
              </p:nvSpPr>
              <p:spPr bwMode="gray">
                <a:xfrm>
                  <a:off x="2194802" y="3976314"/>
                  <a:ext cx="130830" cy="66865"/>
                </a:xfrm>
                <a:custGeom>
                  <a:avLst/>
                  <a:gdLst>
                    <a:gd name="T0" fmla="*/ 51 w 142"/>
                    <a:gd name="T1" fmla="*/ 10 h 70"/>
                    <a:gd name="T2" fmla="*/ 52 w 142"/>
                    <a:gd name="T3" fmla="*/ 17 h 70"/>
                    <a:gd name="T4" fmla="*/ 45 w 142"/>
                    <a:gd name="T5" fmla="*/ 25 h 70"/>
                    <a:gd name="T6" fmla="*/ 41 w 142"/>
                    <a:gd name="T7" fmla="*/ 17 h 70"/>
                    <a:gd name="T8" fmla="*/ 44 w 142"/>
                    <a:gd name="T9" fmla="*/ 13 h 70"/>
                    <a:gd name="T10" fmla="*/ 34 w 142"/>
                    <a:gd name="T11" fmla="*/ 7 h 70"/>
                    <a:gd name="T12" fmla="*/ 23 w 142"/>
                    <a:gd name="T13" fmla="*/ 16 h 70"/>
                    <a:gd name="T14" fmla="*/ 25 w 142"/>
                    <a:gd name="T15" fmla="*/ 23 h 70"/>
                    <a:gd name="T16" fmla="*/ 21 w 142"/>
                    <a:gd name="T17" fmla="*/ 26 h 70"/>
                    <a:gd name="T18" fmla="*/ 12 w 142"/>
                    <a:gd name="T19" fmla="*/ 16 h 70"/>
                    <a:gd name="T20" fmla="*/ 0 w 142"/>
                    <a:gd name="T21" fmla="*/ 13 h 70"/>
                    <a:gd name="T22" fmla="*/ 1 w 142"/>
                    <a:gd name="T23" fmla="*/ 3 h 70"/>
                    <a:gd name="T24" fmla="*/ 4 w 142"/>
                    <a:gd name="T25" fmla="*/ 0 h 70"/>
                    <a:gd name="T26" fmla="*/ 9 w 142"/>
                    <a:gd name="T27" fmla="*/ 7 h 70"/>
                    <a:gd name="T28" fmla="*/ 17 w 142"/>
                    <a:gd name="T29" fmla="*/ 9 h 70"/>
                    <a:gd name="T30" fmla="*/ 35 w 142"/>
                    <a:gd name="T31" fmla="*/ 1 h 70"/>
                    <a:gd name="T32" fmla="*/ 44 w 142"/>
                    <a:gd name="T33" fmla="*/ 4 h 70"/>
                    <a:gd name="T34" fmla="*/ 51 w 142"/>
                    <a:gd name="T35" fmla="*/ 10 h 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2" h="70">
                      <a:moveTo>
                        <a:pt x="138" y="28"/>
                      </a:moveTo>
                      <a:lnTo>
                        <a:pt x="142" y="46"/>
                      </a:lnTo>
                      <a:lnTo>
                        <a:pt x="124" y="66"/>
                      </a:lnTo>
                      <a:lnTo>
                        <a:pt x="112" y="46"/>
                      </a:lnTo>
                      <a:lnTo>
                        <a:pt x="120" y="34"/>
                      </a:lnTo>
                      <a:lnTo>
                        <a:pt x="92" y="20"/>
                      </a:lnTo>
                      <a:lnTo>
                        <a:pt x="62" y="42"/>
                      </a:lnTo>
                      <a:lnTo>
                        <a:pt x="70" y="62"/>
                      </a:lnTo>
                      <a:lnTo>
                        <a:pt x="58" y="70"/>
                      </a:lnTo>
                      <a:lnTo>
                        <a:pt x="32" y="42"/>
                      </a:lnTo>
                      <a:lnTo>
                        <a:pt x="0" y="34"/>
                      </a:lnTo>
                      <a:lnTo>
                        <a:pt x="4" y="8"/>
                      </a:lnTo>
                      <a:lnTo>
                        <a:pt x="12" y="0"/>
                      </a:lnTo>
                      <a:lnTo>
                        <a:pt x="24" y="20"/>
                      </a:lnTo>
                      <a:lnTo>
                        <a:pt x="46" y="24"/>
                      </a:lnTo>
                      <a:lnTo>
                        <a:pt x="96" y="4"/>
                      </a:lnTo>
                      <a:lnTo>
                        <a:pt x="120" y="12"/>
                      </a:lnTo>
                      <a:lnTo>
                        <a:pt x="138" y="28"/>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96" name="vMap : Ecuador">
                  <a:extLst>
                    <a:ext uri="{FF2B5EF4-FFF2-40B4-BE49-F238E27FC236}">
                      <a16:creationId xmlns:a16="http://schemas.microsoft.com/office/drawing/2014/main" xmlns="" id="{B34FFA97-74BB-3141-8969-2D02FA743A4A}"/>
                    </a:ext>
                  </a:extLst>
                </p:cNvPr>
                <p:cNvSpPr>
                  <a:spLocks noChangeAspect="1"/>
                </p:cNvSpPr>
                <p:nvPr>
                  <p:custDataLst>
                    <p:tags r:id="rId17"/>
                  </p:custDataLst>
                </p:nvPr>
              </p:nvSpPr>
              <p:spPr bwMode="gray">
                <a:xfrm>
                  <a:off x="2237397" y="4195569"/>
                  <a:ext cx="126267" cy="164830"/>
                </a:xfrm>
                <a:custGeom>
                  <a:avLst/>
                  <a:gdLst>
                    <a:gd name="T0" fmla="*/ 49 w 138"/>
                    <a:gd name="T1" fmla="*/ 14 h 174"/>
                    <a:gd name="T2" fmla="*/ 42 w 138"/>
                    <a:gd name="T3" fmla="*/ 10 h 174"/>
                    <a:gd name="T4" fmla="*/ 32 w 138"/>
                    <a:gd name="T5" fmla="*/ 13 h 174"/>
                    <a:gd name="T6" fmla="*/ 18 w 138"/>
                    <a:gd name="T7" fmla="*/ 0 h 174"/>
                    <a:gd name="T8" fmla="*/ 7 w 138"/>
                    <a:gd name="T9" fmla="*/ 7 h 174"/>
                    <a:gd name="T10" fmla="*/ 7 w 138"/>
                    <a:gd name="T11" fmla="*/ 13 h 174"/>
                    <a:gd name="T12" fmla="*/ 0 w 138"/>
                    <a:gd name="T13" fmla="*/ 26 h 174"/>
                    <a:gd name="T14" fmla="*/ 0 w 138"/>
                    <a:gd name="T15" fmla="*/ 38 h 174"/>
                    <a:gd name="T16" fmla="*/ 6 w 138"/>
                    <a:gd name="T17" fmla="*/ 41 h 174"/>
                    <a:gd name="T18" fmla="*/ 8 w 138"/>
                    <a:gd name="T19" fmla="*/ 37 h 174"/>
                    <a:gd name="T20" fmla="*/ 10 w 138"/>
                    <a:gd name="T21" fmla="*/ 41 h 174"/>
                    <a:gd name="T22" fmla="*/ 6 w 138"/>
                    <a:gd name="T23" fmla="*/ 50 h 174"/>
                    <a:gd name="T24" fmla="*/ 4 w 138"/>
                    <a:gd name="T25" fmla="*/ 62 h 174"/>
                    <a:gd name="T26" fmla="*/ 17 w 138"/>
                    <a:gd name="T27" fmla="*/ 65 h 174"/>
                    <a:gd name="T28" fmla="*/ 25 w 138"/>
                    <a:gd name="T29" fmla="*/ 48 h 174"/>
                    <a:gd name="T30" fmla="*/ 38 w 138"/>
                    <a:gd name="T31" fmla="*/ 41 h 174"/>
                    <a:gd name="T32" fmla="*/ 46 w 138"/>
                    <a:gd name="T33" fmla="*/ 31 h 174"/>
                    <a:gd name="T34" fmla="*/ 50 w 138"/>
                    <a:gd name="T35" fmla="*/ 24 h 174"/>
                    <a:gd name="T36" fmla="*/ 48 w 138"/>
                    <a:gd name="T37" fmla="*/ 17 h 174"/>
                    <a:gd name="T38" fmla="*/ 49 w 138"/>
                    <a:gd name="T39" fmla="*/ 14 h 1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8" h="174">
                      <a:moveTo>
                        <a:pt x="134" y="38"/>
                      </a:moveTo>
                      <a:lnTo>
                        <a:pt x="116" y="28"/>
                      </a:lnTo>
                      <a:lnTo>
                        <a:pt x="88" y="36"/>
                      </a:lnTo>
                      <a:lnTo>
                        <a:pt x="50" y="0"/>
                      </a:lnTo>
                      <a:lnTo>
                        <a:pt x="20" y="20"/>
                      </a:lnTo>
                      <a:lnTo>
                        <a:pt x="20" y="36"/>
                      </a:lnTo>
                      <a:lnTo>
                        <a:pt x="0" y="70"/>
                      </a:lnTo>
                      <a:lnTo>
                        <a:pt x="0" y="104"/>
                      </a:lnTo>
                      <a:lnTo>
                        <a:pt x="16" y="112"/>
                      </a:lnTo>
                      <a:lnTo>
                        <a:pt x="24" y="100"/>
                      </a:lnTo>
                      <a:lnTo>
                        <a:pt x="28" y="112"/>
                      </a:lnTo>
                      <a:lnTo>
                        <a:pt x="16" y="134"/>
                      </a:lnTo>
                      <a:lnTo>
                        <a:pt x="12" y="166"/>
                      </a:lnTo>
                      <a:lnTo>
                        <a:pt x="46" y="174"/>
                      </a:lnTo>
                      <a:lnTo>
                        <a:pt x="70" y="128"/>
                      </a:lnTo>
                      <a:lnTo>
                        <a:pt x="104" y="112"/>
                      </a:lnTo>
                      <a:lnTo>
                        <a:pt x="128" y="84"/>
                      </a:lnTo>
                      <a:lnTo>
                        <a:pt x="138" y="66"/>
                      </a:lnTo>
                      <a:lnTo>
                        <a:pt x="132" y="46"/>
                      </a:lnTo>
                      <a:lnTo>
                        <a:pt x="134" y="3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97" name="vMap : Columbia">
                  <a:extLst>
                    <a:ext uri="{FF2B5EF4-FFF2-40B4-BE49-F238E27FC236}">
                      <a16:creationId xmlns:a16="http://schemas.microsoft.com/office/drawing/2014/main" xmlns="" id="{05657864-0033-1149-9AE3-C1047198950E}"/>
                    </a:ext>
                  </a:extLst>
                </p:cNvPr>
                <p:cNvSpPr>
                  <a:spLocks noChangeAspect="1"/>
                </p:cNvSpPr>
                <p:nvPr>
                  <p:custDataLst>
                    <p:tags r:id="rId18"/>
                  </p:custDataLst>
                </p:nvPr>
              </p:nvSpPr>
              <p:spPr bwMode="gray">
                <a:xfrm>
                  <a:off x="2284558" y="3904785"/>
                  <a:ext cx="272310" cy="436955"/>
                </a:xfrm>
                <a:custGeom>
                  <a:avLst/>
                  <a:gdLst>
                    <a:gd name="T0" fmla="*/ 16 w 291"/>
                    <a:gd name="T1" fmla="*/ 39 h 459"/>
                    <a:gd name="T2" fmla="*/ 17 w 291"/>
                    <a:gd name="T3" fmla="*/ 46 h 459"/>
                    <a:gd name="T4" fmla="*/ 10 w 291"/>
                    <a:gd name="T5" fmla="*/ 53 h 459"/>
                    <a:gd name="T6" fmla="*/ 14 w 291"/>
                    <a:gd name="T7" fmla="*/ 61 h 459"/>
                    <a:gd name="T8" fmla="*/ 14 w 291"/>
                    <a:gd name="T9" fmla="*/ 89 h 459"/>
                    <a:gd name="T10" fmla="*/ 17 w 291"/>
                    <a:gd name="T11" fmla="*/ 89 h 459"/>
                    <a:gd name="T12" fmla="*/ 10 w 291"/>
                    <a:gd name="T13" fmla="*/ 100 h 459"/>
                    <a:gd name="T14" fmla="*/ 3 w 291"/>
                    <a:gd name="T15" fmla="*/ 103 h 459"/>
                    <a:gd name="T16" fmla="*/ 0 w 291"/>
                    <a:gd name="T17" fmla="*/ 114 h 459"/>
                    <a:gd name="T18" fmla="*/ 14 w 291"/>
                    <a:gd name="T19" fmla="*/ 128 h 459"/>
                    <a:gd name="T20" fmla="*/ 25 w 291"/>
                    <a:gd name="T21" fmla="*/ 125 h 459"/>
                    <a:gd name="T22" fmla="*/ 32 w 291"/>
                    <a:gd name="T23" fmla="*/ 129 h 459"/>
                    <a:gd name="T24" fmla="*/ 47 w 291"/>
                    <a:gd name="T25" fmla="*/ 142 h 459"/>
                    <a:gd name="T26" fmla="*/ 54 w 291"/>
                    <a:gd name="T27" fmla="*/ 153 h 459"/>
                    <a:gd name="T28" fmla="*/ 72 w 291"/>
                    <a:gd name="T29" fmla="*/ 153 h 459"/>
                    <a:gd name="T30" fmla="*/ 78 w 291"/>
                    <a:gd name="T31" fmla="*/ 156 h 459"/>
                    <a:gd name="T32" fmla="*/ 81 w 291"/>
                    <a:gd name="T33" fmla="*/ 159 h 459"/>
                    <a:gd name="T34" fmla="*/ 77 w 291"/>
                    <a:gd name="T35" fmla="*/ 168 h 459"/>
                    <a:gd name="T36" fmla="*/ 83 w 291"/>
                    <a:gd name="T37" fmla="*/ 172 h 459"/>
                    <a:gd name="T38" fmla="*/ 87 w 291"/>
                    <a:gd name="T39" fmla="*/ 142 h 459"/>
                    <a:gd name="T40" fmla="*/ 81 w 291"/>
                    <a:gd name="T41" fmla="*/ 130 h 459"/>
                    <a:gd name="T42" fmla="*/ 81 w 291"/>
                    <a:gd name="T43" fmla="*/ 123 h 459"/>
                    <a:gd name="T44" fmla="*/ 88 w 291"/>
                    <a:gd name="T45" fmla="*/ 123 h 459"/>
                    <a:gd name="T46" fmla="*/ 87 w 291"/>
                    <a:gd name="T47" fmla="*/ 118 h 459"/>
                    <a:gd name="T48" fmla="*/ 83 w 291"/>
                    <a:gd name="T49" fmla="*/ 118 h 459"/>
                    <a:gd name="T50" fmla="*/ 83 w 291"/>
                    <a:gd name="T51" fmla="*/ 111 h 459"/>
                    <a:gd name="T52" fmla="*/ 104 w 291"/>
                    <a:gd name="T53" fmla="*/ 109 h 459"/>
                    <a:gd name="T54" fmla="*/ 109 w 291"/>
                    <a:gd name="T55" fmla="*/ 118 h 459"/>
                    <a:gd name="T56" fmla="*/ 110 w 291"/>
                    <a:gd name="T57" fmla="*/ 114 h 459"/>
                    <a:gd name="T58" fmla="*/ 101 w 291"/>
                    <a:gd name="T59" fmla="*/ 100 h 459"/>
                    <a:gd name="T60" fmla="*/ 107 w 291"/>
                    <a:gd name="T61" fmla="*/ 94 h 459"/>
                    <a:gd name="T62" fmla="*/ 101 w 291"/>
                    <a:gd name="T63" fmla="*/ 81 h 459"/>
                    <a:gd name="T64" fmla="*/ 106 w 291"/>
                    <a:gd name="T65" fmla="*/ 64 h 459"/>
                    <a:gd name="T66" fmla="*/ 88 w 291"/>
                    <a:gd name="T67" fmla="*/ 66 h 459"/>
                    <a:gd name="T68" fmla="*/ 83 w 291"/>
                    <a:gd name="T69" fmla="*/ 58 h 459"/>
                    <a:gd name="T70" fmla="*/ 65 w 291"/>
                    <a:gd name="T71" fmla="*/ 54 h 459"/>
                    <a:gd name="T72" fmla="*/ 61 w 291"/>
                    <a:gd name="T73" fmla="*/ 51 h 459"/>
                    <a:gd name="T74" fmla="*/ 58 w 291"/>
                    <a:gd name="T75" fmla="*/ 34 h 459"/>
                    <a:gd name="T76" fmla="*/ 54 w 291"/>
                    <a:gd name="T77" fmla="*/ 34 h 459"/>
                    <a:gd name="T78" fmla="*/ 61 w 291"/>
                    <a:gd name="T79" fmla="*/ 16 h 459"/>
                    <a:gd name="T80" fmla="*/ 74 w 291"/>
                    <a:gd name="T81" fmla="*/ 6 h 459"/>
                    <a:gd name="T82" fmla="*/ 75 w 291"/>
                    <a:gd name="T83" fmla="*/ 3 h 459"/>
                    <a:gd name="T84" fmla="*/ 71 w 291"/>
                    <a:gd name="T85" fmla="*/ 0 h 459"/>
                    <a:gd name="T86" fmla="*/ 57 w 291"/>
                    <a:gd name="T87" fmla="*/ 11 h 459"/>
                    <a:gd name="T88" fmla="*/ 47 w 291"/>
                    <a:gd name="T89" fmla="*/ 13 h 459"/>
                    <a:gd name="T90" fmla="*/ 44 w 291"/>
                    <a:gd name="T91" fmla="*/ 17 h 459"/>
                    <a:gd name="T92" fmla="*/ 39 w 291"/>
                    <a:gd name="T93" fmla="*/ 16 h 459"/>
                    <a:gd name="T94" fmla="*/ 33 w 291"/>
                    <a:gd name="T95" fmla="*/ 20 h 459"/>
                    <a:gd name="T96" fmla="*/ 32 w 291"/>
                    <a:gd name="T97" fmla="*/ 30 h 459"/>
                    <a:gd name="T98" fmla="*/ 20 w 291"/>
                    <a:gd name="T99" fmla="*/ 39 h 459"/>
                    <a:gd name="T100" fmla="*/ 20 w 291"/>
                    <a:gd name="T101" fmla="*/ 46 h 459"/>
                    <a:gd name="T102" fmla="*/ 16 w 291"/>
                    <a:gd name="T103" fmla="*/ 39 h 45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1" h="459">
                      <a:moveTo>
                        <a:pt x="42" y="104"/>
                      </a:moveTo>
                      <a:lnTo>
                        <a:pt x="46" y="122"/>
                      </a:lnTo>
                      <a:lnTo>
                        <a:pt x="28" y="142"/>
                      </a:lnTo>
                      <a:lnTo>
                        <a:pt x="38" y="164"/>
                      </a:lnTo>
                      <a:lnTo>
                        <a:pt x="36" y="237"/>
                      </a:lnTo>
                      <a:lnTo>
                        <a:pt x="46" y="237"/>
                      </a:lnTo>
                      <a:lnTo>
                        <a:pt x="28" y="267"/>
                      </a:lnTo>
                      <a:lnTo>
                        <a:pt x="8" y="275"/>
                      </a:lnTo>
                      <a:lnTo>
                        <a:pt x="0" y="305"/>
                      </a:lnTo>
                      <a:lnTo>
                        <a:pt x="38" y="341"/>
                      </a:lnTo>
                      <a:lnTo>
                        <a:pt x="66" y="333"/>
                      </a:lnTo>
                      <a:lnTo>
                        <a:pt x="84" y="343"/>
                      </a:lnTo>
                      <a:lnTo>
                        <a:pt x="124" y="379"/>
                      </a:lnTo>
                      <a:lnTo>
                        <a:pt x="141" y="409"/>
                      </a:lnTo>
                      <a:lnTo>
                        <a:pt x="191" y="409"/>
                      </a:lnTo>
                      <a:lnTo>
                        <a:pt x="207" y="417"/>
                      </a:lnTo>
                      <a:lnTo>
                        <a:pt x="215" y="425"/>
                      </a:lnTo>
                      <a:lnTo>
                        <a:pt x="203" y="447"/>
                      </a:lnTo>
                      <a:lnTo>
                        <a:pt x="219" y="459"/>
                      </a:lnTo>
                      <a:lnTo>
                        <a:pt x="229" y="379"/>
                      </a:lnTo>
                      <a:lnTo>
                        <a:pt x="215" y="347"/>
                      </a:lnTo>
                      <a:lnTo>
                        <a:pt x="215" y="329"/>
                      </a:lnTo>
                      <a:lnTo>
                        <a:pt x="233" y="329"/>
                      </a:lnTo>
                      <a:lnTo>
                        <a:pt x="229" y="313"/>
                      </a:lnTo>
                      <a:lnTo>
                        <a:pt x="219" y="313"/>
                      </a:lnTo>
                      <a:lnTo>
                        <a:pt x="219" y="295"/>
                      </a:lnTo>
                      <a:lnTo>
                        <a:pt x="275" y="291"/>
                      </a:lnTo>
                      <a:lnTo>
                        <a:pt x="287" y="313"/>
                      </a:lnTo>
                      <a:lnTo>
                        <a:pt x="291" y="305"/>
                      </a:lnTo>
                      <a:lnTo>
                        <a:pt x="269" y="267"/>
                      </a:lnTo>
                      <a:lnTo>
                        <a:pt x="283" y="251"/>
                      </a:lnTo>
                      <a:lnTo>
                        <a:pt x="269" y="217"/>
                      </a:lnTo>
                      <a:lnTo>
                        <a:pt x="279" y="172"/>
                      </a:lnTo>
                      <a:lnTo>
                        <a:pt x="233" y="176"/>
                      </a:lnTo>
                      <a:lnTo>
                        <a:pt x="219" y="154"/>
                      </a:lnTo>
                      <a:lnTo>
                        <a:pt x="173" y="146"/>
                      </a:lnTo>
                      <a:lnTo>
                        <a:pt x="161" y="138"/>
                      </a:lnTo>
                      <a:lnTo>
                        <a:pt x="153" y="92"/>
                      </a:lnTo>
                      <a:lnTo>
                        <a:pt x="141" y="92"/>
                      </a:lnTo>
                      <a:lnTo>
                        <a:pt x="161" y="42"/>
                      </a:lnTo>
                      <a:lnTo>
                        <a:pt x="195" y="14"/>
                      </a:lnTo>
                      <a:lnTo>
                        <a:pt x="199" y="8"/>
                      </a:lnTo>
                      <a:lnTo>
                        <a:pt x="187" y="0"/>
                      </a:lnTo>
                      <a:lnTo>
                        <a:pt x="149" y="30"/>
                      </a:lnTo>
                      <a:lnTo>
                        <a:pt x="124" y="34"/>
                      </a:lnTo>
                      <a:lnTo>
                        <a:pt x="116" y="46"/>
                      </a:lnTo>
                      <a:lnTo>
                        <a:pt x="104" y="42"/>
                      </a:lnTo>
                      <a:lnTo>
                        <a:pt x="88" y="54"/>
                      </a:lnTo>
                      <a:lnTo>
                        <a:pt x="84" y="80"/>
                      </a:lnTo>
                      <a:lnTo>
                        <a:pt x="54" y="104"/>
                      </a:lnTo>
                      <a:lnTo>
                        <a:pt x="54" y="122"/>
                      </a:lnTo>
                      <a:lnTo>
                        <a:pt x="42" y="10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498" name="vMap : Belize">
                  <a:extLst>
                    <a:ext uri="{FF2B5EF4-FFF2-40B4-BE49-F238E27FC236}">
                      <a16:creationId xmlns:a16="http://schemas.microsoft.com/office/drawing/2014/main" xmlns="" id="{C41800F7-F599-E847-86A3-9B9211F649B3}"/>
                    </a:ext>
                  </a:extLst>
                </p:cNvPr>
                <p:cNvSpPr>
                  <a:spLocks noChangeAspect="1"/>
                </p:cNvSpPr>
                <p:nvPr>
                  <p:custDataLst>
                    <p:tags r:id="rId19"/>
                  </p:custDataLst>
                </p:nvPr>
              </p:nvSpPr>
              <p:spPr bwMode="gray">
                <a:xfrm>
                  <a:off x="2071578" y="3747729"/>
                  <a:ext cx="33468" cy="65310"/>
                </a:xfrm>
                <a:custGeom>
                  <a:avLst/>
                  <a:gdLst>
                    <a:gd name="T0" fmla="*/ 3 w 34"/>
                    <a:gd name="T1" fmla="*/ 25 h 70"/>
                    <a:gd name="T2" fmla="*/ 10 w 34"/>
                    <a:gd name="T3" fmla="*/ 15 h 70"/>
                    <a:gd name="T4" fmla="*/ 14 w 34"/>
                    <a:gd name="T5" fmla="*/ 1 h 70"/>
                    <a:gd name="T6" fmla="*/ 11 w 34"/>
                    <a:gd name="T7" fmla="*/ 0 h 70"/>
                    <a:gd name="T8" fmla="*/ 3 w 34"/>
                    <a:gd name="T9" fmla="*/ 6 h 70"/>
                    <a:gd name="T10" fmla="*/ 0 w 34"/>
                    <a:gd name="T11" fmla="*/ 24 h 70"/>
                    <a:gd name="T12" fmla="*/ 3 w 34"/>
                    <a:gd name="T13" fmla="*/ 25 h 7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70">
                      <a:moveTo>
                        <a:pt x="8" y="70"/>
                      </a:moveTo>
                      <a:lnTo>
                        <a:pt x="24" y="42"/>
                      </a:lnTo>
                      <a:lnTo>
                        <a:pt x="34" y="4"/>
                      </a:lnTo>
                      <a:lnTo>
                        <a:pt x="26" y="0"/>
                      </a:lnTo>
                      <a:lnTo>
                        <a:pt x="8" y="16"/>
                      </a:lnTo>
                      <a:lnTo>
                        <a:pt x="0" y="66"/>
                      </a:lnTo>
                      <a:lnTo>
                        <a:pt x="8" y="7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499" name="vMap : Venezuela">
                  <a:extLst>
                    <a:ext uri="{FF2B5EF4-FFF2-40B4-BE49-F238E27FC236}">
                      <a16:creationId xmlns:a16="http://schemas.microsoft.com/office/drawing/2014/main" xmlns="" id="{A589E658-EA6C-E24D-9486-8ADF81E25E67}"/>
                    </a:ext>
                  </a:extLst>
                </p:cNvPr>
                <p:cNvGrpSpPr/>
                <p:nvPr/>
              </p:nvGrpSpPr>
              <p:grpSpPr>
                <a:xfrm>
                  <a:off x="2415388" y="3904785"/>
                  <a:ext cx="305778" cy="307889"/>
                  <a:chOff x="2657748" y="3386980"/>
                  <a:chExt cx="500790" cy="504263"/>
                </a:xfrm>
                <a:solidFill>
                  <a:srgbClr val="0F4DBC"/>
                </a:solidFill>
              </p:grpSpPr>
              <p:sp>
                <p:nvSpPr>
                  <p:cNvPr id="847" name="vMap : Venezuela (Offshore)">
                    <a:extLst>
                      <a:ext uri="{FF2B5EF4-FFF2-40B4-BE49-F238E27FC236}">
                        <a16:creationId xmlns:a16="http://schemas.microsoft.com/office/drawing/2014/main" xmlns="" id="{EAF101EA-3CC5-6044-AFBC-D57273FA86D2}"/>
                      </a:ext>
                    </a:extLst>
                  </p:cNvPr>
                  <p:cNvSpPr>
                    <a:spLocks noChangeAspect="1"/>
                  </p:cNvSpPr>
                  <p:nvPr>
                    <p:custDataLst>
                      <p:tags r:id="rId342"/>
                    </p:custDataLst>
                  </p:nvPr>
                </p:nvSpPr>
                <p:spPr bwMode="gray">
                  <a:xfrm>
                    <a:off x="2784813" y="3386980"/>
                    <a:ext cx="19932" cy="20374"/>
                  </a:xfrm>
                  <a:custGeom>
                    <a:avLst/>
                    <a:gdLst>
                      <a:gd name="T0" fmla="*/ 5 w 13"/>
                      <a:gd name="T1" fmla="*/ 0 h 12"/>
                      <a:gd name="T2" fmla="*/ 4 w 13"/>
                      <a:gd name="T3" fmla="*/ 5 h 12"/>
                      <a:gd name="T4" fmla="*/ 0 w 13"/>
                      <a:gd name="T5" fmla="*/ 2 h 12"/>
                      <a:gd name="T6" fmla="*/ 5 w 13"/>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12">
                        <a:moveTo>
                          <a:pt x="13" y="0"/>
                        </a:moveTo>
                        <a:lnTo>
                          <a:pt x="9" y="12"/>
                        </a:lnTo>
                        <a:lnTo>
                          <a:pt x="0" y="4"/>
                        </a:lnTo>
                        <a:lnTo>
                          <a:pt x="13"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8" name="vMap : Venezuela (Offshore)">
                    <a:extLst>
                      <a:ext uri="{FF2B5EF4-FFF2-40B4-BE49-F238E27FC236}">
                        <a16:creationId xmlns:a16="http://schemas.microsoft.com/office/drawing/2014/main" xmlns="" id="{5B3BF4DC-2C14-C54F-9EE6-32C91F5A568F}"/>
                      </a:ext>
                    </a:extLst>
                  </p:cNvPr>
                  <p:cNvSpPr>
                    <a:spLocks noChangeAspect="1"/>
                  </p:cNvSpPr>
                  <p:nvPr>
                    <p:custDataLst>
                      <p:tags r:id="rId343"/>
                    </p:custDataLst>
                  </p:nvPr>
                </p:nvSpPr>
                <p:spPr bwMode="gray">
                  <a:xfrm>
                    <a:off x="2832152" y="3407352"/>
                    <a:ext cx="19932" cy="20374"/>
                  </a:xfrm>
                  <a:custGeom>
                    <a:avLst/>
                    <a:gdLst>
                      <a:gd name="T0" fmla="*/ 5 w 13"/>
                      <a:gd name="T1" fmla="*/ 0 h 12"/>
                      <a:gd name="T2" fmla="*/ 4 w 13"/>
                      <a:gd name="T3" fmla="*/ 5 h 12"/>
                      <a:gd name="T4" fmla="*/ 0 w 13"/>
                      <a:gd name="T5" fmla="*/ 2 h 12"/>
                      <a:gd name="T6" fmla="*/ 5 w 13"/>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12">
                        <a:moveTo>
                          <a:pt x="13" y="0"/>
                        </a:moveTo>
                        <a:lnTo>
                          <a:pt x="9" y="12"/>
                        </a:lnTo>
                        <a:lnTo>
                          <a:pt x="0" y="4"/>
                        </a:lnTo>
                        <a:lnTo>
                          <a:pt x="13"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9" name="vMap : Venezuela (Offshore)">
                    <a:extLst>
                      <a:ext uri="{FF2B5EF4-FFF2-40B4-BE49-F238E27FC236}">
                        <a16:creationId xmlns:a16="http://schemas.microsoft.com/office/drawing/2014/main" xmlns="" id="{A861BB66-D201-514D-9670-25E2E9EB2D4C}"/>
                      </a:ext>
                    </a:extLst>
                  </p:cNvPr>
                  <p:cNvSpPr>
                    <a:spLocks noChangeAspect="1"/>
                  </p:cNvSpPr>
                  <p:nvPr>
                    <p:custDataLst>
                      <p:tags r:id="rId344"/>
                    </p:custDataLst>
                  </p:nvPr>
                </p:nvSpPr>
                <p:spPr bwMode="gray">
                  <a:xfrm>
                    <a:off x="2876999" y="3404807"/>
                    <a:ext cx="19932" cy="20374"/>
                  </a:xfrm>
                  <a:custGeom>
                    <a:avLst/>
                    <a:gdLst>
                      <a:gd name="T0" fmla="*/ 5 w 13"/>
                      <a:gd name="T1" fmla="*/ 0 h 12"/>
                      <a:gd name="T2" fmla="*/ 4 w 13"/>
                      <a:gd name="T3" fmla="*/ 5 h 12"/>
                      <a:gd name="T4" fmla="*/ 0 w 13"/>
                      <a:gd name="T5" fmla="*/ 2 h 12"/>
                      <a:gd name="T6" fmla="*/ 5 w 13"/>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12">
                        <a:moveTo>
                          <a:pt x="13" y="0"/>
                        </a:moveTo>
                        <a:lnTo>
                          <a:pt x="9" y="12"/>
                        </a:lnTo>
                        <a:lnTo>
                          <a:pt x="0" y="4"/>
                        </a:lnTo>
                        <a:lnTo>
                          <a:pt x="13"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0" name="vMap : Venezuela (Offshore)">
                    <a:extLst>
                      <a:ext uri="{FF2B5EF4-FFF2-40B4-BE49-F238E27FC236}">
                        <a16:creationId xmlns:a16="http://schemas.microsoft.com/office/drawing/2014/main" xmlns="" id="{204F845B-C674-9042-A65C-2DC468058216}"/>
                      </a:ext>
                    </a:extLst>
                  </p:cNvPr>
                  <p:cNvSpPr>
                    <a:spLocks noChangeAspect="1"/>
                  </p:cNvSpPr>
                  <p:nvPr>
                    <p:custDataLst>
                      <p:tags r:id="rId345"/>
                    </p:custDataLst>
                  </p:nvPr>
                </p:nvSpPr>
                <p:spPr bwMode="gray">
                  <a:xfrm>
                    <a:off x="3083792" y="3460836"/>
                    <a:ext cx="39864" cy="28015"/>
                  </a:xfrm>
                  <a:custGeom>
                    <a:avLst/>
                    <a:gdLst>
                      <a:gd name="T0" fmla="*/ 11 w 24"/>
                      <a:gd name="T1" fmla="*/ 0 h 18"/>
                      <a:gd name="T2" fmla="*/ 9 w 24"/>
                      <a:gd name="T3" fmla="*/ 7 h 18"/>
                      <a:gd name="T4" fmla="*/ 0 w 24"/>
                      <a:gd name="T5" fmla="*/ 7 h 18"/>
                      <a:gd name="T6" fmla="*/ 3 w 24"/>
                      <a:gd name="T7" fmla="*/ 4 h 18"/>
                      <a:gd name="T8" fmla="*/ 2 w 24"/>
                      <a:gd name="T9" fmla="*/ 0 h 18"/>
                      <a:gd name="T10" fmla="*/ 11 w 24"/>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18">
                        <a:moveTo>
                          <a:pt x="24" y="0"/>
                        </a:moveTo>
                        <a:lnTo>
                          <a:pt x="20" y="18"/>
                        </a:lnTo>
                        <a:lnTo>
                          <a:pt x="0" y="18"/>
                        </a:lnTo>
                        <a:lnTo>
                          <a:pt x="8" y="12"/>
                        </a:lnTo>
                        <a:lnTo>
                          <a:pt x="4" y="0"/>
                        </a:lnTo>
                        <a:lnTo>
                          <a:pt x="2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1" name="vMap : Venezuela (Offshore)">
                    <a:extLst>
                      <a:ext uri="{FF2B5EF4-FFF2-40B4-BE49-F238E27FC236}">
                        <a16:creationId xmlns:a16="http://schemas.microsoft.com/office/drawing/2014/main" xmlns="" id="{5654997D-FBCD-9E4F-A322-57C95DFF9AFB}"/>
                      </a:ext>
                    </a:extLst>
                  </p:cNvPr>
                  <p:cNvSpPr>
                    <a:spLocks noChangeAspect="1"/>
                  </p:cNvSpPr>
                  <p:nvPr>
                    <p:custDataLst>
                      <p:tags r:id="rId346"/>
                    </p:custDataLst>
                  </p:nvPr>
                </p:nvSpPr>
                <p:spPr bwMode="gray">
                  <a:xfrm>
                    <a:off x="3093758" y="3425181"/>
                    <a:ext cx="19932" cy="30562"/>
                  </a:xfrm>
                  <a:custGeom>
                    <a:avLst/>
                    <a:gdLst>
                      <a:gd name="T0" fmla="*/ 5 w 12"/>
                      <a:gd name="T1" fmla="*/ 0 h 19"/>
                      <a:gd name="T2" fmla="*/ 5 w 12"/>
                      <a:gd name="T3" fmla="*/ 8 h 19"/>
                      <a:gd name="T4" fmla="*/ 0 w 12"/>
                      <a:gd name="T5" fmla="*/ 3 h 19"/>
                      <a:gd name="T6" fmla="*/ 5 w 12"/>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9">
                        <a:moveTo>
                          <a:pt x="12" y="0"/>
                        </a:moveTo>
                        <a:lnTo>
                          <a:pt x="12" y="19"/>
                        </a:lnTo>
                        <a:lnTo>
                          <a:pt x="0" y="7"/>
                        </a:lnTo>
                        <a:lnTo>
                          <a:pt x="1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2" name="vMap : Venezuela (Offshore)">
                    <a:extLst>
                      <a:ext uri="{FF2B5EF4-FFF2-40B4-BE49-F238E27FC236}">
                        <a16:creationId xmlns:a16="http://schemas.microsoft.com/office/drawing/2014/main" xmlns="" id="{86213EEC-0700-F246-8301-5C0697FDC6A8}"/>
                      </a:ext>
                    </a:extLst>
                  </p:cNvPr>
                  <p:cNvSpPr>
                    <a:spLocks noChangeAspect="1"/>
                  </p:cNvSpPr>
                  <p:nvPr>
                    <p:custDataLst>
                      <p:tags r:id="rId347"/>
                    </p:custDataLst>
                  </p:nvPr>
                </p:nvSpPr>
                <p:spPr bwMode="gray">
                  <a:xfrm>
                    <a:off x="2994098" y="3440461"/>
                    <a:ext cx="19932" cy="20374"/>
                  </a:xfrm>
                  <a:custGeom>
                    <a:avLst/>
                    <a:gdLst>
                      <a:gd name="T0" fmla="*/ 5 w 13"/>
                      <a:gd name="T1" fmla="*/ 0 h 12"/>
                      <a:gd name="T2" fmla="*/ 4 w 13"/>
                      <a:gd name="T3" fmla="*/ 5 h 12"/>
                      <a:gd name="T4" fmla="*/ 0 w 13"/>
                      <a:gd name="T5" fmla="*/ 2 h 12"/>
                      <a:gd name="T6" fmla="*/ 5 w 13"/>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12">
                        <a:moveTo>
                          <a:pt x="13" y="0"/>
                        </a:moveTo>
                        <a:lnTo>
                          <a:pt x="9" y="12"/>
                        </a:lnTo>
                        <a:lnTo>
                          <a:pt x="0" y="4"/>
                        </a:lnTo>
                        <a:lnTo>
                          <a:pt x="13"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3" name="vMap : Venezuela (Offshore)">
                    <a:extLst>
                      <a:ext uri="{FF2B5EF4-FFF2-40B4-BE49-F238E27FC236}">
                        <a16:creationId xmlns:a16="http://schemas.microsoft.com/office/drawing/2014/main" xmlns="" id="{74455B22-91DD-AD4F-AFBA-F3341666EF61}"/>
                      </a:ext>
                    </a:extLst>
                  </p:cNvPr>
                  <p:cNvSpPr>
                    <a:spLocks noChangeAspect="1"/>
                  </p:cNvSpPr>
                  <p:nvPr>
                    <p:custDataLst>
                      <p:tags r:id="rId348"/>
                    </p:custDataLst>
                  </p:nvPr>
                </p:nvSpPr>
                <p:spPr bwMode="gray">
                  <a:xfrm>
                    <a:off x="3123656" y="3404807"/>
                    <a:ext cx="19932" cy="30562"/>
                  </a:xfrm>
                  <a:custGeom>
                    <a:avLst/>
                    <a:gdLst>
                      <a:gd name="T0" fmla="*/ 5 w 12"/>
                      <a:gd name="T1" fmla="*/ 0 h 19"/>
                      <a:gd name="T2" fmla="*/ 5 w 12"/>
                      <a:gd name="T3" fmla="*/ 8 h 19"/>
                      <a:gd name="T4" fmla="*/ 0 w 12"/>
                      <a:gd name="T5" fmla="*/ 3 h 19"/>
                      <a:gd name="T6" fmla="*/ 5 w 12"/>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9">
                        <a:moveTo>
                          <a:pt x="12" y="0"/>
                        </a:moveTo>
                        <a:lnTo>
                          <a:pt x="12" y="19"/>
                        </a:lnTo>
                        <a:lnTo>
                          <a:pt x="0" y="7"/>
                        </a:lnTo>
                        <a:lnTo>
                          <a:pt x="1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54" name="vMap : Venezuela (Mainland)">
                    <a:extLst>
                      <a:ext uri="{FF2B5EF4-FFF2-40B4-BE49-F238E27FC236}">
                        <a16:creationId xmlns:a16="http://schemas.microsoft.com/office/drawing/2014/main" xmlns="" id="{0BE8E967-CE68-774F-8AB1-D88E02BDE2C5}"/>
                      </a:ext>
                    </a:extLst>
                  </p:cNvPr>
                  <p:cNvSpPr>
                    <a:spLocks noChangeAspect="1"/>
                  </p:cNvSpPr>
                  <p:nvPr>
                    <p:custDataLst>
                      <p:tags r:id="rId349"/>
                    </p:custDataLst>
                  </p:nvPr>
                </p:nvSpPr>
                <p:spPr bwMode="gray">
                  <a:xfrm>
                    <a:off x="2657748" y="3402260"/>
                    <a:ext cx="500790" cy="488983"/>
                  </a:xfrm>
                  <a:custGeom>
                    <a:avLst/>
                    <a:gdLst>
                      <a:gd name="T0" fmla="*/ 20 w 329"/>
                      <a:gd name="T1" fmla="*/ 2 h 313"/>
                      <a:gd name="T2" fmla="*/ 7 w 329"/>
                      <a:gd name="T3" fmla="*/ 13 h 313"/>
                      <a:gd name="T4" fmla="*/ 0 w 329"/>
                      <a:gd name="T5" fmla="*/ 32 h 313"/>
                      <a:gd name="T6" fmla="*/ 4 w 329"/>
                      <a:gd name="T7" fmla="*/ 32 h 313"/>
                      <a:gd name="T8" fmla="*/ 7 w 329"/>
                      <a:gd name="T9" fmla="*/ 49 h 313"/>
                      <a:gd name="T10" fmla="*/ 12 w 329"/>
                      <a:gd name="T11" fmla="*/ 52 h 313"/>
                      <a:gd name="T12" fmla="*/ 29 w 329"/>
                      <a:gd name="T13" fmla="*/ 55 h 313"/>
                      <a:gd name="T14" fmla="*/ 34 w 329"/>
                      <a:gd name="T15" fmla="*/ 63 h 313"/>
                      <a:gd name="T16" fmla="*/ 51 w 329"/>
                      <a:gd name="T17" fmla="*/ 62 h 313"/>
                      <a:gd name="T18" fmla="*/ 48 w 329"/>
                      <a:gd name="T19" fmla="*/ 79 h 313"/>
                      <a:gd name="T20" fmla="*/ 53 w 329"/>
                      <a:gd name="T21" fmla="*/ 91 h 313"/>
                      <a:gd name="T22" fmla="*/ 48 w 329"/>
                      <a:gd name="T23" fmla="*/ 98 h 313"/>
                      <a:gd name="T24" fmla="*/ 56 w 329"/>
                      <a:gd name="T25" fmla="*/ 112 h 313"/>
                      <a:gd name="T26" fmla="*/ 60 w 329"/>
                      <a:gd name="T27" fmla="*/ 118 h 313"/>
                      <a:gd name="T28" fmla="*/ 67 w 329"/>
                      <a:gd name="T29" fmla="*/ 118 h 313"/>
                      <a:gd name="T30" fmla="*/ 89 w 329"/>
                      <a:gd name="T31" fmla="*/ 104 h 313"/>
                      <a:gd name="T32" fmla="*/ 82 w 329"/>
                      <a:gd name="T33" fmla="*/ 101 h 313"/>
                      <a:gd name="T34" fmla="*/ 81 w 329"/>
                      <a:gd name="T35" fmla="*/ 88 h 313"/>
                      <a:gd name="T36" fmla="*/ 76 w 329"/>
                      <a:gd name="T37" fmla="*/ 82 h 313"/>
                      <a:gd name="T38" fmla="*/ 92 w 329"/>
                      <a:gd name="T39" fmla="*/ 86 h 313"/>
                      <a:gd name="T40" fmla="*/ 110 w 329"/>
                      <a:gd name="T41" fmla="*/ 79 h 313"/>
                      <a:gd name="T42" fmla="*/ 113 w 329"/>
                      <a:gd name="T43" fmla="*/ 73 h 313"/>
                      <a:gd name="T44" fmla="*/ 109 w 329"/>
                      <a:gd name="T45" fmla="*/ 63 h 313"/>
                      <a:gd name="T46" fmla="*/ 116 w 329"/>
                      <a:gd name="T47" fmla="*/ 53 h 313"/>
                      <a:gd name="T48" fmla="*/ 113 w 329"/>
                      <a:gd name="T49" fmla="*/ 52 h 313"/>
                      <a:gd name="T50" fmla="*/ 113 w 329"/>
                      <a:gd name="T51" fmla="*/ 47 h 313"/>
                      <a:gd name="T52" fmla="*/ 123 w 329"/>
                      <a:gd name="T53" fmla="*/ 40 h 313"/>
                      <a:gd name="T54" fmla="*/ 119 w 329"/>
                      <a:gd name="T55" fmla="*/ 37 h 313"/>
                      <a:gd name="T56" fmla="*/ 112 w 329"/>
                      <a:gd name="T57" fmla="*/ 39 h 313"/>
                      <a:gd name="T58" fmla="*/ 113 w 329"/>
                      <a:gd name="T59" fmla="*/ 29 h 313"/>
                      <a:gd name="T60" fmla="*/ 96 w 329"/>
                      <a:gd name="T61" fmla="*/ 19 h 313"/>
                      <a:gd name="T62" fmla="*/ 103 w 329"/>
                      <a:gd name="T63" fmla="*/ 16 h 313"/>
                      <a:gd name="T64" fmla="*/ 84 w 329"/>
                      <a:gd name="T65" fmla="*/ 16 h 313"/>
                      <a:gd name="T66" fmla="*/ 87 w 329"/>
                      <a:gd name="T67" fmla="*/ 17 h 313"/>
                      <a:gd name="T68" fmla="*/ 75 w 329"/>
                      <a:gd name="T69" fmla="*/ 21 h 313"/>
                      <a:gd name="T70" fmla="*/ 67 w 329"/>
                      <a:gd name="T71" fmla="*/ 16 h 313"/>
                      <a:gd name="T72" fmla="*/ 49 w 329"/>
                      <a:gd name="T73" fmla="*/ 17 h 313"/>
                      <a:gd name="T74" fmla="*/ 46 w 329"/>
                      <a:gd name="T75" fmla="*/ 10 h 313"/>
                      <a:gd name="T76" fmla="*/ 36 w 329"/>
                      <a:gd name="T77" fmla="*/ 7 h 313"/>
                      <a:gd name="T78" fmla="*/ 33 w 329"/>
                      <a:gd name="T79" fmla="*/ 0 h 313"/>
                      <a:gd name="T80" fmla="*/ 31 w 329"/>
                      <a:gd name="T81" fmla="*/ 4 h 313"/>
                      <a:gd name="T82" fmla="*/ 34 w 329"/>
                      <a:gd name="T83" fmla="*/ 7 h 313"/>
                      <a:gd name="T84" fmla="*/ 19 w 329"/>
                      <a:gd name="T85" fmla="*/ 14 h 313"/>
                      <a:gd name="T86" fmla="*/ 20 w 329"/>
                      <a:gd name="T87" fmla="*/ 29 h 313"/>
                      <a:gd name="T88" fmla="*/ 16 w 329"/>
                      <a:gd name="T89" fmla="*/ 33 h 313"/>
                      <a:gd name="T90" fmla="*/ 13 w 329"/>
                      <a:gd name="T91" fmla="*/ 21 h 313"/>
                      <a:gd name="T92" fmla="*/ 17 w 329"/>
                      <a:gd name="T93" fmla="*/ 14 h 313"/>
                      <a:gd name="T94" fmla="*/ 16 w 329"/>
                      <a:gd name="T95" fmla="*/ 10 h 313"/>
                      <a:gd name="T96" fmla="*/ 20 w 329"/>
                      <a:gd name="T97" fmla="*/ 2 h 31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313">
                        <a:moveTo>
                          <a:pt x="54" y="6"/>
                        </a:moveTo>
                        <a:lnTo>
                          <a:pt x="20" y="34"/>
                        </a:lnTo>
                        <a:lnTo>
                          <a:pt x="0" y="84"/>
                        </a:lnTo>
                        <a:lnTo>
                          <a:pt x="12" y="84"/>
                        </a:lnTo>
                        <a:lnTo>
                          <a:pt x="20" y="130"/>
                        </a:lnTo>
                        <a:lnTo>
                          <a:pt x="32" y="138"/>
                        </a:lnTo>
                        <a:lnTo>
                          <a:pt x="78" y="146"/>
                        </a:lnTo>
                        <a:lnTo>
                          <a:pt x="92" y="168"/>
                        </a:lnTo>
                        <a:lnTo>
                          <a:pt x="138" y="164"/>
                        </a:lnTo>
                        <a:lnTo>
                          <a:pt x="128" y="209"/>
                        </a:lnTo>
                        <a:lnTo>
                          <a:pt x="142" y="243"/>
                        </a:lnTo>
                        <a:lnTo>
                          <a:pt x="128" y="259"/>
                        </a:lnTo>
                        <a:lnTo>
                          <a:pt x="150" y="297"/>
                        </a:lnTo>
                        <a:lnTo>
                          <a:pt x="162" y="313"/>
                        </a:lnTo>
                        <a:lnTo>
                          <a:pt x="180" y="313"/>
                        </a:lnTo>
                        <a:lnTo>
                          <a:pt x="237" y="275"/>
                        </a:lnTo>
                        <a:lnTo>
                          <a:pt x="220" y="267"/>
                        </a:lnTo>
                        <a:lnTo>
                          <a:pt x="216" y="233"/>
                        </a:lnTo>
                        <a:lnTo>
                          <a:pt x="204" y="217"/>
                        </a:lnTo>
                        <a:lnTo>
                          <a:pt x="245" y="229"/>
                        </a:lnTo>
                        <a:lnTo>
                          <a:pt x="295" y="209"/>
                        </a:lnTo>
                        <a:lnTo>
                          <a:pt x="303" y="194"/>
                        </a:lnTo>
                        <a:lnTo>
                          <a:pt x="291" y="168"/>
                        </a:lnTo>
                        <a:lnTo>
                          <a:pt x="311" y="142"/>
                        </a:lnTo>
                        <a:lnTo>
                          <a:pt x="303" y="138"/>
                        </a:lnTo>
                        <a:lnTo>
                          <a:pt x="303" y="126"/>
                        </a:lnTo>
                        <a:lnTo>
                          <a:pt x="329" y="106"/>
                        </a:lnTo>
                        <a:lnTo>
                          <a:pt x="319" y="98"/>
                        </a:lnTo>
                        <a:lnTo>
                          <a:pt x="299" y="102"/>
                        </a:lnTo>
                        <a:lnTo>
                          <a:pt x="303" y="76"/>
                        </a:lnTo>
                        <a:lnTo>
                          <a:pt x="257" y="50"/>
                        </a:lnTo>
                        <a:lnTo>
                          <a:pt x="275" y="42"/>
                        </a:lnTo>
                        <a:lnTo>
                          <a:pt x="226" y="42"/>
                        </a:lnTo>
                        <a:lnTo>
                          <a:pt x="233" y="46"/>
                        </a:lnTo>
                        <a:lnTo>
                          <a:pt x="200" y="56"/>
                        </a:lnTo>
                        <a:lnTo>
                          <a:pt x="178" y="42"/>
                        </a:lnTo>
                        <a:lnTo>
                          <a:pt x="132" y="46"/>
                        </a:lnTo>
                        <a:lnTo>
                          <a:pt x="124" y="26"/>
                        </a:lnTo>
                        <a:lnTo>
                          <a:pt x="96" y="18"/>
                        </a:lnTo>
                        <a:lnTo>
                          <a:pt x="88" y="0"/>
                        </a:lnTo>
                        <a:lnTo>
                          <a:pt x="82" y="10"/>
                        </a:lnTo>
                        <a:lnTo>
                          <a:pt x="92" y="18"/>
                        </a:lnTo>
                        <a:lnTo>
                          <a:pt x="50" y="38"/>
                        </a:lnTo>
                        <a:lnTo>
                          <a:pt x="54" y="76"/>
                        </a:lnTo>
                        <a:lnTo>
                          <a:pt x="42" y="88"/>
                        </a:lnTo>
                        <a:lnTo>
                          <a:pt x="36" y="56"/>
                        </a:lnTo>
                        <a:lnTo>
                          <a:pt x="46" y="38"/>
                        </a:lnTo>
                        <a:lnTo>
                          <a:pt x="42" y="26"/>
                        </a:lnTo>
                        <a:lnTo>
                          <a:pt x="54" y="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00" name="vMap : French Guiana">
                  <a:extLst>
                    <a:ext uri="{FF2B5EF4-FFF2-40B4-BE49-F238E27FC236}">
                      <a16:creationId xmlns:a16="http://schemas.microsoft.com/office/drawing/2014/main" xmlns="" id="{26C7C971-9899-D94A-AC6C-39D7E0DF14AC}"/>
                    </a:ext>
                  </a:extLst>
                </p:cNvPr>
                <p:cNvSpPr>
                  <a:spLocks noChangeAspect="1"/>
                </p:cNvSpPr>
                <p:nvPr>
                  <p:custDataLst>
                    <p:tags r:id="rId20"/>
                  </p:custDataLst>
                </p:nvPr>
              </p:nvSpPr>
              <p:spPr bwMode="gray">
                <a:xfrm>
                  <a:off x="2841347" y="4086720"/>
                  <a:ext cx="62373" cy="96410"/>
                </a:xfrm>
                <a:custGeom>
                  <a:avLst/>
                  <a:gdLst>
                    <a:gd name="T0" fmla="*/ 0 w 67"/>
                    <a:gd name="T1" fmla="*/ 34 h 99"/>
                    <a:gd name="T2" fmla="*/ 4 w 67"/>
                    <a:gd name="T3" fmla="*/ 21 h 99"/>
                    <a:gd name="T4" fmla="*/ 0 w 67"/>
                    <a:gd name="T5" fmla="*/ 6 h 99"/>
                    <a:gd name="T6" fmla="*/ 4 w 67"/>
                    <a:gd name="T7" fmla="*/ 0 h 99"/>
                    <a:gd name="T8" fmla="*/ 17 w 67"/>
                    <a:gd name="T9" fmla="*/ 4 h 99"/>
                    <a:gd name="T10" fmla="*/ 25 w 67"/>
                    <a:gd name="T11" fmla="*/ 16 h 99"/>
                    <a:gd name="T12" fmla="*/ 11 w 67"/>
                    <a:gd name="T13" fmla="*/ 36 h 99"/>
                    <a:gd name="T14" fmla="*/ 2 w 67"/>
                    <a:gd name="T15" fmla="*/ 39 h 99"/>
                    <a:gd name="T16" fmla="*/ 0 w 67"/>
                    <a:gd name="T17" fmla="*/ 34 h 9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7" h="99">
                      <a:moveTo>
                        <a:pt x="0" y="87"/>
                      </a:moveTo>
                      <a:lnTo>
                        <a:pt x="10" y="53"/>
                      </a:lnTo>
                      <a:lnTo>
                        <a:pt x="0" y="14"/>
                      </a:lnTo>
                      <a:lnTo>
                        <a:pt x="10" y="0"/>
                      </a:lnTo>
                      <a:lnTo>
                        <a:pt x="45" y="10"/>
                      </a:lnTo>
                      <a:lnTo>
                        <a:pt x="67" y="41"/>
                      </a:lnTo>
                      <a:lnTo>
                        <a:pt x="29" y="91"/>
                      </a:lnTo>
                      <a:lnTo>
                        <a:pt x="6" y="99"/>
                      </a:lnTo>
                      <a:lnTo>
                        <a:pt x="0" y="87"/>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1" name="vMap : Guyana">
                  <a:extLst>
                    <a:ext uri="{FF2B5EF4-FFF2-40B4-BE49-F238E27FC236}">
                      <a16:creationId xmlns:a16="http://schemas.microsoft.com/office/drawing/2014/main" xmlns="" id="{5AA55473-790F-6E42-A9A1-A9C1F3AC0D55}"/>
                    </a:ext>
                  </a:extLst>
                </p:cNvPr>
                <p:cNvSpPr>
                  <a:spLocks noChangeAspect="1"/>
                </p:cNvSpPr>
                <p:nvPr>
                  <p:custDataLst>
                    <p:tags r:id="rId21"/>
                  </p:custDataLst>
                </p:nvPr>
              </p:nvSpPr>
              <p:spPr bwMode="gray">
                <a:xfrm>
                  <a:off x="2686176" y="4012079"/>
                  <a:ext cx="106490" cy="186600"/>
                </a:xfrm>
                <a:custGeom>
                  <a:avLst/>
                  <a:gdLst>
                    <a:gd name="T0" fmla="*/ 4 w 116"/>
                    <a:gd name="T1" fmla="*/ 33 h 195"/>
                    <a:gd name="T2" fmla="*/ 0 w 116"/>
                    <a:gd name="T3" fmla="*/ 23 h 195"/>
                    <a:gd name="T4" fmla="*/ 7 w 116"/>
                    <a:gd name="T5" fmla="*/ 14 h 195"/>
                    <a:gd name="T6" fmla="*/ 4 w 116"/>
                    <a:gd name="T7" fmla="*/ 12 h 195"/>
                    <a:gd name="T8" fmla="*/ 4 w 116"/>
                    <a:gd name="T9" fmla="*/ 7 h 195"/>
                    <a:gd name="T10" fmla="*/ 14 w 116"/>
                    <a:gd name="T11" fmla="*/ 0 h 195"/>
                    <a:gd name="T12" fmla="*/ 36 w 116"/>
                    <a:gd name="T13" fmla="*/ 26 h 195"/>
                    <a:gd name="T14" fmla="*/ 34 w 116"/>
                    <a:gd name="T15" fmla="*/ 35 h 195"/>
                    <a:gd name="T16" fmla="*/ 29 w 116"/>
                    <a:gd name="T17" fmla="*/ 36 h 195"/>
                    <a:gd name="T18" fmla="*/ 27 w 116"/>
                    <a:gd name="T19" fmla="*/ 44 h 195"/>
                    <a:gd name="T20" fmla="*/ 42 w 116"/>
                    <a:gd name="T21" fmla="*/ 67 h 195"/>
                    <a:gd name="T22" fmla="*/ 35 w 116"/>
                    <a:gd name="T23" fmla="*/ 67 h 195"/>
                    <a:gd name="T24" fmla="*/ 22 w 116"/>
                    <a:gd name="T25" fmla="*/ 74 h 195"/>
                    <a:gd name="T26" fmla="*/ 15 w 116"/>
                    <a:gd name="T27" fmla="*/ 71 h 195"/>
                    <a:gd name="T28" fmla="*/ 11 w 116"/>
                    <a:gd name="T29" fmla="*/ 61 h 195"/>
                    <a:gd name="T30" fmla="*/ 14 w 116"/>
                    <a:gd name="T31" fmla="*/ 41 h 195"/>
                    <a:gd name="T32" fmla="*/ 10 w 116"/>
                    <a:gd name="T33" fmla="*/ 39 h 195"/>
                    <a:gd name="T34" fmla="*/ 10 w 116"/>
                    <a:gd name="T35" fmla="*/ 33 h 195"/>
                    <a:gd name="T36" fmla="*/ 4 w 116"/>
                    <a:gd name="T37" fmla="*/ 33 h 1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6" h="195">
                      <a:moveTo>
                        <a:pt x="12" y="88"/>
                      </a:moveTo>
                      <a:lnTo>
                        <a:pt x="0" y="62"/>
                      </a:lnTo>
                      <a:lnTo>
                        <a:pt x="20" y="36"/>
                      </a:lnTo>
                      <a:lnTo>
                        <a:pt x="12" y="32"/>
                      </a:lnTo>
                      <a:lnTo>
                        <a:pt x="12" y="20"/>
                      </a:lnTo>
                      <a:lnTo>
                        <a:pt x="38" y="0"/>
                      </a:lnTo>
                      <a:lnTo>
                        <a:pt x="100" y="70"/>
                      </a:lnTo>
                      <a:lnTo>
                        <a:pt x="92" y="92"/>
                      </a:lnTo>
                      <a:lnTo>
                        <a:pt x="80" y="96"/>
                      </a:lnTo>
                      <a:lnTo>
                        <a:pt x="74" y="115"/>
                      </a:lnTo>
                      <a:lnTo>
                        <a:pt x="116" y="177"/>
                      </a:lnTo>
                      <a:lnTo>
                        <a:pt x="96" y="177"/>
                      </a:lnTo>
                      <a:lnTo>
                        <a:pt x="62" y="195"/>
                      </a:lnTo>
                      <a:lnTo>
                        <a:pt x="42" y="187"/>
                      </a:lnTo>
                      <a:lnTo>
                        <a:pt x="30" y="161"/>
                      </a:lnTo>
                      <a:lnTo>
                        <a:pt x="38" y="107"/>
                      </a:lnTo>
                      <a:lnTo>
                        <a:pt x="28" y="103"/>
                      </a:lnTo>
                      <a:lnTo>
                        <a:pt x="28" y="86"/>
                      </a:lnTo>
                      <a:lnTo>
                        <a:pt x="12" y="8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2" name="vMap : Peru">
                  <a:extLst>
                    <a:ext uri="{FF2B5EF4-FFF2-40B4-BE49-F238E27FC236}">
                      <a16:creationId xmlns:a16="http://schemas.microsoft.com/office/drawing/2014/main" xmlns="" id="{67580BDE-A73B-F44C-9441-5CFBBC14E83D}"/>
                    </a:ext>
                  </a:extLst>
                </p:cNvPr>
                <p:cNvSpPr>
                  <a:spLocks noChangeAspect="1"/>
                </p:cNvSpPr>
                <p:nvPr>
                  <p:custDataLst>
                    <p:tags r:id="rId22"/>
                  </p:custDataLst>
                </p:nvPr>
              </p:nvSpPr>
              <p:spPr bwMode="gray">
                <a:xfrm>
                  <a:off x="2231313" y="4232889"/>
                  <a:ext cx="295129" cy="477385"/>
                </a:xfrm>
                <a:custGeom>
                  <a:avLst/>
                  <a:gdLst>
                    <a:gd name="T0" fmla="*/ 115 w 319"/>
                    <a:gd name="T1" fmla="*/ 182 h 502"/>
                    <a:gd name="T2" fmla="*/ 106 w 319"/>
                    <a:gd name="T3" fmla="*/ 188 h 502"/>
                    <a:gd name="T4" fmla="*/ 89 w 319"/>
                    <a:gd name="T5" fmla="*/ 174 h 502"/>
                    <a:gd name="T6" fmla="*/ 63 w 319"/>
                    <a:gd name="T7" fmla="*/ 159 h 502"/>
                    <a:gd name="T8" fmla="*/ 52 w 319"/>
                    <a:gd name="T9" fmla="*/ 148 h 502"/>
                    <a:gd name="T10" fmla="*/ 50 w 319"/>
                    <a:gd name="T11" fmla="*/ 138 h 502"/>
                    <a:gd name="T12" fmla="*/ 37 w 319"/>
                    <a:gd name="T13" fmla="*/ 118 h 502"/>
                    <a:gd name="T14" fmla="*/ 23 w 319"/>
                    <a:gd name="T15" fmla="*/ 86 h 502"/>
                    <a:gd name="T16" fmla="*/ 1 w 319"/>
                    <a:gd name="T17" fmla="*/ 60 h 502"/>
                    <a:gd name="T18" fmla="*/ 4 w 319"/>
                    <a:gd name="T19" fmla="*/ 57 h 502"/>
                    <a:gd name="T20" fmla="*/ 0 w 319"/>
                    <a:gd name="T21" fmla="*/ 46 h 502"/>
                    <a:gd name="T22" fmla="*/ 9 w 319"/>
                    <a:gd name="T23" fmla="*/ 36 h 502"/>
                    <a:gd name="T24" fmla="*/ 7 w 319"/>
                    <a:gd name="T25" fmla="*/ 48 h 502"/>
                    <a:gd name="T26" fmla="*/ 20 w 319"/>
                    <a:gd name="T27" fmla="*/ 51 h 502"/>
                    <a:gd name="T28" fmla="*/ 29 w 319"/>
                    <a:gd name="T29" fmla="*/ 34 h 502"/>
                    <a:gd name="T30" fmla="*/ 41 w 319"/>
                    <a:gd name="T31" fmla="*/ 28 h 502"/>
                    <a:gd name="T32" fmla="*/ 50 w 319"/>
                    <a:gd name="T33" fmla="*/ 17 h 502"/>
                    <a:gd name="T34" fmla="*/ 54 w 319"/>
                    <a:gd name="T35" fmla="*/ 10 h 502"/>
                    <a:gd name="T36" fmla="*/ 52 w 319"/>
                    <a:gd name="T37" fmla="*/ 3 h 502"/>
                    <a:gd name="T38" fmla="*/ 52 w 319"/>
                    <a:gd name="T39" fmla="*/ 0 h 502"/>
                    <a:gd name="T40" fmla="*/ 68 w 319"/>
                    <a:gd name="T41" fmla="*/ 13 h 502"/>
                    <a:gd name="T42" fmla="*/ 74 w 319"/>
                    <a:gd name="T43" fmla="*/ 24 h 502"/>
                    <a:gd name="T44" fmla="*/ 92 w 319"/>
                    <a:gd name="T45" fmla="*/ 24 h 502"/>
                    <a:gd name="T46" fmla="*/ 98 w 319"/>
                    <a:gd name="T47" fmla="*/ 28 h 502"/>
                    <a:gd name="T48" fmla="*/ 101 w 319"/>
                    <a:gd name="T49" fmla="*/ 31 h 502"/>
                    <a:gd name="T50" fmla="*/ 97 w 319"/>
                    <a:gd name="T51" fmla="*/ 39 h 502"/>
                    <a:gd name="T52" fmla="*/ 102 w 319"/>
                    <a:gd name="T53" fmla="*/ 43 h 502"/>
                    <a:gd name="T54" fmla="*/ 80 w 319"/>
                    <a:gd name="T55" fmla="*/ 53 h 502"/>
                    <a:gd name="T56" fmla="*/ 69 w 319"/>
                    <a:gd name="T57" fmla="*/ 79 h 502"/>
                    <a:gd name="T58" fmla="*/ 77 w 319"/>
                    <a:gd name="T59" fmla="*/ 93 h 502"/>
                    <a:gd name="T60" fmla="*/ 77 w 319"/>
                    <a:gd name="T61" fmla="*/ 96 h 502"/>
                    <a:gd name="T62" fmla="*/ 89 w 319"/>
                    <a:gd name="T63" fmla="*/ 103 h 502"/>
                    <a:gd name="T64" fmla="*/ 100 w 319"/>
                    <a:gd name="T65" fmla="*/ 96 h 502"/>
                    <a:gd name="T66" fmla="*/ 101 w 319"/>
                    <a:gd name="T67" fmla="*/ 112 h 502"/>
                    <a:gd name="T68" fmla="*/ 108 w 319"/>
                    <a:gd name="T69" fmla="*/ 112 h 502"/>
                    <a:gd name="T70" fmla="*/ 117 w 319"/>
                    <a:gd name="T71" fmla="*/ 129 h 502"/>
                    <a:gd name="T72" fmla="*/ 117 w 319"/>
                    <a:gd name="T73" fmla="*/ 149 h 502"/>
                    <a:gd name="T74" fmla="*/ 114 w 319"/>
                    <a:gd name="T75" fmla="*/ 152 h 502"/>
                    <a:gd name="T76" fmla="*/ 115 w 319"/>
                    <a:gd name="T77" fmla="*/ 165 h 502"/>
                    <a:gd name="T78" fmla="*/ 118 w 319"/>
                    <a:gd name="T79" fmla="*/ 171 h 502"/>
                    <a:gd name="T80" fmla="*/ 115 w 319"/>
                    <a:gd name="T81" fmla="*/ 182 h 5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19" h="502">
                      <a:moveTo>
                        <a:pt x="311" y="486"/>
                      </a:moveTo>
                      <a:lnTo>
                        <a:pt x="287" y="502"/>
                      </a:lnTo>
                      <a:lnTo>
                        <a:pt x="241" y="464"/>
                      </a:lnTo>
                      <a:lnTo>
                        <a:pt x="170" y="425"/>
                      </a:lnTo>
                      <a:lnTo>
                        <a:pt x="140" y="395"/>
                      </a:lnTo>
                      <a:lnTo>
                        <a:pt x="136" y="369"/>
                      </a:lnTo>
                      <a:lnTo>
                        <a:pt x="100" y="315"/>
                      </a:lnTo>
                      <a:lnTo>
                        <a:pt x="62" y="231"/>
                      </a:lnTo>
                      <a:lnTo>
                        <a:pt x="4" y="161"/>
                      </a:lnTo>
                      <a:lnTo>
                        <a:pt x="12" y="153"/>
                      </a:lnTo>
                      <a:lnTo>
                        <a:pt x="0" y="124"/>
                      </a:lnTo>
                      <a:lnTo>
                        <a:pt x="24" y="96"/>
                      </a:lnTo>
                      <a:lnTo>
                        <a:pt x="20" y="128"/>
                      </a:lnTo>
                      <a:lnTo>
                        <a:pt x="54" y="136"/>
                      </a:lnTo>
                      <a:lnTo>
                        <a:pt x="78" y="90"/>
                      </a:lnTo>
                      <a:lnTo>
                        <a:pt x="112" y="74"/>
                      </a:lnTo>
                      <a:lnTo>
                        <a:pt x="136" y="46"/>
                      </a:lnTo>
                      <a:lnTo>
                        <a:pt x="146" y="28"/>
                      </a:lnTo>
                      <a:lnTo>
                        <a:pt x="140" y="8"/>
                      </a:lnTo>
                      <a:lnTo>
                        <a:pt x="142" y="0"/>
                      </a:lnTo>
                      <a:lnTo>
                        <a:pt x="182" y="36"/>
                      </a:lnTo>
                      <a:lnTo>
                        <a:pt x="199" y="66"/>
                      </a:lnTo>
                      <a:lnTo>
                        <a:pt x="249" y="66"/>
                      </a:lnTo>
                      <a:lnTo>
                        <a:pt x="265" y="74"/>
                      </a:lnTo>
                      <a:lnTo>
                        <a:pt x="273" y="82"/>
                      </a:lnTo>
                      <a:lnTo>
                        <a:pt x="261" y="104"/>
                      </a:lnTo>
                      <a:lnTo>
                        <a:pt x="277" y="116"/>
                      </a:lnTo>
                      <a:lnTo>
                        <a:pt x="215" y="142"/>
                      </a:lnTo>
                      <a:lnTo>
                        <a:pt x="185" y="211"/>
                      </a:lnTo>
                      <a:lnTo>
                        <a:pt x="207" y="249"/>
                      </a:lnTo>
                      <a:lnTo>
                        <a:pt x="207" y="257"/>
                      </a:lnTo>
                      <a:lnTo>
                        <a:pt x="241" y="277"/>
                      </a:lnTo>
                      <a:lnTo>
                        <a:pt x="269" y="257"/>
                      </a:lnTo>
                      <a:lnTo>
                        <a:pt x="273" y="299"/>
                      </a:lnTo>
                      <a:lnTo>
                        <a:pt x="291" y="299"/>
                      </a:lnTo>
                      <a:lnTo>
                        <a:pt x="315" y="345"/>
                      </a:lnTo>
                      <a:lnTo>
                        <a:pt x="315" y="399"/>
                      </a:lnTo>
                      <a:lnTo>
                        <a:pt x="307" y="407"/>
                      </a:lnTo>
                      <a:lnTo>
                        <a:pt x="311" y="440"/>
                      </a:lnTo>
                      <a:lnTo>
                        <a:pt x="319" y="456"/>
                      </a:lnTo>
                      <a:lnTo>
                        <a:pt x="311" y="48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3" name="vMap : Suriname">
                  <a:extLst>
                    <a:ext uri="{FF2B5EF4-FFF2-40B4-BE49-F238E27FC236}">
                      <a16:creationId xmlns:a16="http://schemas.microsoft.com/office/drawing/2014/main" xmlns="" id="{E244C1C6-1C64-334A-8957-D2C1B9EF4F57}"/>
                    </a:ext>
                  </a:extLst>
                </p:cNvPr>
                <p:cNvSpPr>
                  <a:spLocks noChangeAspect="1"/>
                </p:cNvSpPr>
                <p:nvPr>
                  <p:custDataLst>
                    <p:tags r:id="rId23"/>
                  </p:custDataLst>
                </p:nvPr>
              </p:nvSpPr>
              <p:spPr bwMode="gray">
                <a:xfrm>
                  <a:off x="2754633" y="4075834"/>
                  <a:ext cx="95841" cy="110405"/>
                </a:xfrm>
                <a:custGeom>
                  <a:avLst/>
                  <a:gdLst>
                    <a:gd name="T0" fmla="*/ 16 w 102"/>
                    <a:gd name="T1" fmla="*/ 43 h 115"/>
                    <a:gd name="T2" fmla="*/ 0 w 102"/>
                    <a:gd name="T3" fmla="*/ 19 h 115"/>
                    <a:gd name="T4" fmla="*/ 2 w 102"/>
                    <a:gd name="T5" fmla="*/ 12 h 115"/>
                    <a:gd name="T6" fmla="*/ 7 w 102"/>
                    <a:gd name="T7" fmla="*/ 10 h 115"/>
                    <a:gd name="T8" fmla="*/ 10 w 102"/>
                    <a:gd name="T9" fmla="*/ 1 h 115"/>
                    <a:gd name="T10" fmla="*/ 30 w 102"/>
                    <a:gd name="T11" fmla="*/ 0 h 115"/>
                    <a:gd name="T12" fmla="*/ 39 w 102"/>
                    <a:gd name="T13" fmla="*/ 4 h 115"/>
                    <a:gd name="T14" fmla="*/ 35 w 102"/>
                    <a:gd name="T15" fmla="*/ 10 h 115"/>
                    <a:gd name="T16" fmla="*/ 39 w 102"/>
                    <a:gd name="T17" fmla="*/ 25 h 115"/>
                    <a:gd name="T18" fmla="*/ 35 w 102"/>
                    <a:gd name="T19" fmla="*/ 38 h 115"/>
                    <a:gd name="T20" fmla="*/ 22 w 102"/>
                    <a:gd name="T21" fmla="*/ 36 h 115"/>
                    <a:gd name="T22" fmla="*/ 20 w 102"/>
                    <a:gd name="T23" fmla="*/ 44 h 115"/>
                    <a:gd name="T24" fmla="*/ 16 w 102"/>
                    <a:gd name="T25" fmla="*/ 43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5">
                      <a:moveTo>
                        <a:pt x="42" y="111"/>
                      </a:moveTo>
                      <a:lnTo>
                        <a:pt x="0" y="49"/>
                      </a:lnTo>
                      <a:lnTo>
                        <a:pt x="6" y="30"/>
                      </a:lnTo>
                      <a:lnTo>
                        <a:pt x="18" y="26"/>
                      </a:lnTo>
                      <a:lnTo>
                        <a:pt x="26" y="4"/>
                      </a:lnTo>
                      <a:lnTo>
                        <a:pt x="80" y="0"/>
                      </a:lnTo>
                      <a:lnTo>
                        <a:pt x="102" y="12"/>
                      </a:lnTo>
                      <a:lnTo>
                        <a:pt x="92" y="26"/>
                      </a:lnTo>
                      <a:lnTo>
                        <a:pt x="102" y="65"/>
                      </a:lnTo>
                      <a:lnTo>
                        <a:pt x="92" y="99"/>
                      </a:lnTo>
                      <a:lnTo>
                        <a:pt x="56" y="95"/>
                      </a:lnTo>
                      <a:lnTo>
                        <a:pt x="52" y="115"/>
                      </a:lnTo>
                      <a:lnTo>
                        <a:pt x="42" y="111"/>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4" name="vMap : Brazil (Offshore)">
                  <a:extLst>
                    <a:ext uri="{FF2B5EF4-FFF2-40B4-BE49-F238E27FC236}">
                      <a16:creationId xmlns:a16="http://schemas.microsoft.com/office/drawing/2014/main" xmlns="" id="{BF16431C-9269-5C46-BD45-920AC21CDBE6}"/>
                    </a:ext>
                  </a:extLst>
                </p:cNvPr>
                <p:cNvSpPr>
                  <a:spLocks noChangeAspect="1"/>
                </p:cNvSpPr>
                <p:nvPr>
                  <p:custDataLst>
                    <p:tags r:id="rId24"/>
                  </p:custDataLst>
                </p:nvPr>
              </p:nvSpPr>
              <p:spPr bwMode="gray">
                <a:xfrm>
                  <a:off x="2915889" y="4232890"/>
                  <a:ext cx="10649" cy="17105"/>
                </a:xfrm>
                <a:custGeom>
                  <a:avLst/>
                  <a:gdLst>
                    <a:gd name="T0" fmla="*/ 4 w 12"/>
                    <a:gd name="T1" fmla="*/ 2 h 20"/>
                    <a:gd name="T2" fmla="*/ 0 w 12"/>
                    <a:gd name="T3" fmla="*/ 6 h 20"/>
                    <a:gd name="T4" fmla="*/ 1 w 12"/>
                    <a:gd name="T5" fmla="*/ 1 h 20"/>
                    <a:gd name="T6" fmla="*/ 4 w 12"/>
                    <a:gd name="T7" fmla="*/ 0 h 20"/>
                    <a:gd name="T8" fmla="*/ 4 w 12"/>
                    <a:gd name="T9" fmla="*/ 2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20">
                      <a:moveTo>
                        <a:pt x="12" y="8"/>
                      </a:moveTo>
                      <a:lnTo>
                        <a:pt x="0" y="20"/>
                      </a:lnTo>
                      <a:lnTo>
                        <a:pt x="4" y="4"/>
                      </a:lnTo>
                      <a:lnTo>
                        <a:pt x="12" y="0"/>
                      </a:lnTo>
                      <a:lnTo>
                        <a:pt x="12" y="8"/>
                      </a:lnTo>
                    </a:path>
                  </a:pathLst>
                </a:custGeom>
                <a:solidFill>
                  <a:srgbClr val="E6E6E6"/>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505" name="vMap : Brazil (Offshore)">
                  <a:extLst>
                    <a:ext uri="{FF2B5EF4-FFF2-40B4-BE49-F238E27FC236}">
                      <a16:creationId xmlns:a16="http://schemas.microsoft.com/office/drawing/2014/main" xmlns="" id="{9FE7F312-E138-134E-B92C-DC8076A0B1C5}"/>
                    </a:ext>
                  </a:extLst>
                </p:cNvPr>
                <p:cNvSpPr>
                  <a:spLocks noChangeAspect="1"/>
                </p:cNvSpPr>
                <p:nvPr>
                  <p:custDataLst>
                    <p:tags r:id="rId25"/>
                  </p:custDataLst>
                </p:nvPr>
              </p:nvSpPr>
              <p:spPr bwMode="gray">
                <a:xfrm>
                  <a:off x="2926539" y="4240665"/>
                  <a:ext cx="50203" cy="35765"/>
                </a:xfrm>
                <a:custGeom>
                  <a:avLst/>
                  <a:gdLst>
                    <a:gd name="T0" fmla="*/ 20 w 54"/>
                    <a:gd name="T1" fmla="*/ 0 h 38"/>
                    <a:gd name="T2" fmla="*/ 14 w 54"/>
                    <a:gd name="T3" fmla="*/ 13 h 38"/>
                    <a:gd name="T4" fmla="*/ 1 w 54"/>
                    <a:gd name="T5" fmla="*/ 14 h 38"/>
                    <a:gd name="T6" fmla="*/ 0 w 54"/>
                    <a:gd name="T7" fmla="*/ 1 h 38"/>
                    <a:gd name="T8" fmla="*/ 3 w 54"/>
                    <a:gd name="T9" fmla="*/ 0 h 38"/>
                    <a:gd name="T10" fmla="*/ 20 w 54"/>
                    <a:gd name="T11" fmla="*/ 0 h 3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4" h="38">
                      <a:moveTo>
                        <a:pt x="54" y="0"/>
                      </a:moveTo>
                      <a:lnTo>
                        <a:pt x="38" y="36"/>
                      </a:lnTo>
                      <a:lnTo>
                        <a:pt x="4" y="38"/>
                      </a:lnTo>
                      <a:lnTo>
                        <a:pt x="0" y="4"/>
                      </a:lnTo>
                      <a:lnTo>
                        <a:pt x="8" y="0"/>
                      </a:lnTo>
                      <a:lnTo>
                        <a:pt x="54" y="0"/>
                      </a:lnTo>
                    </a:path>
                  </a:pathLst>
                </a:custGeom>
                <a:solidFill>
                  <a:srgbClr val="E6E6E6"/>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506" name="vMap : Brazil (Offshore)">
                  <a:extLst>
                    <a:ext uri="{FF2B5EF4-FFF2-40B4-BE49-F238E27FC236}">
                      <a16:creationId xmlns:a16="http://schemas.microsoft.com/office/drawing/2014/main" xmlns="" id="{95D72109-A78F-F84F-B475-BC4C5E1B88F3}"/>
                    </a:ext>
                  </a:extLst>
                </p:cNvPr>
                <p:cNvSpPr>
                  <a:spLocks noChangeAspect="1"/>
                </p:cNvSpPr>
                <p:nvPr>
                  <p:custDataLst>
                    <p:tags r:id="rId26"/>
                  </p:custDataLst>
                </p:nvPr>
              </p:nvSpPr>
              <p:spPr bwMode="gray">
                <a:xfrm>
                  <a:off x="2934145" y="4222005"/>
                  <a:ext cx="9128" cy="10885"/>
                </a:xfrm>
                <a:custGeom>
                  <a:avLst/>
                  <a:gdLst>
                    <a:gd name="T0" fmla="*/ 0 w 10"/>
                    <a:gd name="T1" fmla="*/ 0 h 10"/>
                    <a:gd name="T2" fmla="*/ 0 w 10"/>
                    <a:gd name="T3" fmla="*/ 5 h 10"/>
                    <a:gd name="T4" fmla="*/ 4 w 10"/>
                    <a:gd name="T5" fmla="*/ 5 h 10"/>
                    <a:gd name="T6" fmla="*/ 0 w 10"/>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0">
                      <a:moveTo>
                        <a:pt x="0" y="0"/>
                      </a:moveTo>
                      <a:lnTo>
                        <a:pt x="0" y="10"/>
                      </a:lnTo>
                      <a:lnTo>
                        <a:pt x="10" y="10"/>
                      </a:lnTo>
                      <a:lnTo>
                        <a:pt x="0" y="0"/>
                      </a:lnTo>
                    </a:path>
                  </a:pathLst>
                </a:custGeom>
                <a:solidFill>
                  <a:srgbClr val="E6E6E6"/>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507" name="vMap : Brazil (Mainland)">
                  <a:extLst>
                    <a:ext uri="{FF2B5EF4-FFF2-40B4-BE49-F238E27FC236}">
                      <a16:creationId xmlns:a16="http://schemas.microsoft.com/office/drawing/2014/main" xmlns="" id="{14BF9B22-4873-6F4C-A538-43253A399375}"/>
                    </a:ext>
                  </a:extLst>
                </p:cNvPr>
                <p:cNvSpPr>
                  <a:spLocks noChangeAspect="1"/>
                </p:cNvSpPr>
                <p:nvPr>
                  <p:custDataLst>
                    <p:tags r:id="rId27"/>
                  </p:custDataLst>
                </p:nvPr>
              </p:nvSpPr>
              <p:spPr bwMode="gray">
                <a:xfrm>
                  <a:off x="2401696" y="4094494"/>
                  <a:ext cx="885386" cy="1024746"/>
                </a:xfrm>
                <a:custGeom>
                  <a:avLst/>
                  <a:gdLst>
                    <a:gd name="T0" fmla="*/ 197 w 949"/>
                    <a:gd name="T1" fmla="*/ 321 h 1074"/>
                    <a:gd name="T2" fmla="*/ 193 w 949"/>
                    <a:gd name="T3" fmla="*/ 339 h 1074"/>
                    <a:gd name="T4" fmla="*/ 178 w 949"/>
                    <a:gd name="T5" fmla="*/ 367 h 1074"/>
                    <a:gd name="T6" fmla="*/ 191 w 949"/>
                    <a:gd name="T7" fmla="*/ 374 h 1074"/>
                    <a:gd name="T8" fmla="*/ 216 w 949"/>
                    <a:gd name="T9" fmla="*/ 394 h 1074"/>
                    <a:gd name="T10" fmla="*/ 223 w 949"/>
                    <a:gd name="T11" fmla="*/ 390 h 1074"/>
                    <a:gd name="T12" fmla="*/ 239 w 949"/>
                    <a:gd name="T13" fmla="*/ 359 h 1074"/>
                    <a:gd name="T14" fmla="*/ 249 w 949"/>
                    <a:gd name="T15" fmla="*/ 337 h 1074"/>
                    <a:gd name="T16" fmla="*/ 246 w 949"/>
                    <a:gd name="T17" fmla="*/ 318 h 1074"/>
                    <a:gd name="T18" fmla="*/ 277 w 949"/>
                    <a:gd name="T19" fmla="*/ 295 h 1074"/>
                    <a:gd name="T20" fmla="*/ 299 w 949"/>
                    <a:gd name="T21" fmla="*/ 292 h 1074"/>
                    <a:gd name="T22" fmla="*/ 318 w 949"/>
                    <a:gd name="T23" fmla="*/ 256 h 1074"/>
                    <a:gd name="T24" fmla="*/ 321 w 949"/>
                    <a:gd name="T25" fmla="*/ 191 h 1074"/>
                    <a:gd name="T26" fmla="*/ 335 w 949"/>
                    <a:gd name="T27" fmla="*/ 171 h 1074"/>
                    <a:gd name="T28" fmla="*/ 357 w 949"/>
                    <a:gd name="T29" fmla="*/ 127 h 1074"/>
                    <a:gd name="T30" fmla="*/ 335 w 949"/>
                    <a:gd name="T31" fmla="*/ 107 h 1074"/>
                    <a:gd name="T32" fmla="*/ 276 w 949"/>
                    <a:gd name="T33" fmla="*/ 79 h 1074"/>
                    <a:gd name="T34" fmla="*/ 269 w 949"/>
                    <a:gd name="T35" fmla="*/ 79 h 1074"/>
                    <a:gd name="T36" fmla="*/ 260 w 949"/>
                    <a:gd name="T37" fmla="*/ 71 h 1074"/>
                    <a:gd name="T38" fmla="*/ 243 w 949"/>
                    <a:gd name="T39" fmla="*/ 61 h 1074"/>
                    <a:gd name="T40" fmla="*/ 223 w 949"/>
                    <a:gd name="T41" fmla="*/ 80 h 1074"/>
                    <a:gd name="T42" fmla="*/ 202 w 949"/>
                    <a:gd name="T43" fmla="*/ 75 h 1074"/>
                    <a:gd name="T44" fmla="*/ 212 w 949"/>
                    <a:gd name="T45" fmla="*/ 71 h 1074"/>
                    <a:gd name="T46" fmla="*/ 205 w 949"/>
                    <a:gd name="T47" fmla="*/ 66 h 1074"/>
                    <a:gd name="T48" fmla="*/ 215 w 949"/>
                    <a:gd name="T49" fmla="*/ 44 h 1074"/>
                    <a:gd name="T50" fmla="*/ 213 w 949"/>
                    <a:gd name="T51" fmla="*/ 36 h 1074"/>
                    <a:gd name="T52" fmla="*/ 202 w 949"/>
                    <a:gd name="T53" fmla="*/ 12 h 1074"/>
                    <a:gd name="T54" fmla="*/ 180 w 949"/>
                    <a:gd name="T55" fmla="*/ 34 h 1074"/>
                    <a:gd name="T56" fmla="*/ 164 w 949"/>
                    <a:gd name="T57" fmla="*/ 28 h 1074"/>
                    <a:gd name="T58" fmla="*/ 158 w 949"/>
                    <a:gd name="T59" fmla="*/ 34 h 1074"/>
                    <a:gd name="T60" fmla="*/ 138 w 949"/>
                    <a:gd name="T61" fmla="*/ 41 h 1074"/>
                    <a:gd name="T62" fmla="*/ 126 w 949"/>
                    <a:gd name="T63" fmla="*/ 28 h 1074"/>
                    <a:gd name="T64" fmla="*/ 125 w 949"/>
                    <a:gd name="T65" fmla="*/ 6 h 1074"/>
                    <a:gd name="T66" fmla="*/ 119 w 949"/>
                    <a:gd name="T67" fmla="*/ 1 h 1074"/>
                    <a:gd name="T68" fmla="*/ 98 w 949"/>
                    <a:gd name="T69" fmla="*/ 14 h 1074"/>
                    <a:gd name="T70" fmla="*/ 86 w 949"/>
                    <a:gd name="T71" fmla="*/ 15 h 1074"/>
                    <a:gd name="T72" fmla="*/ 94 w 949"/>
                    <a:gd name="T73" fmla="*/ 31 h 1074"/>
                    <a:gd name="T74" fmla="*/ 66 w 949"/>
                    <a:gd name="T75" fmla="*/ 45 h 1074"/>
                    <a:gd name="T76" fmla="*/ 60 w 949"/>
                    <a:gd name="T77" fmla="*/ 42 h 1074"/>
                    <a:gd name="T78" fmla="*/ 34 w 949"/>
                    <a:gd name="T79" fmla="*/ 36 h 1074"/>
                    <a:gd name="T80" fmla="*/ 39 w 949"/>
                    <a:gd name="T81" fmla="*/ 42 h 1074"/>
                    <a:gd name="T82" fmla="*/ 33 w 949"/>
                    <a:gd name="T83" fmla="*/ 48 h 1074"/>
                    <a:gd name="T84" fmla="*/ 39 w 949"/>
                    <a:gd name="T85" fmla="*/ 67 h 1074"/>
                    <a:gd name="T86" fmla="*/ 11 w 949"/>
                    <a:gd name="T87" fmla="*/ 107 h 1074"/>
                    <a:gd name="T88" fmla="*/ 8 w 949"/>
                    <a:gd name="T89" fmla="*/ 148 h 1074"/>
                    <a:gd name="T90" fmla="*/ 21 w 949"/>
                    <a:gd name="T91" fmla="*/ 158 h 1074"/>
                    <a:gd name="T92" fmla="*/ 33 w 949"/>
                    <a:gd name="T93" fmla="*/ 166 h 1074"/>
                    <a:gd name="T94" fmla="*/ 52 w 949"/>
                    <a:gd name="T95" fmla="*/ 169 h 1074"/>
                    <a:gd name="T96" fmla="*/ 77 w 949"/>
                    <a:gd name="T97" fmla="*/ 155 h 1074"/>
                    <a:gd name="T98" fmla="*/ 124 w 949"/>
                    <a:gd name="T99" fmla="*/ 196 h 1074"/>
                    <a:gd name="T100" fmla="*/ 147 w 949"/>
                    <a:gd name="T101" fmla="*/ 224 h 1074"/>
                    <a:gd name="T102" fmla="*/ 155 w 949"/>
                    <a:gd name="T103" fmla="*/ 243 h 1074"/>
                    <a:gd name="T104" fmla="*/ 158 w 949"/>
                    <a:gd name="T105" fmla="*/ 283 h 1074"/>
                    <a:gd name="T106" fmla="*/ 181 w 949"/>
                    <a:gd name="T107" fmla="*/ 303 h 1074"/>
                    <a:gd name="T108" fmla="*/ 191 w 949"/>
                    <a:gd name="T109" fmla="*/ 320 h 10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949" h="1074">
                      <a:moveTo>
                        <a:pt x="508" y="849"/>
                      </a:moveTo>
                      <a:lnTo>
                        <a:pt x="524" y="852"/>
                      </a:lnTo>
                      <a:lnTo>
                        <a:pt x="534" y="890"/>
                      </a:lnTo>
                      <a:lnTo>
                        <a:pt x="512" y="900"/>
                      </a:lnTo>
                      <a:lnTo>
                        <a:pt x="455" y="978"/>
                      </a:lnTo>
                      <a:lnTo>
                        <a:pt x="475" y="974"/>
                      </a:lnTo>
                      <a:lnTo>
                        <a:pt x="500" y="996"/>
                      </a:lnTo>
                      <a:lnTo>
                        <a:pt x="508" y="994"/>
                      </a:lnTo>
                      <a:lnTo>
                        <a:pt x="554" y="1024"/>
                      </a:lnTo>
                      <a:lnTo>
                        <a:pt x="576" y="1046"/>
                      </a:lnTo>
                      <a:lnTo>
                        <a:pt x="572" y="1074"/>
                      </a:lnTo>
                      <a:lnTo>
                        <a:pt x="592" y="1036"/>
                      </a:lnTo>
                      <a:lnTo>
                        <a:pt x="616" y="1012"/>
                      </a:lnTo>
                      <a:lnTo>
                        <a:pt x="634" y="954"/>
                      </a:lnTo>
                      <a:lnTo>
                        <a:pt x="658" y="924"/>
                      </a:lnTo>
                      <a:lnTo>
                        <a:pt x="662" y="894"/>
                      </a:lnTo>
                      <a:lnTo>
                        <a:pt x="650" y="862"/>
                      </a:lnTo>
                      <a:lnTo>
                        <a:pt x="654" y="845"/>
                      </a:lnTo>
                      <a:lnTo>
                        <a:pt x="692" y="805"/>
                      </a:lnTo>
                      <a:lnTo>
                        <a:pt x="737" y="783"/>
                      </a:lnTo>
                      <a:lnTo>
                        <a:pt x="741" y="775"/>
                      </a:lnTo>
                      <a:lnTo>
                        <a:pt x="795" y="775"/>
                      </a:lnTo>
                      <a:lnTo>
                        <a:pt x="817" y="749"/>
                      </a:lnTo>
                      <a:lnTo>
                        <a:pt x="845" y="679"/>
                      </a:lnTo>
                      <a:lnTo>
                        <a:pt x="853" y="629"/>
                      </a:lnTo>
                      <a:lnTo>
                        <a:pt x="853" y="508"/>
                      </a:lnTo>
                      <a:lnTo>
                        <a:pt x="871" y="496"/>
                      </a:lnTo>
                      <a:lnTo>
                        <a:pt x="891" y="454"/>
                      </a:lnTo>
                      <a:lnTo>
                        <a:pt x="941" y="392"/>
                      </a:lnTo>
                      <a:lnTo>
                        <a:pt x="949" y="338"/>
                      </a:lnTo>
                      <a:lnTo>
                        <a:pt x="933" y="289"/>
                      </a:lnTo>
                      <a:lnTo>
                        <a:pt x="891" y="283"/>
                      </a:lnTo>
                      <a:lnTo>
                        <a:pt x="833" y="229"/>
                      </a:lnTo>
                      <a:lnTo>
                        <a:pt x="733" y="209"/>
                      </a:lnTo>
                      <a:lnTo>
                        <a:pt x="712" y="221"/>
                      </a:lnTo>
                      <a:lnTo>
                        <a:pt x="714" y="209"/>
                      </a:lnTo>
                      <a:lnTo>
                        <a:pt x="704" y="187"/>
                      </a:lnTo>
                      <a:lnTo>
                        <a:pt x="692" y="189"/>
                      </a:lnTo>
                      <a:lnTo>
                        <a:pt x="688" y="183"/>
                      </a:lnTo>
                      <a:lnTo>
                        <a:pt x="646" y="163"/>
                      </a:lnTo>
                      <a:lnTo>
                        <a:pt x="626" y="163"/>
                      </a:lnTo>
                      <a:lnTo>
                        <a:pt x="592" y="213"/>
                      </a:lnTo>
                      <a:lnTo>
                        <a:pt x="592" y="193"/>
                      </a:lnTo>
                      <a:lnTo>
                        <a:pt x="538" y="201"/>
                      </a:lnTo>
                      <a:lnTo>
                        <a:pt x="542" y="193"/>
                      </a:lnTo>
                      <a:lnTo>
                        <a:pt x="562" y="189"/>
                      </a:lnTo>
                      <a:lnTo>
                        <a:pt x="558" y="167"/>
                      </a:lnTo>
                      <a:lnTo>
                        <a:pt x="546" y="175"/>
                      </a:lnTo>
                      <a:lnTo>
                        <a:pt x="542" y="155"/>
                      </a:lnTo>
                      <a:lnTo>
                        <a:pt x="572" y="117"/>
                      </a:lnTo>
                      <a:lnTo>
                        <a:pt x="576" y="97"/>
                      </a:lnTo>
                      <a:lnTo>
                        <a:pt x="566" y="95"/>
                      </a:lnTo>
                      <a:lnTo>
                        <a:pt x="550" y="33"/>
                      </a:lnTo>
                      <a:lnTo>
                        <a:pt x="538" y="33"/>
                      </a:lnTo>
                      <a:lnTo>
                        <a:pt x="500" y="83"/>
                      </a:lnTo>
                      <a:lnTo>
                        <a:pt x="477" y="91"/>
                      </a:lnTo>
                      <a:lnTo>
                        <a:pt x="471" y="79"/>
                      </a:lnTo>
                      <a:lnTo>
                        <a:pt x="435" y="75"/>
                      </a:lnTo>
                      <a:lnTo>
                        <a:pt x="431" y="95"/>
                      </a:lnTo>
                      <a:lnTo>
                        <a:pt x="421" y="91"/>
                      </a:lnTo>
                      <a:lnTo>
                        <a:pt x="401" y="91"/>
                      </a:lnTo>
                      <a:lnTo>
                        <a:pt x="367" y="109"/>
                      </a:lnTo>
                      <a:lnTo>
                        <a:pt x="347" y="101"/>
                      </a:lnTo>
                      <a:lnTo>
                        <a:pt x="335" y="75"/>
                      </a:lnTo>
                      <a:lnTo>
                        <a:pt x="343" y="21"/>
                      </a:lnTo>
                      <a:lnTo>
                        <a:pt x="333" y="17"/>
                      </a:lnTo>
                      <a:lnTo>
                        <a:pt x="333" y="0"/>
                      </a:lnTo>
                      <a:lnTo>
                        <a:pt x="317" y="2"/>
                      </a:lnTo>
                      <a:lnTo>
                        <a:pt x="309" y="17"/>
                      </a:lnTo>
                      <a:lnTo>
                        <a:pt x="259" y="37"/>
                      </a:lnTo>
                      <a:lnTo>
                        <a:pt x="218" y="25"/>
                      </a:lnTo>
                      <a:lnTo>
                        <a:pt x="230" y="41"/>
                      </a:lnTo>
                      <a:lnTo>
                        <a:pt x="234" y="75"/>
                      </a:lnTo>
                      <a:lnTo>
                        <a:pt x="251" y="83"/>
                      </a:lnTo>
                      <a:lnTo>
                        <a:pt x="194" y="121"/>
                      </a:lnTo>
                      <a:lnTo>
                        <a:pt x="176" y="121"/>
                      </a:lnTo>
                      <a:lnTo>
                        <a:pt x="164" y="105"/>
                      </a:lnTo>
                      <a:lnTo>
                        <a:pt x="160" y="113"/>
                      </a:lnTo>
                      <a:lnTo>
                        <a:pt x="148" y="91"/>
                      </a:lnTo>
                      <a:lnTo>
                        <a:pt x="92" y="95"/>
                      </a:lnTo>
                      <a:lnTo>
                        <a:pt x="92" y="113"/>
                      </a:lnTo>
                      <a:lnTo>
                        <a:pt x="102" y="113"/>
                      </a:lnTo>
                      <a:lnTo>
                        <a:pt x="106" y="129"/>
                      </a:lnTo>
                      <a:lnTo>
                        <a:pt x="88" y="129"/>
                      </a:lnTo>
                      <a:lnTo>
                        <a:pt x="88" y="147"/>
                      </a:lnTo>
                      <a:lnTo>
                        <a:pt x="102" y="179"/>
                      </a:lnTo>
                      <a:lnTo>
                        <a:pt x="92" y="259"/>
                      </a:lnTo>
                      <a:lnTo>
                        <a:pt x="30" y="285"/>
                      </a:lnTo>
                      <a:lnTo>
                        <a:pt x="0" y="354"/>
                      </a:lnTo>
                      <a:lnTo>
                        <a:pt x="22" y="392"/>
                      </a:lnTo>
                      <a:lnTo>
                        <a:pt x="22" y="400"/>
                      </a:lnTo>
                      <a:lnTo>
                        <a:pt x="56" y="420"/>
                      </a:lnTo>
                      <a:lnTo>
                        <a:pt x="84" y="400"/>
                      </a:lnTo>
                      <a:lnTo>
                        <a:pt x="88" y="442"/>
                      </a:lnTo>
                      <a:lnTo>
                        <a:pt x="106" y="442"/>
                      </a:lnTo>
                      <a:lnTo>
                        <a:pt x="138" y="450"/>
                      </a:lnTo>
                      <a:lnTo>
                        <a:pt x="176" y="412"/>
                      </a:lnTo>
                      <a:lnTo>
                        <a:pt x="206" y="412"/>
                      </a:lnTo>
                      <a:lnTo>
                        <a:pt x="218" y="474"/>
                      </a:lnTo>
                      <a:lnTo>
                        <a:pt x="329" y="520"/>
                      </a:lnTo>
                      <a:lnTo>
                        <a:pt x="347" y="591"/>
                      </a:lnTo>
                      <a:lnTo>
                        <a:pt x="389" y="595"/>
                      </a:lnTo>
                      <a:lnTo>
                        <a:pt x="393" y="617"/>
                      </a:lnTo>
                      <a:lnTo>
                        <a:pt x="413" y="645"/>
                      </a:lnTo>
                      <a:lnTo>
                        <a:pt x="409" y="699"/>
                      </a:lnTo>
                      <a:lnTo>
                        <a:pt x="421" y="753"/>
                      </a:lnTo>
                      <a:lnTo>
                        <a:pt x="471" y="759"/>
                      </a:lnTo>
                      <a:lnTo>
                        <a:pt x="481" y="803"/>
                      </a:lnTo>
                      <a:lnTo>
                        <a:pt x="508" y="805"/>
                      </a:lnTo>
                      <a:lnTo>
                        <a:pt x="508" y="84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8" name="vMap : Argentina (Mainland)">
                  <a:extLst>
                    <a:ext uri="{FF2B5EF4-FFF2-40B4-BE49-F238E27FC236}">
                      <a16:creationId xmlns:a16="http://schemas.microsoft.com/office/drawing/2014/main" xmlns="" id="{6E50A2D2-115A-C245-8436-C3C64DC739E6}"/>
                    </a:ext>
                  </a:extLst>
                </p:cNvPr>
                <p:cNvSpPr>
                  <a:spLocks noChangeAspect="1"/>
                </p:cNvSpPr>
                <p:nvPr>
                  <p:custDataLst>
                    <p:tags r:id="rId28"/>
                  </p:custDataLst>
                </p:nvPr>
              </p:nvSpPr>
              <p:spPr bwMode="gray">
                <a:xfrm>
                  <a:off x="2556867" y="4806685"/>
                  <a:ext cx="342289" cy="794605"/>
                </a:xfrm>
                <a:custGeom>
                  <a:avLst/>
                  <a:gdLst>
                    <a:gd name="T0" fmla="*/ 78 w 370"/>
                    <a:gd name="T1" fmla="*/ 302 h 833"/>
                    <a:gd name="T2" fmla="*/ 80 w 370"/>
                    <a:gd name="T3" fmla="*/ 307 h 833"/>
                    <a:gd name="T4" fmla="*/ 61 w 370"/>
                    <a:gd name="T5" fmla="*/ 310 h 833"/>
                    <a:gd name="T6" fmla="*/ 46 w 370"/>
                    <a:gd name="T7" fmla="*/ 299 h 833"/>
                    <a:gd name="T8" fmla="*/ 41 w 370"/>
                    <a:gd name="T9" fmla="*/ 257 h 833"/>
                    <a:gd name="T10" fmla="*/ 30 w 370"/>
                    <a:gd name="T11" fmla="*/ 239 h 833"/>
                    <a:gd name="T12" fmla="*/ 29 w 370"/>
                    <a:gd name="T13" fmla="*/ 235 h 833"/>
                    <a:gd name="T14" fmla="*/ 21 w 370"/>
                    <a:gd name="T15" fmla="*/ 209 h 833"/>
                    <a:gd name="T16" fmla="*/ 14 w 370"/>
                    <a:gd name="T17" fmla="*/ 190 h 833"/>
                    <a:gd name="T18" fmla="*/ 9 w 370"/>
                    <a:gd name="T19" fmla="*/ 155 h 833"/>
                    <a:gd name="T20" fmla="*/ 10 w 370"/>
                    <a:gd name="T21" fmla="*/ 140 h 833"/>
                    <a:gd name="T22" fmla="*/ 0 w 370"/>
                    <a:gd name="T23" fmla="*/ 98 h 833"/>
                    <a:gd name="T24" fmla="*/ 9 w 370"/>
                    <a:gd name="T25" fmla="*/ 53 h 833"/>
                    <a:gd name="T26" fmla="*/ 14 w 370"/>
                    <a:gd name="T27" fmla="*/ 23 h 833"/>
                    <a:gd name="T28" fmla="*/ 21 w 370"/>
                    <a:gd name="T29" fmla="*/ 0 h 833"/>
                    <a:gd name="T30" fmla="*/ 40 w 370"/>
                    <a:gd name="T31" fmla="*/ 3 h 833"/>
                    <a:gd name="T32" fmla="*/ 71 w 370"/>
                    <a:gd name="T33" fmla="*/ 23 h 833"/>
                    <a:gd name="T34" fmla="*/ 99 w 370"/>
                    <a:gd name="T35" fmla="*/ 37 h 833"/>
                    <a:gd name="T36" fmla="*/ 111 w 370"/>
                    <a:gd name="T37" fmla="*/ 58 h 833"/>
                    <a:gd name="T38" fmla="*/ 127 w 370"/>
                    <a:gd name="T39" fmla="*/ 48 h 833"/>
                    <a:gd name="T40" fmla="*/ 133 w 370"/>
                    <a:gd name="T41" fmla="*/ 40 h 833"/>
                    <a:gd name="T42" fmla="*/ 129 w 370"/>
                    <a:gd name="T43" fmla="*/ 58 h 833"/>
                    <a:gd name="T44" fmla="*/ 109 w 370"/>
                    <a:gd name="T45" fmla="*/ 127 h 833"/>
                    <a:gd name="T46" fmla="*/ 123 w 370"/>
                    <a:gd name="T47" fmla="*/ 141 h 833"/>
                    <a:gd name="T48" fmla="*/ 129 w 370"/>
                    <a:gd name="T49" fmla="*/ 150 h 833"/>
                    <a:gd name="T50" fmla="*/ 124 w 370"/>
                    <a:gd name="T51" fmla="*/ 172 h 833"/>
                    <a:gd name="T52" fmla="*/ 89 w 370"/>
                    <a:gd name="T53" fmla="*/ 175 h 833"/>
                    <a:gd name="T54" fmla="*/ 95 w 370"/>
                    <a:gd name="T55" fmla="*/ 199 h 833"/>
                    <a:gd name="T56" fmla="*/ 74 w 370"/>
                    <a:gd name="T57" fmla="*/ 196 h 833"/>
                    <a:gd name="T58" fmla="*/ 83 w 370"/>
                    <a:gd name="T59" fmla="*/ 215 h 833"/>
                    <a:gd name="T60" fmla="*/ 91 w 370"/>
                    <a:gd name="T61" fmla="*/ 218 h 833"/>
                    <a:gd name="T62" fmla="*/ 80 w 370"/>
                    <a:gd name="T63" fmla="*/ 218 h 833"/>
                    <a:gd name="T64" fmla="*/ 81 w 370"/>
                    <a:gd name="T65" fmla="*/ 226 h 833"/>
                    <a:gd name="T66" fmla="*/ 75 w 370"/>
                    <a:gd name="T67" fmla="*/ 243 h 833"/>
                    <a:gd name="T68" fmla="*/ 75 w 370"/>
                    <a:gd name="T69" fmla="*/ 256 h 833"/>
                    <a:gd name="T70" fmla="*/ 92 w 370"/>
                    <a:gd name="T71" fmla="*/ 266 h 833"/>
                    <a:gd name="T72" fmla="*/ 83 w 370"/>
                    <a:gd name="T73" fmla="*/ 282 h 833"/>
                    <a:gd name="T74" fmla="*/ 78 w 370"/>
                    <a:gd name="T75" fmla="*/ 296 h 83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0" h="833">
                      <a:moveTo>
                        <a:pt x="211" y="787"/>
                      </a:moveTo>
                      <a:lnTo>
                        <a:pt x="211" y="803"/>
                      </a:lnTo>
                      <a:lnTo>
                        <a:pt x="221" y="815"/>
                      </a:lnTo>
                      <a:lnTo>
                        <a:pt x="217" y="817"/>
                      </a:lnTo>
                      <a:lnTo>
                        <a:pt x="249" y="833"/>
                      </a:lnTo>
                      <a:lnTo>
                        <a:pt x="165" y="825"/>
                      </a:lnTo>
                      <a:lnTo>
                        <a:pt x="145" y="791"/>
                      </a:lnTo>
                      <a:lnTo>
                        <a:pt x="125" y="795"/>
                      </a:lnTo>
                      <a:lnTo>
                        <a:pt x="115" y="779"/>
                      </a:lnTo>
                      <a:lnTo>
                        <a:pt x="111" y="683"/>
                      </a:lnTo>
                      <a:lnTo>
                        <a:pt x="99" y="642"/>
                      </a:lnTo>
                      <a:lnTo>
                        <a:pt x="83" y="634"/>
                      </a:lnTo>
                      <a:lnTo>
                        <a:pt x="95" y="630"/>
                      </a:lnTo>
                      <a:lnTo>
                        <a:pt x="79" y="624"/>
                      </a:lnTo>
                      <a:lnTo>
                        <a:pt x="58" y="570"/>
                      </a:lnTo>
                      <a:lnTo>
                        <a:pt x="58" y="554"/>
                      </a:lnTo>
                      <a:lnTo>
                        <a:pt x="46" y="538"/>
                      </a:lnTo>
                      <a:lnTo>
                        <a:pt x="38" y="504"/>
                      </a:lnTo>
                      <a:lnTo>
                        <a:pt x="42" y="462"/>
                      </a:lnTo>
                      <a:lnTo>
                        <a:pt x="24" y="412"/>
                      </a:lnTo>
                      <a:lnTo>
                        <a:pt x="34" y="392"/>
                      </a:lnTo>
                      <a:lnTo>
                        <a:pt x="28" y="371"/>
                      </a:lnTo>
                      <a:lnTo>
                        <a:pt x="34" y="341"/>
                      </a:lnTo>
                      <a:lnTo>
                        <a:pt x="0" y="259"/>
                      </a:lnTo>
                      <a:lnTo>
                        <a:pt x="4" y="175"/>
                      </a:lnTo>
                      <a:lnTo>
                        <a:pt x="24" y="141"/>
                      </a:lnTo>
                      <a:lnTo>
                        <a:pt x="12" y="76"/>
                      </a:lnTo>
                      <a:lnTo>
                        <a:pt x="38" y="60"/>
                      </a:lnTo>
                      <a:lnTo>
                        <a:pt x="34" y="30"/>
                      </a:lnTo>
                      <a:lnTo>
                        <a:pt x="58" y="0"/>
                      </a:lnTo>
                      <a:lnTo>
                        <a:pt x="103" y="22"/>
                      </a:lnTo>
                      <a:lnTo>
                        <a:pt x="107" y="8"/>
                      </a:lnTo>
                      <a:lnTo>
                        <a:pt x="141" y="14"/>
                      </a:lnTo>
                      <a:lnTo>
                        <a:pt x="191" y="60"/>
                      </a:lnTo>
                      <a:lnTo>
                        <a:pt x="217" y="64"/>
                      </a:lnTo>
                      <a:lnTo>
                        <a:pt x="267" y="100"/>
                      </a:lnTo>
                      <a:lnTo>
                        <a:pt x="261" y="145"/>
                      </a:lnTo>
                      <a:lnTo>
                        <a:pt x="299" y="155"/>
                      </a:lnTo>
                      <a:lnTo>
                        <a:pt x="324" y="153"/>
                      </a:lnTo>
                      <a:lnTo>
                        <a:pt x="344" y="129"/>
                      </a:lnTo>
                      <a:lnTo>
                        <a:pt x="344" y="104"/>
                      </a:lnTo>
                      <a:lnTo>
                        <a:pt x="360" y="107"/>
                      </a:lnTo>
                      <a:lnTo>
                        <a:pt x="370" y="145"/>
                      </a:lnTo>
                      <a:lnTo>
                        <a:pt x="348" y="155"/>
                      </a:lnTo>
                      <a:lnTo>
                        <a:pt x="291" y="233"/>
                      </a:lnTo>
                      <a:lnTo>
                        <a:pt x="295" y="337"/>
                      </a:lnTo>
                      <a:lnTo>
                        <a:pt x="299" y="355"/>
                      </a:lnTo>
                      <a:lnTo>
                        <a:pt x="332" y="375"/>
                      </a:lnTo>
                      <a:lnTo>
                        <a:pt x="332" y="386"/>
                      </a:lnTo>
                      <a:lnTo>
                        <a:pt x="348" y="400"/>
                      </a:lnTo>
                      <a:lnTo>
                        <a:pt x="352" y="424"/>
                      </a:lnTo>
                      <a:lnTo>
                        <a:pt x="336" y="458"/>
                      </a:lnTo>
                      <a:lnTo>
                        <a:pt x="271" y="474"/>
                      </a:lnTo>
                      <a:lnTo>
                        <a:pt x="241" y="466"/>
                      </a:lnTo>
                      <a:lnTo>
                        <a:pt x="253" y="488"/>
                      </a:lnTo>
                      <a:lnTo>
                        <a:pt x="257" y="528"/>
                      </a:lnTo>
                      <a:lnTo>
                        <a:pt x="229" y="534"/>
                      </a:lnTo>
                      <a:lnTo>
                        <a:pt x="199" y="520"/>
                      </a:lnTo>
                      <a:lnTo>
                        <a:pt x="211" y="558"/>
                      </a:lnTo>
                      <a:lnTo>
                        <a:pt x="225" y="570"/>
                      </a:lnTo>
                      <a:lnTo>
                        <a:pt x="241" y="562"/>
                      </a:lnTo>
                      <a:lnTo>
                        <a:pt x="245" y="578"/>
                      </a:lnTo>
                      <a:lnTo>
                        <a:pt x="221" y="570"/>
                      </a:lnTo>
                      <a:lnTo>
                        <a:pt x="215" y="578"/>
                      </a:lnTo>
                      <a:lnTo>
                        <a:pt x="233" y="584"/>
                      </a:lnTo>
                      <a:lnTo>
                        <a:pt x="221" y="600"/>
                      </a:lnTo>
                      <a:lnTo>
                        <a:pt x="225" y="642"/>
                      </a:lnTo>
                      <a:lnTo>
                        <a:pt x="203" y="646"/>
                      </a:lnTo>
                      <a:lnTo>
                        <a:pt x="191" y="665"/>
                      </a:lnTo>
                      <a:lnTo>
                        <a:pt x="203" y="679"/>
                      </a:lnTo>
                      <a:lnTo>
                        <a:pt x="241" y="695"/>
                      </a:lnTo>
                      <a:lnTo>
                        <a:pt x="249" y="707"/>
                      </a:lnTo>
                      <a:lnTo>
                        <a:pt x="249" y="721"/>
                      </a:lnTo>
                      <a:lnTo>
                        <a:pt x="225" y="749"/>
                      </a:lnTo>
                      <a:lnTo>
                        <a:pt x="229" y="771"/>
                      </a:lnTo>
                      <a:lnTo>
                        <a:pt x="211" y="787"/>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09" name="vMap : Paraguay">
                  <a:extLst>
                    <a:ext uri="{FF2B5EF4-FFF2-40B4-BE49-F238E27FC236}">
                      <a16:creationId xmlns:a16="http://schemas.microsoft.com/office/drawing/2014/main" xmlns="" id="{8709D949-FEE9-ED43-A870-74BCA2E7B2CE}"/>
                    </a:ext>
                  </a:extLst>
                </p:cNvPr>
                <p:cNvSpPr>
                  <a:spLocks noChangeAspect="1"/>
                </p:cNvSpPr>
                <p:nvPr>
                  <p:custDataLst>
                    <p:tags r:id="rId29"/>
                  </p:custDataLst>
                </p:nvPr>
              </p:nvSpPr>
              <p:spPr bwMode="gray">
                <a:xfrm>
                  <a:off x="2686176" y="4739819"/>
                  <a:ext cx="191681" cy="216145"/>
                </a:xfrm>
                <a:custGeom>
                  <a:avLst/>
                  <a:gdLst>
                    <a:gd name="T0" fmla="*/ 40 w 203"/>
                    <a:gd name="T1" fmla="*/ 9 h 225"/>
                    <a:gd name="T2" fmla="*/ 29 w 203"/>
                    <a:gd name="T3" fmla="*/ 0 h 225"/>
                    <a:gd name="T4" fmla="*/ 4 w 203"/>
                    <a:gd name="T5" fmla="*/ 4 h 225"/>
                    <a:gd name="T6" fmla="*/ 0 w 203"/>
                    <a:gd name="T7" fmla="*/ 32 h 225"/>
                    <a:gd name="T8" fmla="*/ 19 w 203"/>
                    <a:gd name="T9" fmla="*/ 49 h 225"/>
                    <a:gd name="T10" fmla="*/ 29 w 203"/>
                    <a:gd name="T11" fmla="*/ 51 h 225"/>
                    <a:gd name="T12" fmla="*/ 48 w 203"/>
                    <a:gd name="T13" fmla="*/ 65 h 225"/>
                    <a:gd name="T14" fmla="*/ 46 w 203"/>
                    <a:gd name="T15" fmla="*/ 82 h 225"/>
                    <a:gd name="T16" fmla="*/ 61 w 203"/>
                    <a:gd name="T17" fmla="*/ 86 h 225"/>
                    <a:gd name="T18" fmla="*/ 71 w 203"/>
                    <a:gd name="T19" fmla="*/ 85 h 225"/>
                    <a:gd name="T20" fmla="*/ 78 w 203"/>
                    <a:gd name="T21" fmla="*/ 76 h 225"/>
                    <a:gd name="T22" fmla="*/ 78 w 203"/>
                    <a:gd name="T23" fmla="*/ 66 h 225"/>
                    <a:gd name="T24" fmla="*/ 78 w 203"/>
                    <a:gd name="T25" fmla="*/ 49 h 225"/>
                    <a:gd name="T26" fmla="*/ 68 w 203"/>
                    <a:gd name="T27" fmla="*/ 49 h 225"/>
                    <a:gd name="T28" fmla="*/ 64 w 203"/>
                    <a:gd name="T29" fmla="*/ 32 h 225"/>
                    <a:gd name="T30" fmla="*/ 45 w 203"/>
                    <a:gd name="T31" fmla="*/ 30 h 225"/>
                    <a:gd name="T32" fmla="*/ 40 w 203"/>
                    <a:gd name="T33" fmla="*/ 9 h 2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03" h="225">
                      <a:moveTo>
                        <a:pt x="104" y="24"/>
                      </a:moveTo>
                      <a:lnTo>
                        <a:pt x="76" y="0"/>
                      </a:lnTo>
                      <a:lnTo>
                        <a:pt x="12" y="12"/>
                      </a:lnTo>
                      <a:lnTo>
                        <a:pt x="0" y="84"/>
                      </a:lnTo>
                      <a:lnTo>
                        <a:pt x="50" y="130"/>
                      </a:lnTo>
                      <a:lnTo>
                        <a:pt x="76" y="134"/>
                      </a:lnTo>
                      <a:lnTo>
                        <a:pt x="126" y="170"/>
                      </a:lnTo>
                      <a:lnTo>
                        <a:pt x="120" y="215"/>
                      </a:lnTo>
                      <a:lnTo>
                        <a:pt x="158" y="225"/>
                      </a:lnTo>
                      <a:lnTo>
                        <a:pt x="183" y="223"/>
                      </a:lnTo>
                      <a:lnTo>
                        <a:pt x="203" y="199"/>
                      </a:lnTo>
                      <a:lnTo>
                        <a:pt x="203" y="174"/>
                      </a:lnTo>
                      <a:lnTo>
                        <a:pt x="203" y="130"/>
                      </a:lnTo>
                      <a:lnTo>
                        <a:pt x="176" y="128"/>
                      </a:lnTo>
                      <a:lnTo>
                        <a:pt x="166" y="84"/>
                      </a:lnTo>
                      <a:lnTo>
                        <a:pt x="116" y="78"/>
                      </a:lnTo>
                      <a:lnTo>
                        <a:pt x="104" y="24"/>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10" name="vMap : Uruguay">
                  <a:extLst>
                    <a:ext uri="{FF2B5EF4-FFF2-40B4-BE49-F238E27FC236}">
                      <a16:creationId xmlns:a16="http://schemas.microsoft.com/office/drawing/2014/main" xmlns="" id="{4A325F09-8D6D-664B-AB01-F9693900D055}"/>
                    </a:ext>
                  </a:extLst>
                </p:cNvPr>
                <p:cNvSpPr>
                  <a:spLocks noChangeAspect="1"/>
                </p:cNvSpPr>
                <p:nvPr>
                  <p:custDataLst>
                    <p:tags r:id="rId30"/>
                  </p:custDataLst>
                </p:nvPr>
              </p:nvSpPr>
              <p:spPr bwMode="gray">
                <a:xfrm>
                  <a:off x="2826134" y="5027495"/>
                  <a:ext cx="114096" cy="124400"/>
                </a:xfrm>
                <a:custGeom>
                  <a:avLst/>
                  <a:gdLst>
                    <a:gd name="T0" fmla="*/ 0 w 121"/>
                    <a:gd name="T1" fmla="*/ 1 h 134"/>
                    <a:gd name="T2" fmla="*/ 7 w 121"/>
                    <a:gd name="T3" fmla="*/ 0 h 134"/>
                    <a:gd name="T4" fmla="*/ 17 w 121"/>
                    <a:gd name="T5" fmla="*/ 8 h 134"/>
                    <a:gd name="T6" fmla="*/ 20 w 121"/>
                    <a:gd name="T7" fmla="*/ 7 h 134"/>
                    <a:gd name="T8" fmla="*/ 38 w 121"/>
                    <a:gd name="T9" fmla="*/ 18 h 134"/>
                    <a:gd name="T10" fmla="*/ 46 w 121"/>
                    <a:gd name="T11" fmla="*/ 26 h 134"/>
                    <a:gd name="T12" fmla="*/ 45 w 121"/>
                    <a:gd name="T13" fmla="*/ 36 h 134"/>
                    <a:gd name="T14" fmla="*/ 35 w 121"/>
                    <a:gd name="T15" fmla="*/ 48 h 134"/>
                    <a:gd name="T16" fmla="*/ 7 w 121"/>
                    <a:gd name="T17" fmla="*/ 42 h 134"/>
                    <a:gd name="T18" fmla="*/ 1 w 121"/>
                    <a:gd name="T19" fmla="*/ 38 h 134"/>
                    <a:gd name="T20" fmla="*/ 0 w 121"/>
                    <a:gd name="T21" fmla="*/ 1 h 1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1" h="134">
                      <a:moveTo>
                        <a:pt x="0" y="4"/>
                      </a:moveTo>
                      <a:lnTo>
                        <a:pt x="20" y="0"/>
                      </a:lnTo>
                      <a:lnTo>
                        <a:pt x="45" y="22"/>
                      </a:lnTo>
                      <a:lnTo>
                        <a:pt x="53" y="20"/>
                      </a:lnTo>
                      <a:lnTo>
                        <a:pt x="99" y="50"/>
                      </a:lnTo>
                      <a:lnTo>
                        <a:pt x="121" y="72"/>
                      </a:lnTo>
                      <a:lnTo>
                        <a:pt x="117" y="100"/>
                      </a:lnTo>
                      <a:lnTo>
                        <a:pt x="91" y="134"/>
                      </a:lnTo>
                      <a:lnTo>
                        <a:pt x="20" y="118"/>
                      </a:lnTo>
                      <a:lnTo>
                        <a:pt x="4" y="108"/>
                      </a:lnTo>
                      <a:lnTo>
                        <a:pt x="0" y="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11" name="vMap : Bolivia">
                  <a:extLst>
                    <a:ext uri="{FF2B5EF4-FFF2-40B4-BE49-F238E27FC236}">
                      <a16:creationId xmlns:a16="http://schemas.microsoft.com/office/drawing/2014/main" xmlns="" id="{95FCBFFD-E30F-0143-9A8E-E639B240F35A}"/>
                    </a:ext>
                  </a:extLst>
                </p:cNvPr>
                <p:cNvSpPr>
                  <a:spLocks noChangeAspect="1"/>
                </p:cNvSpPr>
                <p:nvPr>
                  <p:custDataLst>
                    <p:tags r:id="rId31"/>
                  </p:custDataLst>
                </p:nvPr>
              </p:nvSpPr>
              <p:spPr bwMode="gray">
                <a:xfrm>
                  <a:off x="2500580" y="4489465"/>
                  <a:ext cx="287523" cy="345211"/>
                </a:xfrm>
                <a:custGeom>
                  <a:avLst/>
                  <a:gdLst>
                    <a:gd name="T0" fmla="*/ 0 w 307"/>
                    <a:gd name="T1" fmla="*/ 11 h 363"/>
                    <a:gd name="T2" fmla="*/ 12 w 307"/>
                    <a:gd name="T3" fmla="*/ 14 h 363"/>
                    <a:gd name="T4" fmla="*/ 26 w 307"/>
                    <a:gd name="T5" fmla="*/ 0 h 363"/>
                    <a:gd name="T6" fmla="*/ 38 w 307"/>
                    <a:gd name="T7" fmla="*/ 0 h 363"/>
                    <a:gd name="T8" fmla="*/ 42 w 307"/>
                    <a:gd name="T9" fmla="*/ 23 h 363"/>
                    <a:gd name="T10" fmla="*/ 84 w 307"/>
                    <a:gd name="T11" fmla="*/ 40 h 363"/>
                    <a:gd name="T12" fmla="*/ 91 w 307"/>
                    <a:gd name="T13" fmla="*/ 67 h 363"/>
                    <a:gd name="T14" fmla="*/ 107 w 307"/>
                    <a:gd name="T15" fmla="*/ 68 h 363"/>
                    <a:gd name="T16" fmla="*/ 109 w 307"/>
                    <a:gd name="T17" fmla="*/ 76 h 363"/>
                    <a:gd name="T18" fmla="*/ 116 w 307"/>
                    <a:gd name="T19" fmla="*/ 87 h 363"/>
                    <a:gd name="T20" fmla="*/ 115 w 307"/>
                    <a:gd name="T21" fmla="*/ 108 h 363"/>
                    <a:gd name="T22" fmla="*/ 104 w 307"/>
                    <a:gd name="T23" fmla="*/ 98 h 363"/>
                    <a:gd name="T24" fmla="*/ 80 w 307"/>
                    <a:gd name="T25" fmla="*/ 103 h 363"/>
                    <a:gd name="T26" fmla="*/ 76 w 307"/>
                    <a:gd name="T27" fmla="*/ 130 h 363"/>
                    <a:gd name="T28" fmla="*/ 63 w 307"/>
                    <a:gd name="T29" fmla="*/ 128 h 363"/>
                    <a:gd name="T30" fmla="*/ 61 w 307"/>
                    <a:gd name="T31" fmla="*/ 133 h 363"/>
                    <a:gd name="T32" fmla="*/ 44 w 307"/>
                    <a:gd name="T33" fmla="*/ 125 h 363"/>
                    <a:gd name="T34" fmla="*/ 35 w 307"/>
                    <a:gd name="T35" fmla="*/ 136 h 363"/>
                    <a:gd name="T36" fmla="*/ 28 w 307"/>
                    <a:gd name="T37" fmla="*/ 135 h 363"/>
                    <a:gd name="T38" fmla="*/ 22 w 307"/>
                    <a:gd name="T39" fmla="*/ 116 h 363"/>
                    <a:gd name="T40" fmla="*/ 17 w 307"/>
                    <a:gd name="T41" fmla="*/ 109 h 363"/>
                    <a:gd name="T42" fmla="*/ 19 w 307"/>
                    <a:gd name="T43" fmla="*/ 98 h 363"/>
                    <a:gd name="T44" fmla="*/ 7 w 307"/>
                    <a:gd name="T45" fmla="*/ 81 h 363"/>
                    <a:gd name="T46" fmla="*/ 10 w 307"/>
                    <a:gd name="T47" fmla="*/ 70 h 363"/>
                    <a:gd name="T48" fmla="*/ 7 w 307"/>
                    <a:gd name="T49" fmla="*/ 64 h 363"/>
                    <a:gd name="T50" fmla="*/ 6 w 307"/>
                    <a:gd name="T51" fmla="*/ 51 h 363"/>
                    <a:gd name="T52" fmla="*/ 9 w 307"/>
                    <a:gd name="T53" fmla="*/ 49 h 363"/>
                    <a:gd name="T54" fmla="*/ 9 w 307"/>
                    <a:gd name="T55" fmla="*/ 28 h 363"/>
                    <a:gd name="T56" fmla="*/ 0 w 307"/>
                    <a:gd name="T57" fmla="*/ 11 h 36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7" h="363">
                      <a:moveTo>
                        <a:pt x="0" y="30"/>
                      </a:moveTo>
                      <a:lnTo>
                        <a:pt x="32" y="38"/>
                      </a:lnTo>
                      <a:lnTo>
                        <a:pt x="70" y="0"/>
                      </a:lnTo>
                      <a:lnTo>
                        <a:pt x="100" y="0"/>
                      </a:lnTo>
                      <a:lnTo>
                        <a:pt x="112" y="62"/>
                      </a:lnTo>
                      <a:lnTo>
                        <a:pt x="223" y="108"/>
                      </a:lnTo>
                      <a:lnTo>
                        <a:pt x="241" y="179"/>
                      </a:lnTo>
                      <a:lnTo>
                        <a:pt x="283" y="183"/>
                      </a:lnTo>
                      <a:lnTo>
                        <a:pt x="287" y="205"/>
                      </a:lnTo>
                      <a:lnTo>
                        <a:pt x="307" y="233"/>
                      </a:lnTo>
                      <a:lnTo>
                        <a:pt x="303" y="287"/>
                      </a:lnTo>
                      <a:lnTo>
                        <a:pt x="275" y="263"/>
                      </a:lnTo>
                      <a:lnTo>
                        <a:pt x="211" y="275"/>
                      </a:lnTo>
                      <a:lnTo>
                        <a:pt x="199" y="347"/>
                      </a:lnTo>
                      <a:lnTo>
                        <a:pt x="165" y="341"/>
                      </a:lnTo>
                      <a:lnTo>
                        <a:pt x="161" y="355"/>
                      </a:lnTo>
                      <a:lnTo>
                        <a:pt x="116" y="333"/>
                      </a:lnTo>
                      <a:lnTo>
                        <a:pt x="92" y="363"/>
                      </a:lnTo>
                      <a:lnTo>
                        <a:pt x="74" y="359"/>
                      </a:lnTo>
                      <a:lnTo>
                        <a:pt x="58" y="309"/>
                      </a:lnTo>
                      <a:lnTo>
                        <a:pt x="46" y="291"/>
                      </a:lnTo>
                      <a:lnTo>
                        <a:pt x="50" y="263"/>
                      </a:lnTo>
                      <a:lnTo>
                        <a:pt x="20" y="217"/>
                      </a:lnTo>
                      <a:lnTo>
                        <a:pt x="28" y="187"/>
                      </a:lnTo>
                      <a:lnTo>
                        <a:pt x="20" y="171"/>
                      </a:lnTo>
                      <a:lnTo>
                        <a:pt x="16" y="138"/>
                      </a:lnTo>
                      <a:lnTo>
                        <a:pt x="24" y="130"/>
                      </a:lnTo>
                      <a:lnTo>
                        <a:pt x="24" y="76"/>
                      </a:lnTo>
                      <a:lnTo>
                        <a:pt x="0" y="3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12" name="vMap : Falkland Islands">
                  <a:extLst>
                    <a:ext uri="{FF2B5EF4-FFF2-40B4-BE49-F238E27FC236}">
                      <a16:creationId xmlns:a16="http://schemas.microsoft.com/office/drawing/2014/main" xmlns="" id="{6D63C748-A29C-BD4D-9D2D-856B21965CFF}"/>
                    </a:ext>
                  </a:extLst>
                </p:cNvPr>
                <p:cNvGrpSpPr/>
                <p:nvPr/>
              </p:nvGrpSpPr>
              <p:grpSpPr>
                <a:xfrm>
                  <a:off x="2931102" y="5574855"/>
                  <a:ext cx="51723" cy="29545"/>
                  <a:chOff x="3502362" y="6122231"/>
                  <a:chExt cx="84710" cy="48389"/>
                </a:xfrm>
                <a:solidFill>
                  <a:srgbClr val="0F4DBC"/>
                </a:solidFill>
              </p:grpSpPr>
              <p:sp>
                <p:nvSpPr>
                  <p:cNvPr id="845" name="vMap : Falkland Island">
                    <a:extLst>
                      <a:ext uri="{FF2B5EF4-FFF2-40B4-BE49-F238E27FC236}">
                        <a16:creationId xmlns:a16="http://schemas.microsoft.com/office/drawing/2014/main" xmlns="" id="{7EACD18F-1BAC-F04A-8FE1-A08C1FCC94C0}"/>
                      </a:ext>
                    </a:extLst>
                  </p:cNvPr>
                  <p:cNvSpPr>
                    <a:spLocks noChangeAspect="1"/>
                  </p:cNvSpPr>
                  <p:nvPr>
                    <p:custDataLst>
                      <p:tags r:id="rId340"/>
                    </p:custDataLst>
                  </p:nvPr>
                </p:nvSpPr>
                <p:spPr bwMode="gray">
                  <a:xfrm>
                    <a:off x="3542225" y="6122231"/>
                    <a:ext cx="44847" cy="48389"/>
                  </a:xfrm>
                  <a:custGeom>
                    <a:avLst/>
                    <a:gdLst>
                      <a:gd name="T0" fmla="*/ 11 w 30"/>
                      <a:gd name="T1" fmla="*/ 4 h 30"/>
                      <a:gd name="T2" fmla="*/ 6 w 30"/>
                      <a:gd name="T3" fmla="*/ 6 h 30"/>
                      <a:gd name="T4" fmla="*/ 7 w 30"/>
                      <a:gd name="T5" fmla="*/ 9 h 30"/>
                      <a:gd name="T6" fmla="*/ 3 w 30"/>
                      <a:gd name="T7" fmla="*/ 12 h 30"/>
                      <a:gd name="T8" fmla="*/ 0 w 30"/>
                      <a:gd name="T9" fmla="*/ 9 h 30"/>
                      <a:gd name="T10" fmla="*/ 4 w 30"/>
                      <a:gd name="T11" fmla="*/ 6 h 30"/>
                      <a:gd name="T12" fmla="*/ 3 w 30"/>
                      <a:gd name="T13" fmla="*/ 0 h 30"/>
                      <a:gd name="T14" fmla="*/ 10 w 30"/>
                      <a:gd name="T15" fmla="*/ 2 h 30"/>
                      <a:gd name="T16" fmla="*/ 11 w 30"/>
                      <a:gd name="T17" fmla="*/ 4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0" h="30">
                        <a:moveTo>
                          <a:pt x="30" y="10"/>
                        </a:moveTo>
                        <a:lnTo>
                          <a:pt x="16" y="14"/>
                        </a:lnTo>
                        <a:lnTo>
                          <a:pt x="20" y="22"/>
                        </a:lnTo>
                        <a:lnTo>
                          <a:pt x="8" y="30"/>
                        </a:lnTo>
                        <a:lnTo>
                          <a:pt x="0" y="22"/>
                        </a:lnTo>
                        <a:lnTo>
                          <a:pt x="12" y="14"/>
                        </a:lnTo>
                        <a:lnTo>
                          <a:pt x="8" y="0"/>
                        </a:lnTo>
                        <a:lnTo>
                          <a:pt x="26" y="4"/>
                        </a:lnTo>
                        <a:lnTo>
                          <a:pt x="30" y="1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6" name="vMap : Falkland Island">
                    <a:extLst>
                      <a:ext uri="{FF2B5EF4-FFF2-40B4-BE49-F238E27FC236}">
                        <a16:creationId xmlns:a16="http://schemas.microsoft.com/office/drawing/2014/main" xmlns="" id="{8A53FC95-AD7C-1542-A203-D4D96B1A7470}"/>
                      </a:ext>
                    </a:extLst>
                  </p:cNvPr>
                  <p:cNvSpPr>
                    <a:spLocks noChangeAspect="1"/>
                  </p:cNvSpPr>
                  <p:nvPr>
                    <p:custDataLst>
                      <p:tags r:id="rId341"/>
                    </p:custDataLst>
                  </p:nvPr>
                </p:nvSpPr>
                <p:spPr bwMode="gray">
                  <a:xfrm>
                    <a:off x="3502362" y="6132418"/>
                    <a:ext cx="32390" cy="20374"/>
                  </a:xfrm>
                  <a:custGeom>
                    <a:avLst/>
                    <a:gdLst>
                      <a:gd name="T0" fmla="*/ 8 w 22"/>
                      <a:gd name="T1" fmla="*/ 0 h 14"/>
                      <a:gd name="T2" fmla="*/ 8 w 22"/>
                      <a:gd name="T3" fmla="*/ 5 h 14"/>
                      <a:gd name="T4" fmla="*/ 0 w 22"/>
                      <a:gd name="T5" fmla="*/ 5 h 14"/>
                      <a:gd name="T6" fmla="*/ 4 w 22"/>
                      <a:gd name="T7" fmla="*/ 2 h 14"/>
                      <a:gd name="T8" fmla="*/ 0 w 22"/>
                      <a:gd name="T9" fmla="*/ 0 h 14"/>
                      <a:gd name="T10" fmla="*/ 8 w 22"/>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14">
                        <a:moveTo>
                          <a:pt x="22" y="0"/>
                        </a:moveTo>
                        <a:lnTo>
                          <a:pt x="22" y="14"/>
                        </a:lnTo>
                        <a:lnTo>
                          <a:pt x="0" y="14"/>
                        </a:lnTo>
                        <a:lnTo>
                          <a:pt x="10" y="6"/>
                        </a:lnTo>
                        <a:lnTo>
                          <a:pt x="0" y="0"/>
                        </a:lnTo>
                        <a:lnTo>
                          <a:pt x="2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513" name="vMap : Alaska">
                  <a:extLst>
                    <a:ext uri="{FF2B5EF4-FFF2-40B4-BE49-F238E27FC236}">
                      <a16:creationId xmlns:a16="http://schemas.microsoft.com/office/drawing/2014/main" xmlns="" id="{7BC5BD68-FB82-4049-8365-B802C75967BF}"/>
                    </a:ext>
                  </a:extLst>
                </p:cNvPr>
                <p:cNvGrpSpPr/>
                <p:nvPr/>
              </p:nvGrpSpPr>
              <p:grpSpPr>
                <a:xfrm>
                  <a:off x="909319" y="2410429"/>
                  <a:ext cx="921897" cy="458723"/>
                  <a:chOff x="-213762" y="732312"/>
                  <a:chExt cx="1509841" cy="751300"/>
                </a:xfrm>
                <a:solidFill>
                  <a:srgbClr val="E6E6E6"/>
                </a:solidFill>
              </p:grpSpPr>
              <p:sp>
                <p:nvSpPr>
                  <p:cNvPr id="843" name="vMap : Alaska (Offshore)">
                    <a:extLst>
                      <a:ext uri="{FF2B5EF4-FFF2-40B4-BE49-F238E27FC236}">
                        <a16:creationId xmlns:a16="http://schemas.microsoft.com/office/drawing/2014/main" xmlns="" id="{C0508038-4157-DD4C-A5BD-A2567DF837E4}"/>
                      </a:ext>
                    </a:extLst>
                  </p:cNvPr>
                  <p:cNvSpPr>
                    <a:spLocks noChangeAspect="1"/>
                  </p:cNvSpPr>
                  <p:nvPr>
                    <p:custDataLst>
                      <p:tags r:id="rId338"/>
                    </p:custDataLst>
                  </p:nvPr>
                </p:nvSpPr>
                <p:spPr bwMode="gray">
                  <a:xfrm>
                    <a:off x="-213762" y="1132156"/>
                    <a:ext cx="1205880" cy="351456"/>
                  </a:xfrm>
                  <a:custGeom>
                    <a:avLst/>
                    <a:gdLst>
                      <a:gd name="connsiteX0" fmla="*/ 1086288 w 1205880"/>
                      <a:gd name="connsiteY0" fmla="*/ 297974 h 351456"/>
                      <a:gd name="connsiteX1" fmla="*/ 1064971 w 1205880"/>
                      <a:gd name="connsiteY1" fmla="*/ 331400 h 351456"/>
                      <a:gd name="connsiteX2" fmla="*/ 1071062 w 1205880"/>
                      <a:gd name="connsiteY2" fmla="*/ 351456 h 351456"/>
                      <a:gd name="connsiteX3" fmla="*/ 1058881 w 1205880"/>
                      <a:gd name="connsiteY3" fmla="*/ 324715 h 351456"/>
                      <a:gd name="connsiteX4" fmla="*/ 1064971 w 1205880"/>
                      <a:gd name="connsiteY4" fmla="*/ 311345 h 351456"/>
                      <a:gd name="connsiteX5" fmla="*/ 1158541 w 1205880"/>
                      <a:gd name="connsiteY5" fmla="*/ 280147 h 351456"/>
                      <a:gd name="connsiteX6" fmla="*/ 1168507 w 1205880"/>
                      <a:gd name="connsiteY6" fmla="*/ 285240 h 351456"/>
                      <a:gd name="connsiteX7" fmla="*/ 1158541 w 1205880"/>
                      <a:gd name="connsiteY7" fmla="*/ 297974 h 351456"/>
                      <a:gd name="connsiteX8" fmla="*/ 0 w 1205880"/>
                      <a:gd name="connsiteY8" fmla="*/ 269959 h 351456"/>
                      <a:gd name="connsiteX9" fmla="*/ 27407 w 1205880"/>
                      <a:gd name="connsiteY9" fmla="*/ 269959 h 351456"/>
                      <a:gd name="connsiteX10" fmla="*/ 0 w 1205880"/>
                      <a:gd name="connsiteY10" fmla="*/ 285239 h 351456"/>
                      <a:gd name="connsiteX11" fmla="*/ 1104227 w 1205880"/>
                      <a:gd name="connsiteY11" fmla="*/ 264867 h 351456"/>
                      <a:gd name="connsiteX12" fmla="*/ 1098247 w 1205880"/>
                      <a:gd name="connsiteY12" fmla="*/ 276907 h 351456"/>
                      <a:gd name="connsiteX13" fmla="*/ 1074329 w 1205880"/>
                      <a:gd name="connsiteY13" fmla="*/ 282927 h 351456"/>
                      <a:gd name="connsiteX14" fmla="*/ 1080308 w 1205880"/>
                      <a:gd name="connsiteY14" fmla="*/ 288946 h 351456"/>
                      <a:gd name="connsiteX15" fmla="*/ 1110206 w 1205880"/>
                      <a:gd name="connsiteY15" fmla="*/ 270887 h 351456"/>
                      <a:gd name="connsiteX16" fmla="*/ 1116186 w 1205880"/>
                      <a:gd name="connsiteY16" fmla="*/ 270887 h 351456"/>
                      <a:gd name="connsiteX17" fmla="*/ 1086288 w 1205880"/>
                      <a:gd name="connsiteY17" fmla="*/ 291956 h 351456"/>
                      <a:gd name="connsiteX18" fmla="*/ 1071339 w 1205880"/>
                      <a:gd name="connsiteY18" fmla="*/ 297976 h 351456"/>
                      <a:gd name="connsiteX19" fmla="*/ 1071339 w 1205880"/>
                      <a:gd name="connsiteY19" fmla="*/ 270887 h 351456"/>
                      <a:gd name="connsiteX20" fmla="*/ 161947 w 1205880"/>
                      <a:gd name="connsiteY20" fmla="*/ 221570 h 351456"/>
                      <a:gd name="connsiteX21" fmla="*/ 161947 w 1205880"/>
                      <a:gd name="connsiteY21" fmla="*/ 241435 h 351456"/>
                      <a:gd name="connsiteX22" fmla="*/ 104642 w 1205880"/>
                      <a:gd name="connsiteY22" fmla="*/ 254679 h 351456"/>
                      <a:gd name="connsiteX23" fmla="*/ 104642 w 1205880"/>
                      <a:gd name="connsiteY23" fmla="*/ 241435 h 351456"/>
                      <a:gd name="connsiteX24" fmla="*/ 1205880 w 1205880"/>
                      <a:gd name="connsiteY24" fmla="*/ 193556 h 351456"/>
                      <a:gd name="connsiteX25" fmla="*/ 1187194 w 1205880"/>
                      <a:gd name="connsiteY25" fmla="*/ 221571 h 351456"/>
                      <a:gd name="connsiteX26" fmla="*/ 1174736 w 1205880"/>
                      <a:gd name="connsiteY26" fmla="*/ 215345 h 351456"/>
                      <a:gd name="connsiteX27" fmla="*/ 1187194 w 1205880"/>
                      <a:gd name="connsiteY27" fmla="*/ 206007 h 351456"/>
                      <a:gd name="connsiteX28" fmla="*/ 1168507 w 1205880"/>
                      <a:gd name="connsiteY28" fmla="*/ 212233 h 351456"/>
                      <a:gd name="connsiteX29" fmla="*/ 1187194 w 1205880"/>
                      <a:gd name="connsiteY29" fmla="*/ 199781 h 351456"/>
                      <a:gd name="connsiteX30" fmla="*/ 1149028 w 1205880"/>
                      <a:gd name="connsiteY30" fmla="*/ 175729 h 351456"/>
                      <a:gd name="connsiteX31" fmla="*/ 1158541 w 1205880"/>
                      <a:gd name="connsiteY31" fmla="*/ 188152 h 351456"/>
                      <a:gd name="connsiteX32" fmla="*/ 1152199 w 1205880"/>
                      <a:gd name="connsiteY32" fmla="*/ 220763 h 351456"/>
                      <a:gd name="connsiteX33" fmla="*/ 1136344 w 1205880"/>
                      <a:gd name="connsiteY33" fmla="*/ 239398 h 351456"/>
                      <a:gd name="connsiteX34" fmla="*/ 1123660 w 1205880"/>
                      <a:gd name="connsiteY34" fmla="*/ 211446 h 351456"/>
                      <a:gd name="connsiteX35" fmla="*/ 1142686 w 1205880"/>
                      <a:gd name="connsiteY35" fmla="*/ 205234 h 351456"/>
                      <a:gd name="connsiteX36" fmla="*/ 1130002 w 1205880"/>
                      <a:gd name="connsiteY36" fmla="*/ 199022 h 351456"/>
                      <a:gd name="connsiteX37" fmla="*/ 1152199 w 1205880"/>
                      <a:gd name="connsiteY37" fmla="*/ 181941 h 351456"/>
                      <a:gd name="connsiteX38" fmla="*/ 1130002 w 1205880"/>
                      <a:gd name="connsiteY38" fmla="*/ 188152 h 351456"/>
                      <a:gd name="connsiteX39" fmla="*/ 1188439 w 1205880"/>
                      <a:gd name="connsiteY39" fmla="*/ 145167 h 351456"/>
                      <a:gd name="connsiteX40" fmla="*/ 1175151 w 1205880"/>
                      <a:gd name="connsiteY40" fmla="*/ 164267 h 351456"/>
                      <a:gd name="connsiteX41" fmla="*/ 1175151 w 1205880"/>
                      <a:gd name="connsiteY41" fmla="*/ 151534 h 351456"/>
                      <a:gd name="connsiteX42" fmla="*/ 1168507 w 1205880"/>
                      <a:gd name="connsiteY42" fmla="*/ 170634 h 351456"/>
                      <a:gd name="connsiteX43" fmla="*/ 1148575 w 1205880"/>
                      <a:gd name="connsiteY43" fmla="*/ 170634 h 351456"/>
                      <a:gd name="connsiteX44" fmla="*/ 1158421 w 1205880"/>
                      <a:gd name="connsiteY44" fmla="*/ 156481 h 351456"/>
                      <a:gd name="connsiteX45" fmla="*/ 1131135 w 1205880"/>
                      <a:gd name="connsiteY45" fmla="*/ 180823 h 351456"/>
                      <a:gd name="connsiteX46" fmla="*/ 1143316 w 1205880"/>
                      <a:gd name="connsiteY46" fmla="*/ 162486 h 351456"/>
                      <a:gd name="connsiteX47" fmla="*/ 1143316 w 1205880"/>
                      <a:gd name="connsiteY47" fmla="*/ 150261 h 351456"/>
                      <a:gd name="connsiteX48" fmla="*/ 1158506 w 1205880"/>
                      <a:gd name="connsiteY48" fmla="*/ 156359 h 351456"/>
                      <a:gd name="connsiteX49" fmla="*/ 1161863 w 1205880"/>
                      <a:gd name="connsiteY49" fmla="*/ 151534 h 351456"/>
                      <a:gd name="connsiteX50" fmla="*/ 589907 w 1205880"/>
                      <a:gd name="connsiteY50" fmla="*/ 112060 h 351456"/>
                      <a:gd name="connsiteX51" fmla="*/ 632837 w 1205880"/>
                      <a:gd name="connsiteY51" fmla="*/ 112060 h 351456"/>
                      <a:gd name="connsiteX52" fmla="*/ 632837 w 1205880"/>
                      <a:gd name="connsiteY52" fmla="*/ 124284 h 351456"/>
                      <a:gd name="connsiteX53" fmla="*/ 602173 w 1205880"/>
                      <a:gd name="connsiteY53" fmla="*/ 124284 h 351456"/>
                      <a:gd name="connsiteX54" fmla="*/ 602173 w 1205880"/>
                      <a:gd name="connsiteY54" fmla="*/ 142621 h 351456"/>
                      <a:gd name="connsiteX55" fmla="*/ 539311 w 1205880"/>
                      <a:gd name="connsiteY55" fmla="*/ 157902 h 351456"/>
                      <a:gd name="connsiteX56" fmla="*/ 557710 w 1205880"/>
                      <a:gd name="connsiteY56" fmla="*/ 142621 h 351456"/>
                      <a:gd name="connsiteX57" fmla="*/ 533178 w 1205880"/>
                      <a:gd name="connsiteY57" fmla="*/ 151790 h 351456"/>
                      <a:gd name="connsiteX58" fmla="*/ 545444 w 1205880"/>
                      <a:gd name="connsiteY58" fmla="*/ 136509 h 351456"/>
                      <a:gd name="connsiteX59" fmla="*/ 573042 w 1205880"/>
                      <a:gd name="connsiteY59" fmla="*/ 124284 h 351456"/>
                      <a:gd name="connsiteX60" fmla="*/ 573042 w 1205880"/>
                      <a:gd name="connsiteY60" fmla="*/ 136509 h 351456"/>
                      <a:gd name="connsiteX61" fmla="*/ 1135619 w 1205880"/>
                      <a:gd name="connsiteY61" fmla="*/ 104418 h 351456"/>
                      <a:gd name="connsiteX62" fmla="*/ 1168507 w 1205880"/>
                      <a:gd name="connsiteY62" fmla="*/ 104418 h 351456"/>
                      <a:gd name="connsiteX63" fmla="*/ 1156548 w 1205880"/>
                      <a:gd name="connsiteY63" fmla="*/ 116643 h 351456"/>
                      <a:gd name="connsiteX64" fmla="*/ 1141599 w 1205880"/>
                      <a:gd name="connsiteY64" fmla="*/ 110530 h 351456"/>
                      <a:gd name="connsiteX65" fmla="*/ 1150568 w 1205880"/>
                      <a:gd name="connsiteY65" fmla="*/ 128868 h 351456"/>
                      <a:gd name="connsiteX66" fmla="*/ 1141599 w 1205880"/>
                      <a:gd name="connsiteY66" fmla="*/ 116643 h 351456"/>
                      <a:gd name="connsiteX67" fmla="*/ 1123660 w 1205880"/>
                      <a:gd name="connsiteY67" fmla="*/ 134980 h 351456"/>
                      <a:gd name="connsiteX68" fmla="*/ 1193423 w 1205880"/>
                      <a:gd name="connsiteY68" fmla="*/ 99325 h 351456"/>
                      <a:gd name="connsiteX69" fmla="*/ 1193423 w 1205880"/>
                      <a:gd name="connsiteY69" fmla="*/ 105437 h 351456"/>
                      <a:gd name="connsiteX70" fmla="*/ 1174487 w 1205880"/>
                      <a:gd name="connsiteY70" fmla="*/ 135999 h 351456"/>
                      <a:gd name="connsiteX71" fmla="*/ 1146084 w 1205880"/>
                      <a:gd name="connsiteY71" fmla="*/ 145167 h 351456"/>
                      <a:gd name="connsiteX72" fmla="*/ 1174487 w 1205880"/>
                      <a:gd name="connsiteY72" fmla="*/ 123774 h 351456"/>
                      <a:gd name="connsiteX73" fmla="*/ 1168176 w 1205880"/>
                      <a:gd name="connsiteY73" fmla="*/ 123774 h 351456"/>
                      <a:gd name="connsiteX74" fmla="*/ 1174487 w 1205880"/>
                      <a:gd name="connsiteY74" fmla="*/ 105437 h 351456"/>
                      <a:gd name="connsiteX75" fmla="*/ 630345 w 1205880"/>
                      <a:gd name="connsiteY75" fmla="*/ 99325 h 351456"/>
                      <a:gd name="connsiteX76" fmla="*/ 645068 w 1205880"/>
                      <a:gd name="connsiteY76" fmla="*/ 99325 h 351456"/>
                      <a:gd name="connsiteX77" fmla="*/ 662735 w 1205880"/>
                      <a:gd name="connsiteY77" fmla="*/ 99325 h 351456"/>
                      <a:gd name="connsiteX78" fmla="*/ 636234 w 1205880"/>
                      <a:gd name="connsiteY78" fmla="*/ 104418 h 351456"/>
                      <a:gd name="connsiteX79" fmla="*/ 338843 w 1205880"/>
                      <a:gd name="connsiteY79" fmla="*/ 12734 h 351456"/>
                      <a:gd name="connsiteX80" fmla="*/ 338843 w 1205880"/>
                      <a:gd name="connsiteY80" fmla="*/ 25467 h 351456"/>
                      <a:gd name="connsiteX81" fmla="*/ 307699 w 1205880"/>
                      <a:gd name="connsiteY81" fmla="*/ 38201 h 351456"/>
                      <a:gd name="connsiteX82" fmla="*/ 289013 w 1205880"/>
                      <a:gd name="connsiteY82" fmla="*/ 19101 h 351456"/>
                      <a:gd name="connsiteX83" fmla="*/ 378706 w 1205880"/>
                      <a:gd name="connsiteY83" fmla="*/ 0 h 351456"/>
                      <a:gd name="connsiteX84" fmla="*/ 411096 w 1205880"/>
                      <a:gd name="connsiteY84" fmla="*/ 0 h 351456"/>
                      <a:gd name="connsiteX85" fmla="*/ 385184 w 1205880"/>
                      <a:gd name="connsiteY85" fmla="*/ 12734 h 35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05880" h="351456">
                        <a:moveTo>
                          <a:pt x="1086288" y="297974"/>
                        </a:moveTo>
                        <a:lnTo>
                          <a:pt x="1064971" y="331400"/>
                        </a:lnTo>
                        <a:lnTo>
                          <a:pt x="1071062" y="351456"/>
                        </a:lnTo>
                        <a:lnTo>
                          <a:pt x="1058881" y="324715"/>
                        </a:lnTo>
                        <a:lnTo>
                          <a:pt x="1064971" y="311345"/>
                        </a:lnTo>
                        <a:close/>
                        <a:moveTo>
                          <a:pt x="1158541" y="280147"/>
                        </a:moveTo>
                        <a:lnTo>
                          <a:pt x="1168507" y="285240"/>
                        </a:lnTo>
                        <a:lnTo>
                          <a:pt x="1158541" y="297974"/>
                        </a:lnTo>
                        <a:close/>
                        <a:moveTo>
                          <a:pt x="0" y="269959"/>
                        </a:moveTo>
                        <a:lnTo>
                          <a:pt x="27407" y="269959"/>
                        </a:lnTo>
                        <a:lnTo>
                          <a:pt x="0" y="285239"/>
                        </a:lnTo>
                        <a:close/>
                        <a:moveTo>
                          <a:pt x="1104227" y="264867"/>
                        </a:moveTo>
                        <a:lnTo>
                          <a:pt x="1098247" y="276907"/>
                        </a:lnTo>
                        <a:lnTo>
                          <a:pt x="1074329" y="282927"/>
                        </a:lnTo>
                        <a:lnTo>
                          <a:pt x="1080308" y="288946"/>
                        </a:lnTo>
                        <a:lnTo>
                          <a:pt x="1110206" y="270887"/>
                        </a:lnTo>
                        <a:lnTo>
                          <a:pt x="1116186" y="270887"/>
                        </a:lnTo>
                        <a:lnTo>
                          <a:pt x="1086288" y="291956"/>
                        </a:lnTo>
                        <a:lnTo>
                          <a:pt x="1071339" y="297976"/>
                        </a:lnTo>
                        <a:lnTo>
                          <a:pt x="1071339" y="270887"/>
                        </a:lnTo>
                        <a:close/>
                        <a:moveTo>
                          <a:pt x="161947" y="221570"/>
                        </a:moveTo>
                        <a:lnTo>
                          <a:pt x="161947" y="241435"/>
                        </a:lnTo>
                        <a:lnTo>
                          <a:pt x="104642" y="254679"/>
                        </a:lnTo>
                        <a:lnTo>
                          <a:pt x="104642" y="241435"/>
                        </a:lnTo>
                        <a:close/>
                        <a:moveTo>
                          <a:pt x="1205880" y="193556"/>
                        </a:moveTo>
                        <a:lnTo>
                          <a:pt x="1187194" y="221571"/>
                        </a:lnTo>
                        <a:lnTo>
                          <a:pt x="1174736" y="215345"/>
                        </a:lnTo>
                        <a:lnTo>
                          <a:pt x="1187194" y="206007"/>
                        </a:lnTo>
                        <a:lnTo>
                          <a:pt x="1168507" y="212233"/>
                        </a:lnTo>
                        <a:lnTo>
                          <a:pt x="1187194" y="199781"/>
                        </a:lnTo>
                        <a:close/>
                        <a:moveTo>
                          <a:pt x="1149028" y="175729"/>
                        </a:moveTo>
                        <a:lnTo>
                          <a:pt x="1158541" y="188152"/>
                        </a:lnTo>
                        <a:lnTo>
                          <a:pt x="1152199" y="220763"/>
                        </a:lnTo>
                        <a:lnTo>
                          <a:pt x="1136344" y="239398"/>
                        </a:lnTo>
                        <a:lnTo>
                          <a:pt x="1123660" y="211446"/>
                        </a:lnTo>
                        <a:lnTo>
                          <a:pt x="1142686" y="205234"/>
                        </a:lnTo>
                        <a:lnTo>
                          <a:pt x="1130002" y="199022"/>
                        </a:lnTo>
                        <a:lnTo>
                          <a:pt x="1152199" y="181941"/>
                        </a:lnTo>
                        <a:lnTo>
                          <a:pt x="1130002" y="188152"/>
                        </a:lnTo>
                        <a:close/>
                        <a:moveTo>
                          <a:pt x="1188439" y="145167"/>
                        </a:moveTo>
                        <a:lnTo>
                          <a:pt x="1175151" y="164267"/>
                        </a:lnTo>
                        <a:lnTo>
                          <a:pt x="1175151" y="151534"/>
                        </a:lnTo>
                        <a:lnTo>
                          <a:pt x="1168507" y="170634"/>
                        </a:lnTo>
                        <a:lnTo>
                          <a:pt x="1148575" y="170634"/>
                        </a:lnTo>
                        <a:lnTo>
                          <a:pt x="1158421" y="156481"/>
                        </a:lnTo>
                        <a:lnTo>
                          <a:pt x="1131135" y="180823"/>
                        </a:lnTo>
                        <a:lnTo>
                          <a:pt x="1143316" y="162486"/>
                        </a:lnTo>
                        <a:lnTo>
                          <a:pt x="1143316" y="150261"/>
                        </a:lnTo>
                        <a:lnTo>
                          <a:pt x="1158506" y="156359"/>
                        </a:lnTo>
                        <a:lnTo>
                          <a:pt x="1161863" y="151534"/>
                        </a:lnTo>
                        <a:close/>
                        <a:moveTo>
                          <a:pt x="589907" y="112060"/>
                        </a:moveTo>
                        <a:lnTo>
                          <a:pt x="632837" y="112060"/>
                        </a:lnTo>
                        <a:lnTo>
                          <a:pt x="632837" y="124284"/>
                        </a:lnTo>
                        <a:lnTo>
                          <a:pt x="602173" y="124284"/>
                        </a:lnTo>
                        <a:lnTo>
                          <a:pt x="602173" y="142621"/>
                        </a:lnTo>
                        <a:lnTo>
                          <a:pt x="539311" y="157902"/>
                        </a:lnTo>
                        <a:lnTo>
                          <a:pt x="557710" y="142621"/>
                        </a:lnTo>
                        <a:lnTo>
                          <a:pt x="533178" y="151790"/>
                        </a:lnTo>
                        <a:lnTo>
                          <a:pt x="545444" y="136509"/>
                        </a:lnTo>
                        <a:lnTo>
                          <a:pt x="573042" y="124284"/>
                        </a:lnTo>
                        <a:lnTo>
                          <a:pt x="573042" y="136509"/>
                        </a:lnTo>
                        <a:close/>
                        <a:moveTo>
                          <a:pt x="1135619" y="104418"/>
                        </a:moveTo>
                        <a:lnTo>
                          <a:pt x="1168507" y="104418"/>
                        </a:lnTo>
                        <a:lnTo>
                          <a:pt x="1156548" y="116643"/>
                        </a:lnTo>
                        <a:lnTo>
                          <a:pt x="1141599" y="110530"/>
                        </a:lnTo>
                        <a:lnTo>
                          <a:pt x="1150568" y="128868"/>
                        </a:lnTo>
                        <a:lnTo>
                          <a:pt x="1141599" y="116643"/>
                        </a:lnTo>
                        <a:lnTo>
                          <a:pt x="1123660" y="134980"/>
                        </a:lnTo>
                        <a:close/>
                        <a:moveTo>
                          <a:pt x="1193423" y="99325"/>
                        </a:moveTo>
                        <a:lnTo>
                          <a:pt x="1193423" y="105437"/>
                        </a:lnTo>
                        <a:lnTo>
                          <a:pt x="1174487" y="135999"/>
                        </a:lnTo>
                        <a:lnTo>
                          <a:pt x="1146084" y="145167"/>
                        </a:lnTo>
                        <a:lnTo>
                          <a:pt x="1174487" y="123774"/>
                        </a:lnTo>
                        <a:lnTo>
                          <a:pt x="1168176" y="123774"/>
                        </a:lnTo>
                        <a:lnTo>
                          <a:pt x="1174487" y="105437"/>
                        </a:lnTo>
                        <a:close/>
                        <a:moveTo>
                          <a:pt x="630345" y="99325"/>
                        </a:moveTo>
                        <a:lnTo>
                          <a:pt x="645068" y="99325"/>
                        </a:lnTo>
                        <a:lnTo>
                          <a:pt x="662735" y="99325"/>
                        </a:lnTo>
                        <a:lnTo>
                          <a:pt x="636234" y="104418"/>
                        </a:lnTo>
                        <a:close/>
                        <a:moveTo>
                          <a:pt x="338843" y="12734"/>
                        </a:moveTo>
                        <a:lnTo>
                          <a:pt x="338843" y="25467"/>
                        </a:lnTo>
                        <a:lnTo>
                          <a:pt x="307699" y="38201"/>
                        </a:lnTo>
                        <a:lnTo>
                          <a:pt x="289013" y="19101"/>
                        </a:lnTo>
                        <a:close/>
                        <a:moveTo>
                          <a:pt x="378706" y="0"/>
                        </a:moveTo>
                        <a:lnTo>
                          <a:pt x="411096" y="0"/>
                        </a:lnTo>
                        <a:lnTo>
                          <a:pt x="385184" y="12734"/>
                        </a:lnTo>
                        <a:close/>
                      </a:path>
                    </a:pathLst>
                  </a:custGeom>
                  <a:solidFill>
                    <a:srgbClr val="E6E6E6"/>
                  </a:solid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oAutofit/>
                  </a:bodyPr>
                  <a:lstStyle/>
                  <a:p>
                    <a:endParaRPr lang="en-GB">
                      <a:solidFill>
                        <a:srgbClr val="283E36"/>
                      </a:solidFill>
                      <a:latin typeface="SwissReSans"/>
                    </a:endParaRPr>
                  </a:p>
                </p:txBody>
              </p:sp>
              <p:sp>
                <p:nvSpPr>
                  <p:cNvPr id="844" name="vMap : Alaska (Mainland)">
                    <a:extLst>
                      <a:ext uri="{FF2B5EF4-FFF2-40B4-BE49-F238E27FC236}">
                        <a16:creationId xmlns:a16="http://schemas.microsoft.com/office/drawing/2014/main" xmlns="" id="{91CF0268-D3F9-F54B-AC62-317D5C2E2CEC}"/>
                      </a:ext>
                    </a:extLst>
                  </p:cNvPr>
                  <p:cNvSpPr>
                    <a:spLocks noChangeAspect="1"/>
                  </p:cNvSpPr>
                  <p:nvPr>
                    <p:custDataLst>
                      <p:tags r:id="rId339"/>
                    </p:custDataLst>
                  </p:nvPr>
                </p:nvSpPr>
                <p:spPr bwMode="gray">
                  <a:xfrm>
                    <a:off x="-44341" y="732312"/>
                    <a:ext cx="1340420" cy="634150"/>
                  </a:xfrm>
                  <a:custGeom>
                    <a:avLst/>
                    <a:gdLst>
                      <a:gd name="T0" fmla="*/ 331 w 874"/>
                      <a:gd name="T1" fmla="*/ 14 h 404"/>
                      <a:gd name="T2" fmla="*/ 238 w 874"/>
                      <a:gd name="T3" fmla="*/ 103 h 404"/>
                      <a:gd name="T4" fmla="*/ 263 w 874"/>
                      <a:gd name="T5" fmla="*/ 116 h 404"/>
                      <a:gd name="T6" fmla="*/ 257 w 874"/>
                      <a:gd name="T7" fmla="*/ 152 h 404"/>
                      <a:gd name="T8" fmla="*/ 260 w 874"/>
                      <a:gd name="T9" fmla="*/ 141 h 404"/>
                      <a:gd name="T10" fmla="*/ 257 w 874"/>
                      <a:gd name="T11" fmla="*/ 141 h 404"/>
                      <a:gd name="T12" fmla="*/ 257 w 874"/>
                      <a:gd name="T13" fmla="*/ 125 h 404"/>
                      <a:gd name="T14" fmla="*/ 249 w 874"/>
                      <a:gd name="T15" fmla="*/ 120 h 404"/>
                      <a:gd name="T16" fmla="*/ 238 w 874"/>
                      <a:gd name="T17" fmla="*/ 120 h 404"/>
                      <a:gd name="T18" fmla="*/ 225 w 874"/>
                      <a:gd name="T19" fmla="*/ 109 h 404"/>
                      <a:gd name="T20" fmla="*/ 235 w 874"/>
                      <a:gd name="T21" fmla="*/ 103 h 404"/>
                      <a:gd name="T22" fmla="*/ 198 w 874"/>
                      <a:gd name="T23" fmla="*/ 99 h 404"/>
                      <a:gd name="T24" fmla="*/ 190 w 874"/>
                      <a:gd name="T25" fmla="*/ 96 h 404"/>
                      <a:gd name="T26" fmla="*/ 175 w 874"/>
                      <a:gd name="T27" fmla="*/ 96 h 404"/>
                      <a:gd name="T28" fmla="*/ 177 w 874"/>
                      <a:gd name="T29" fmla="*/ 99 h 404"/>
                      <a:gd name="T30" fmla="*/ 147 w 874"/>
                      <a:gd name="T31" fmla="*/ 109 h 404"/>
                      <a:gd name="T32" fmla="*/ 147 w 874"/>
                      <a:gd name="T33" fmla="*/ 106 h 404"/>
                      <a:gd name="T34" fmla="*/ 174 w 874"/>
                      <a:gd name="T35" fmla="*/ 94 h 404"/>
                      <a:gd name="T36" fmla="*/ 168 w 874"/>
                      <a:gd name="T37" fmla="*/ 92 h 404"/>
                      <a:gd name="T38" fmla="*/ 137 w 874"/>
                      <a:gd name="T39" fmla="*/ 102 h 404"/>
                      <a:gd name="T40" fmla="*/ 114 w 874"/>
                      <a:gd name="T41" fmla="*/ 112 h 404"/>
                      <a:gd name="T42" fmla="*/ 90 w 874"/>
                      <a:gd name="T43" fmla="*/ 125 h 404"/>
                      <a:gd name="T44" fmla="*/ 47 w 874"/>
                      <a:gd name="T45" fmla="*/ 141 h 404"/>
                      <a:gd name="T46" fmla="*/ 18 w 874"/>
                      <a:gd name="T47" fmla="*/ 148 h 404"/>
                      <a:gd name="T48" fmla="*/ 9 w 874"/>
                      <a:gd name="T49" fmla="*/ 149 h 404"/>
                      <a:gd name="T50" fmla="*/ 27 w 874"/>
                      <a:gd name="T51" fmla="*/ 142 h 404"/>
                      <a:gd name="T52" fmla="*/ 39 w 874"/>
                      <a:gd name="T53" fmla="*/ 138 h 404"/>
                      <a:gd name="T54" fmla="*/ 97 w 874"/>
                      <a:gd name="T55" fmla="*/ 112 h 404"/>
                      <a:gd name="T56" fmla="*/ 73 w 874"/>
                      <a:gd name="T57" fmla="*/ 119 h 404"/>
                      <a:gd name="T58" fmla="*/ 73 w 874"/>
                      <a:gd name="T59" fmla="*/ 110 h 404"/>
                      <a:gd name="T60" fmla="*/ 60 w 874"/>
                      <a:gd name="T61" fmla="*/ 110 h 404"/>
                      <a:gd name="T62" fmla="*/ 57 w 874"/>
                      <a:gd name="T63" fmla="*/ 107 h 404"/>
                      <a:gd name="T64" fmla="*/ 57 w 874"/>
                      <a:gd name="T65" fmla="*/ 104 h 404"/>
                      <a:gd name="T66" fmla="*/ 57 w 874"/>
                      <a:gd name="T67" fmla="*/ 94 h 404"/>
                      <a:gd name="T68" fmla="*/ 73 w 874"/>
                      <a:gd name="T69" fmla="*/ 81 h 404"/>
                      <a:gd name="T70" fmla="*/ 126 w 874"/>
                      <a:gd name="T71" fmla="*/ 67 h 404"/>
                      <a:gd name="T72" fmla="*/ 130 w 874"/>
                      <a:gd name="T73" fmla="*/ 58 h 404"/>
                      <a:gd name="T74" fmla="*/ 96 w 874"/>
                      <a:gd name="T75" fmla="*/ 60 h 404"/>
                      <a:gd name="T76" fmla="*/ 97 w 874"/>
                      <a:gd name="T77" fmla="*/ 51 h 404"/>
                      <a:gd name="T78" fmla="*/ 132 w 874"/>
                      <a:gd name="T79" fmla="*/ 44 h 404"/>
                      <a:gd name="T80" fmla="*/ 155 w 874"/>
                      <a:gd name="T81" fmla="*/ 44 h 404"/>
                      <a:gd name="T82" fmla="*/ 158 w 874"/>
                      <a:gd name="T83" fmla="*/ 43 h 404"/>
                      <a:gd name="T84" fmla="*/ 155 w 874"/>
                      <a:gd name="T85" fmla="*/ 41 h 404"/>
                      <a:gd name="T86" fmla="*/ 151 w 874"/>
                      <a:gd name="T87" fmla="*/ 32 h 404"/>
                      <a:gd name="T88" fmla="*/ 153 w 874"/>
                      <a:gd name="T89" fmla="*/ 22 h 404"/>
                      <a:gd name="T90" fmla="*/ 187 w 874"/>
                      <a:gd name="T91" fmla="*/ 14 h 404"/>
                      <a:gd name="T92" fmla="*/ 212 w 874"/>
                      <a:gd name="T93" fmla="*/ 10 h 404"/>
                      <a:gd name="T94" fmla="*/ 235 w 874"/>
                      <a:gd name="T95" fmla="*/ 4 h 404"/>
                      <a:gd name="T96" fmla="*/ 244 w 874"/>
                      <a:gd name="T97" fmla="*/ 4 h 404"/>
                      <a:gd name="T98" fmla="*/ 274 w 874"/>
                      <a:gd name="T99" fmla="*/ 4 h 4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74" h="404">
                        <a:moveTo>
                          <a:pt x="715" y="18"/>
                        </a:moveTo>
                        <a:lnTo>
                          <a:pt x="852" y="26"/>
                        </a:lnTo>
                        <a:lnTo>
                          <a:pt x="874" y="38"/>
                        </a:lnTo>
                        <a:lnTo>
                          <a:pt x="595" y="267"/>
                        </a:lnTo>
                        <a:lnTo>
                          <a:pt x="635" y="267"/>
                        </a:lnTo>
                        <a:lnTo>
                          <a:pt x="627" y="271"/>
                        </a:lnTo>
                        <a:lnTo>
                          <a:pt x="627" y="301"/>
                        </a:lnTo>
                        <a:lnTo>
                          <a:pt x="691" y="279"/>
                        </a:lnTo>
                        <a:lnTo>
                          <a:pt x="695" y="305"/>
                        </a:lnTo>
                        <a:lnTo>
                          <a:pt x="681" y="359"/>
                        </a:lnTo>
                        <a:lnTo>
                          <a:pt x="703" y="375"/>
                        </a:lnTo>
                        <a:lnTo>
                          <a:pt x="677" y="400"/>
                        </a:lnTo>
                        <a:lnTo>
                          <a:pt x="657" y="404"/>
                        </a:lnTo>
                        <a:lnTo>
                          <a:pt x="673" y="396"/>
                        </a:lnTo>
                        <a:lnTo>
                          <a:pt x="685" y="371"/>
                        </a:lnTo>
                        <a:lnTo>
                          <a:pt x="649" y="386"/>
                        </a:lnTo>
                        <a:lnTo>
                          <a:pt x="665" y="371"/>
                        </a:lnTo>
                        <a:lnTo>
                          <a:pt x="677" y="371"/>
                        </a:lnTo>
                        <a:lnTo>
                          <a:pt x="665" y="345"/>
                        </a:lnTo>
                        <a:lnTo>
                          <a:pt x="677" y="341"/>
                        </a:lnTo>
                        <a:lnTo>
                          <a:pt x="677" y="329"/>
                        </a:lnTo>
                        <a:lnTo>
                          <a:pt x="685" y="317"/>
                        </a:lnTo>
                        <a:lnTo>
                          <a:pt x="669" y="313"/>
                        </a:lnTo>
                        <a:lnTo>
                          <a:pt x="657" y="317"/>
                        </a:lnTo>
                        <a:lnTo>
                          <a:pt x="645" y="313"/>
                        </a:lnTo>
                        <a:lnTo>
                          <a:pt x="645" y="309"/>
                        </a:lnTo>
                        <a:lnTo>
                          <a:pt x="627" y="317"/>
                        </a:lnTo>
                        <a:lnTo>
                          <a:pt x="615" y="297"/>
                        </a:lnTo>
                        <a:lnTo>
                          <a:pt x="611" y="295"/>
                        </a:lnTo>
                        <a:lnTo>
                          <a:pt x="595" y="287"/>
                        </a:lnTo>
                        <a:lnTo>
                          <a:pt x="611" y="283"/>
                        </a:lnTo>
                        <a:lnTo>
                          <a:pt x="623" y="275"/>
                        </a:lnTo>
                        <a:lnTo>
                          <a:pt x="619" y="271"/>
                        </a:lnTo>
                        <a:lnTo>
                          <a:pt x="589" y="279"/>
                        </a:lnTo>
                        <a:lnTo>
                          <a:pt x="531" y="271"/>
                        </a:lnTo>
                        <a:lnTo>
                          <a:pt x="523" y="259"/>
                        </a:lnTo>
                        <a:lnTo>
                          <a:pt x="496" y="255"/>
                        </a:lnTo>
                        <a:lnTo>
                          <a:pt x="511" y="251"/>
                        </a:lnTo>
                        <a:lnTo>
                          <a:pt x="500" y="251"/>
                        </a:lnTo>
                        <a:lnTo>
                          <a:pt x="519" y="245"/>
                        </a:lnTo>
                        <a:lnTo>
                          <a:pt x="494" y="245"/>
                        </a:lnTo>
                        <a:lnTo>
                          <a:pt x="462" y="251"/>
                        </a:lnTo>
                        <a:lnTo>
                          <a:pt x="470" y="255"/>
                        </a:lnTo>
                        <a:lnTo>
                          <a:pt x="454" y="259"/>
                        </a:lnTo>
                        <a:lnTo>
                          <a:pt x="466" y="259"/>
                        </a:lnTo>
                        <a:lnTo>
                          <a:pt x="444" y="271"/>
                        </a:lnTo>
                        <a:lnTo>
                          <a:pt x="428" y="271"/>
                        </a:lnTo>
                        <a:lnTo>
                          <a:pt x="386" y="287"/>
                        </a:lnTo>
                        <a:lnTo>
                          <a:pt x="354" y="295"/>
                        </a:lnTo>
                        <a:lnTo>
                          <a:pt x="362" y="287"/>
                        </a:lnTo>
                        <a:lnTo>
                          <a:pt x="386" y="279"/>
                        </a:lnTo>
                        <a:lnTo>
                          <a:pt x="370" y="279"/>
                        </a:lnTo>
                        <a:lnTo>
                          <a:pt x="412" y="251"/>
                        </a:lnTo>
                        <a:lnTo>
                          <a:pt x="458" y="249"/>
                        </a:lnTo>
                        <a:lnTo>
                          <a:pt x="448" y="245"/>
                        </a:lnTo>
                        <a:lnTo>
                          <a:pt x="474" y="233"/>
                        </a:lnTo>
                        <a:lnTo>
                          <a:pt x="444" y="241"/>
                        </a:lnTo>
                        <a:lnTo>
                          <a:pt x="440" y="241"/>
                        </a:lnTo>
                        <a:lnTo>
                          <a:pt x="370" y="267"/>
                        </a:lnTo>
                        <a:lnTo>
                          <a:pt x="362" y="267"/>
                        </a:lnTo>
                        <a:lnTo>
                          <a:pt x="362" y="271"/>
                        </a:lnTo>
                        <a:lnTo>
                          <a:pt x="316" y="287"/>
                        </a:lnTo>
                        <a:lnTo>
                          <a:pt x="302" y="295"/>
                        </a:lnTo>
                        <a:lnTo>
                          <a:pt x="312" y="301"/>
                        </a:lnTo>
                        <a:lnTo>
                          <a:pt x="278" y="317"/>
                        </a:lnTo>
                        <a:lnTo>
                          <a:pt x="237" y="329"/>
                        </a:lnTo>
                        <a:lnTo>
                          <a:pt x="157" y="363"/>
                        </a:lnTo>
                        <a:lnTo>
                          <a:pt x="129" y="363"/>
                        </a:lnTo>
                        <a:lnTo>
                          <a:pt x="125" y="371"/>
                        </a:lnTo>
                        <a:lnTo>
                          <a:pt x="91" y="386"/>
                        </a:lnTo>
                        <a:lnTo>
                          <a:pt x="95" y="378"/>
                        </a:lnTo>
                        <a:lnTo>
                          <a:pt x="49" y="390"/>
                        </a:lnTo>
                        <a:lnTo>
                          <a:pt x="53" y="382"/>
                        </a:lnTo>
                        <a:lnTo>
                          <a:pt x="29" y="396"/>
                        </a:lnTo>
                        <a:lnTo>
                          <a:pt x="23" y="392"/>
                        </a:lnTo>
                        <a:lnTo>
                          <a:pt x="0" y="400"/>
                        </a:lnTo>
                        <a:lnTo>
                          <a:pt x="4" y="396"/>
                        </a:lnTo>
                        <a:lnTo>
                          <a:pt x="71" y="375"/>
                        </a:lnTo>
                        <a:lnTo>
                          <a:pt x="87" y="378"/>
                        </a:lnTo>
                        <a:lnTo>
                          <a:pt x="83" y="375"/>
                        </a:lnTo>
                        <a:lnTo>
                          <a:pt x="103" y="363"/>
                        </a:lnTo>
                        <a:lnTo>
                          <a:pt x="175" y="341"/>
                        </a:lnTo>
                        <a:lnTo>
                          <a:pt x="225" y="309"/>
                        </a:lnTo>
                        <a:lnTo>
                          <a:pt x="257" y="295"/>
                        </a:lnTo>
                        <a:lnTo>
                          <a:pt x="213" y="305"/>
                        </a:lnTo>
                        <a:lnTo>
                          <a:pt x="217" y="297"/>
                        </a:lnTo>
                        <a:lnTo>
                          <a:pt x="191" y="313"/>
                        </a:lnTo>
                        <a:lnTo>
                          <a:pt x="195" y="301"/>
                        </a:lnTo>
                        <a:lnTo>
                          <a:pt x="179" y="297"/>
                        </a:lnTo>
                        <a:lnTo>
                          <a:pt x="191" y="291"/>
                        </a:lnTo>
                        <a:lnTo>
                          <a:pt x="137" y="305"/>
                        </a:lnTo>
                        <a:lnTo>
                          <a:pt x="161" y="295"/>
                        </a:lnTo>
                        <a:lnTo>
                          <a:pt x="157" y="291"/>
                        </a:lnTo>
                        <a:lnTo>
                          <a:pt x="171" y="287"/>
                        </a:lnTo>
                        <a:lnTo>
                          <a:pt x="183" y="267"/>
                        </a:lnTo>
                        <a:lnTo>
                          <a:pt x="149" y="283"/>
                        </a:lnTo>
                        <a:lnTo>
                          <a:pt x="137" y="279"/>
                        </a:lnTo>
                        <a:lnTo>
                          <a:pt x="137" y="275"/>
                        </a:lnTo>
                        <a:lnTo>
                          <a:pt x="149" y="275"/>
                        </a:lnTo>
                        <a:lnTo>
                          <a:pt x="141" y="267"/>
                        </a:lnTo>
                        <a:lnTo>
                          <a:pt x="175" y="251"/>
                        </a:lnTo>
                        <a:lnTo>
                          <a:pt x="149" y="249"/>
                        </a:lnTo>
                        <a:lnTo>
                          <a:pt x="161" y="237"/>
                        </a:lnTo>
                        <a:lnTo>
                          <a:pt x="149" y="237"/>
                        </a:lnTo>
                        <a:lnTo>
                          <a:pt x="191" y="213"/>
                        </a:lnTo>
                        <a:lnTo>
                          <a:pt x="245" y="199"/>
                        </a:lnTo>
                        <a:lnTo>
                          <a:pt x="312" y="183"/>
                        </a:lnTo>
                        <a:lnTo>
                          <a:pt x="332" y="175"/>
                        </a:lnTo>
                        <a:lnTo>
                          <a:pt x="340" y="159"/>
                        </a:lnTo>
                        <a:lnTo>
                          <a:pt x="362" y="153"/>
                        </a:lnTo>
                        <a:lnTo>
                          <a:pt x="344" y="153"/>
                        </a:lnTo>
                        <a:lnTo>
                          <a:pt x="308" y="167"/>
                        </a:lnTo>
                        <a:lnTo>
                          <a:pt x="312" y="155"/>
                        </a:lnTo>
                        <a:lnTo>
                          <a:pt x="253" y="159"/>
                        </a:lnTo>
                        <a:lnTo>
                          <a:pt x="263" y="145"/>
                        </a:lnTo>
                        <a:lnTo>
                          <a:pt x="278" y="141"/>
                        </a:lnTo>
                        <a:lnTo>
                          <a:pt x="257" y="133"/>
                        </a:lnTo>
                        <a:lnTo>
                          <a:pt x="352" y="109"/>
                        </a:lnTo>
                        <a:lnTo>
                          <a:pt x="370" y="109"/>
                        </a:lnTo>
                        <a:lnTo>
                          <a:pt x="348" y="117"/>
                        </a:lnTo>
                        <a:lnTo>
                          <a:pt x="352" y="121"/>
                        </a:lnTo>
                        <a:lnTo>
                          <a:pt x="382" y="125"/>
                        </a:lnTo>
                        <a:lnTo>
                          <a:pt x="408" y="117"/>
                        </a:lnTo>
                        <a:lnTo>
                          <a:pt x="390" y="117"/>
                        </a:lnTo>
                        <a:lnTo>
                          <a:pt x="402" y="109"/>
                        </a:lnTo>
                        <a:lnTo>
                          <a:pt x="416" y="113"/>
                        </a:lnTo>
                        <a:lnTo>
                          <a:pt x="444" y="109"/>
                        </a:lnTo>
                        <a:lnTo>
                          <a:pt x="408" y="109"/>
                        </a:lnTo>
                        <a:lnTo>
                          <a:pt x="408" y="107"/>
                        </a:lnTo>
                        <a:lnTo>
                          <a:pt x="420" y="99"/>
                        </a:lnTo>
                        <a:lnTo>
                          <a:pt x="386" y="99"/>
                        </a:lnTo>
                        <a:lnTo>
                          <a:pt x="398" y="84"/>
                        </a:lnTo>
                        <a:lnTo>
                          <a:pt x="374" y="68"/>
                        </a:lnTo>
                        <a:lnTo>
                          <a:pt x="394" y="64"/>
                        </a:lnTo>
                        <a:lnTo>
                          <a:pt x="404" y="58"/>
                        </a:lnTo>
                        <a:lnTo>
                          <a:pt x="448" y="54"/>
                        </a:lnTo>
                        <a:lnTo>
                          <a:pt x="494" y="42"/>
                        </a:lnTo>
                        <a:lnTo>
                          <a:pt x="494" y="38"/>
                        </a:lnTo>
                        <a:lnTo>
                          <a:pt x="531" y="22"/>
                        </a:lnTo>
                        <a:lnTo>
                          <a:pt x="569" y="18"/>
                        </a:lnTo>
                        <a:lnTo>
                          <a:pt x="561" y="26"/>
                        </a:lnTo>
                        <a:lnTo>
                          <a:pt x="581" y="18"/>
                        </a:lnTo>
                        <a:lnTo>
                          <a:pt x="585" y="14"/>
                        </a:lnTo>
                        <a:lnTo>
                          <a:pt x="619" y="12"/>
                        </a:lnTo>
                        <a:lnTo>
                          <a:pt x="657" y="0"/>
                        </a:lnTo>
                        <a:lnTo>
                          <a:pt x="673" y="4"/>
                        </a:lnTo>
                        <a:lnTo>
                          <a:pt x="645" y="12"/>
                        </a:lnTo>
                        <a:lnTo>
                          <a:pt x="657" y="14"/>
                        </a:lnTo>
                        <a:lnTo>
                          <a:pt x="681" y="8"/>
                        </a:lnTo>
                        <a:lnTo>
                          <a:pt x="723" y="12"/>
                        </a:lnTo>
                        <a:lnTo>
                          <a:pt x="715" y="18"/>
                        </a:lnTo>
                      </a:path>
                    </a:pathLst>
                  </a:custGeom>
                  <a:solidFill>
                    <a:srgbClr val="FFCF97"/>
                  </a:solid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514" name="vMap : The Bahamas">
                  <a:extLst>
                    <a:ext uri="{FF2B5EF4-FFF2-40B4-BE49-F238E27FC236}">
                      <a16:creationId xmlns:a16="http://schemas.microsoft.com/office/drawing/2014/main" xmlns="" id="{8001B113-C2E8-F248-8A3E-97FF4633DBFC}"/>
                    </a:ext>
                  </a:extLst>
                </p:cNvPr>
                <p:cNvGrpSpPr/>
                <p:nvPr/>
              </p:nvGrpSpPr>
              <p:grpSpPr>
                <a:xfrm>
                  <a:off x="2340845" y="3523809"/>
                  <a:ext cx="95841" cy="119735"/>
                  <a:chOff x="2535665" y="2763015"/>
                  <a:chExt cx="156964" cy="196103"/>
                </a:xfrm>
                <a:solidFill>
                  <a:srgbClr val="0F4DBC"/>
                </a:solidFill>
              </p:grpSpPr>
              <p:sp>
                <p:nvSpPr>
                  <p:cNvPr id="839" name="vMap : The Bahamas (Island)">
                    <a:extLst>
                      <a:ext uri="{FF2B5EF4-FFF2-40B4-BE49-F238E27FC236}">
                        <a16:creationId xmlns:a16="http://schemas.microsoft.com/office/drawing/2014/main" xmlns="" id="{E0F9C00D-EDD2-8644-A26C-FF1DCB4D3CD2}"/>
                      </a:ext>
                    </a:extLst>
                  </p:cNvPr>
                  <p:cNvSpPr>
                    <a:spLocks noChangeAspect="1"/>
                  </p:cNvSpPr>
                  <p:nvPr>
                    <p:custDataLst>
                      <p:tags r:id="rId334"/>
                    </p:custDataLst>
                  </p:nvPr>
                </p:nvSpPr>
                <p:spPr bwMode="gray">
                  <a:xfrm>
                    <a:off x="2535665" y="2763015"/>
                    <a:ext cx="37373" cy="12734"/>
                  </a:xfrm>
                  <a:custGeom>
                    <a:avLst/>
                    <a:gdLst>
                      <a:gd name="T0" fmla="*/ 8 w 26"/>
                      <a:gd name="T1" fmla="*/ 0 h 8"/>
                      <a:gd name="T2" fmla="*/ 9 w 26"/>
                      <a:gd name="T3" fmla="*/ 3 h 8"/>
                      <a:gd name="T4" fmla="*/ 0 w 26"/>
                      <a:gd name="T5" fmla="*/ 2 h 8"/>
                      <a:gd name="T6" fmla="*/ 8 w 26"/>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8">
                        <a:moveTo>
                          <a:pt x="22" y="0"/>
                        </a:moveTo>
                        <a:lnTo>
                          <a:pt x="26" y="8"/>
                        </a:lnTo>
                        <a:lnTo>
                          <a:pt x="0" y="4"/>
                        </a:lnTo>
                        <a:lnTo>
                          <a:pt x="2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0" name="vMap : The Bahamas (Island)">
                    <a:extLst>
                      <a:ext uri="{FF2B5EF4-FFF2-40B4-BE49-F238E27FC236}">
                        <a16:creationId xmlns:a16="http://schemas.microsoft.com/office/drawing/2014/main" xmlns="" id="{70F68B92-B952-6A49-BED5-BB29B722A186}"/>
                      </a:ext>
                    </a:extLst>
                  </p:cNvPr>
                  <p:cNvSpPr>
                    <a:spLocks noChangeAspect="1"/>
                  </p:cNvSpPr>
                  <p:nvPr>
                    <p:custDataLst>
                      <p:tags r:id="rId335"/>
                    </p:custDataLst>
                  </p:nvPr>
                </p:nvSpPr>
                <p:spPr bwMode="gray">
                  <a:xfrm>
                    <a:off x="2675188" y="2938744"/>
                    <a:ext cx="17441" cy="20374"/>
                  </a:xfrm>
                  <a:custGeom>
                    <a:avLst/>
                    <a:gdLst>
                      <a:gd name="T0" fmla="*/ 3 w 12"/>
                      <a:gd name="T1" fmla="*/ 3 h 14"/>
                      <a:gd name="T2" fmla="*/ 0 w 12"/>
                      <a:gd name="T3" fmla="*/ 0 h 14"/>
                      <a:gd name="T4" fmla="*/ 4 w 12"/>
                      <a:gd name="T5" fmla="*/ 1 h 14"/>
                      <a:gd name="T6" fmla="*/ 1 w 12"/>
                      <a:gd name="T7" fmla="*/ 5 h 14"/>
                      <a:gd name="T8" fmla="*/ 3 w 12"/>
                      <a:gd name="T9" fmla="*/ 3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4">
                        <a:moveTo>
                          <a:pt x="8" y="8"/>
                        </a:moveTo>
                        <a:lnTo>
                          <a:pt x="0" y="0"/>
                        </a:lnTo>
                        <a:lnTo>
                          <a:pt x="12" y="4"/>
                        </a:lnTo>
                        <a:lnTo>
                          <a:pt x="4" y="14"/>
                        </a:lnTo>
                        <a:lnTo>
                          <a:pt x="8"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1" name="vMap : The Bahamas (Island)">
                    <a:extLst>
                      <a:ext uri="{FF2B5EF4-FFF2-40B4-BE49-F238E27FC236}">
                        <a16:creationId xmlns:a16="http://schemas.microsoft.com/office/drawing/2014/main" xmlns="" id="{3712BF4C-5C1D-AA48-B52B-E96FC47639F0}"/>
                      </a:ext>
                    </a:extLst>
                  </p:cNvPr>
                  <p:cNvSpPr>
                    <a:spLocks noChangeAspect="1"/>
                  </p:cNvSpPr>
                  <p:nvPr>
                    <p:custDataLst>
                      <p:tags r:id="rId336"/>
                    </p:custDataLst>
                  </p:nvPr>
                </p:nvSpPr>
                <p:spPr bwMode="gray">
                  <a:xfrm>
                    <a:off x="2540648" y="2839419"/>
                    <a:ext cx="19932" cy="30562"/>
                  </a:xfrm>
                  <a:custGeom>
                    <a:avLst/>
                    <a:gdLst>
                      <a:gd name="T0" fmla="*/ 5 w 12"/>
                      <a:gd name="T1" fmla="*/ 0 h 19"/>
                      <a:gd name="T2" fmla="*/ 5 w 12"/>
                      <a:gd name="T3" fmla="*/ 8 h 19"/>
                      <a:gd name="T4" fmla="*/ 0 w 12"/>
                      <a:gd name="T5" fmla="*/ 3 h 19"/>
                      <a:gd name="T6" fmla="*/ 5 w 12"/>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9">
                        <a:moveTo>
                          <a:pt x="12" y="0"/>
                        </a:moveTo>
                        <a:lnTo>
                          <a:pt x="12" y="19"/>
                        </a:lnTo>
                        <a:lnTo>
                          <a:pt x="0" y="7"/>
                        </a:lnTo>
                        <a:lnTo>
                          <a:pt x="1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42" name="vMap : The Bahamas (Island)">
                    <a:extLst>
                      <a:ext uri="{FF2B5EF4-FFF2-40B4-BE49-F238E27FC236}">
                        <a16:creationId xmlns:a16="http://schemas.microsoft.com/office/drawing/2014/main" xmlns="" id="{F67A4631-54B0-CB46-B57B-0281AC8CD550}"/>
                      </a:ext>
                    </a:extLst>
                  </p:cNvPr>
                  <p:cNvSpPr>
                    <a:spLocks noChangeAspect="1"/>
                  </p:cNvSpPr>
                  <p:nvPr>
                    <p:custDataLst>
                      <p:tags r:id="rId337"/>
                    </p:custDataLst>
                  </p:nvPr>
                </p:nvSpPr>
                <p:spPr bwMode="gray">
                  <a:xfrm>
                    <a:off x="2560579" y="2877621"/>
                    <a:ext cx="4983" cy="17827"/>
                  </a:xfrm>
                  <a:custGeom>
                    <a:avLst/>
                    <a:gdLst>
                      <a:gd name="T0" fmla="*/ 0 w 4"/>
                      <a:gd name="T1" fmla="*/ 2 h 10"/>
                      <a:gd name="T2" fmla="*/ 1 w 4"/>
                      <a:gd name="T3" fmla="*/ 0 h 10"/>
                      <a:gd name="T4" fmla="*/ 1 w 4"/>
                      <a:gd name="T5" fmla="*/ 5 h 10"/>
                      <a:gd name="T6" fmla="*/ 0 w 4"/>
                      <a:gd name="T7" fmla="*/ 2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10">
                        <a:moveTo>
                          <a:pt x="0" y="4"/>
                        </a:moveTo>
                        <a:lnTo>
                          <a:pt x="4" y="0"/>
                        </a:lnTo>
                        <a:lnTo>
                          <a:pt x="4" y="10"/>
                        </a:lnTo>
                        <a:lnTo>
                          <a:pt x="0" y="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15" name="vMap : Greenland">
                  <a:extLst>
                    <a:ext uri="{FF2B5EF4-FFF2-40B4-BE49-F238E27FC236}">
                      <a16:creationId xmlns:a16="http://schemas.microsoft.com/office/drawing/2014/main" xmlns="" id="{80F96280-C87B-7741-81B7-DE5827600C9A}"/>
                    </a:ext>
                  </a:extLst>
                </p:cNvPr>
                <p:cNvSpPr>
                  <a:spLocks noChangeAspect="1"/>
                </p:cNvSpPr>
                <p:nvPr>
                  <p:custDataLst>
                    <p:tags r:id="rId32"/>
                  </p:custDataLst>
                </p:nvPr>
              </p:nvSpPr>
              <p:spPr bwMode="gray">
                <a:xfrm>
                  <a:off x="3101486" y="2177179"/>
                  <a:ext cx="903641" cy="492936"/>
                </a:xfrm>
                <a:custGeom>
                  <a:avLst/>
                  <a:gdLst>
                    <a:gd name="connsiteX0" fmla="*/ 261032 w 1479943"/>
                    <a:gd name="connsiteY0" fmla="*/ 417674 h 807333"/>
                    <a:gd name="connsiteX1" fmla="*/ 316420 w 1479943"/>
                    <a:gd name="connsiteY1" fmla="*/ 442124 h 807333"/>
                    <a:gd name="connsiteX2" fmla="*/ 267548 w 1479943"/>
                    <a:gd name="connsiteY2" fmla="*/ 448236 h 807333"/>
                    <a:gd name="connsiteX3" fmla="*/ 231709 w 1479943"/>
                    <a:gd name="connsiteY3" fmla="*/ 442124 h 807333"/>
                    <a:gd name="connsiteX4" fmla="*/ 234967 w 1479943"/>
                    <a:gd name="connsiteY4" fmla="*/ 436011 h 807333"/>
                    <a:gd name="connsiteX5" fmla="*/ 254516 w 1479943"/>
                    <a:gd name="connsiteY5" fmla="*/ 436011 h 807333"/>
                    <a:gd name="connsiteX6" fmla="*/ 248000 w 1479943"/>
                    <a:gd name="connsiteY6" fmla="*/ 423786 h 807333"/>
                    <a:gd name="connsiteX7" fmla="*/ 1072423 w 1479943"/>
                    <a:gd name="connsiteY7" fmla="*/ 0 h 807333"/>
                    <a:gd name="connsiteX8" fmla="*/ 1172005 w 1479943"/>
                    <a:gd name="connsiteY8" fmla="*/ 12517 h 807333"/>
                    <a:gd name="connsiteX9" fmla="*/ 1187325 w 1479943"/>
                    <a:gd name="connsiteY9" fmla="*/ 12517 h 807333"/>
                    <a:gd name="connsiteX10" fmla="*/ 1193453 w 1479943"/>
                    <a:gd name="connsiteY10" fmla="*/ 18775 h 807333"/>
                    <a:gd name="connsiteX11" fmla="*/ 1159748 w 1479943"/>
                    <a:gd name="connsiteY11" fmla="*/ 25034 h 807333"/>
                    <a:gd name="connsiteX12" fmla="*/ 1276183 w 1479943"/>
                    <a:gd name="connsiteY12" fmla="*/ 31292 h 807333"/>
                    <a:gd name="connsiteX13" fmla="*/ 1178133 w 1479943"/>
                    <a:gd name="connsiteY13" fmla="*/ 34421 h 807333"/>
                    <a:gd name="connsiteX14" fmla="*/ 1165877 w 1479943"/>
                    <a:gd name="connsiteY14" fmla="*/ 40680 h 807333"/>
                    <a:gd name="connsiteX15" fmla="*/ 1178133 w 1479943"/>
                    <a:gd name="connsiteY15" fmla="*/ 46938 h 807333"/>
                    <a:gd name="connsiteX16" fmla="*/ 1129108 w 1479943"/>
                    <a:gd name="connsiteY16" fmla="*/ 59455 h 807333"/>
                    <a:gd name="connsiteX17" fmla="*/ 1248606 w 1479943"/>
                    <a:gd name="connsiteY17" fmla="*/ 40680 h 807333"/>
                    <a:gd name="connsiteX18" fmla="*/ 1251670 w 1479943"/>
                    <a:gd name="connsiteY18" fmla="*/ 46938 h 807333"/>
                    <a:gd name="connsiteX19" fmla="*/ 1248606 w 1479943"/>
                    <a:gd name="connsiteY19" fmla="*/ 53196 h 807333"/>
                    <a:gd name="connsiteX20" fmla="*/ 1181197 w 1479943"/>
                    <a:gd name="connsiteY20" fmla="*/ 84488 h 807333"/>
                    <a:gd name="connsiteX21" fmla="*/ 1300695 w 1479943"/>
                    <a:gd name="connsiteY21" fmla="*/ 46938 h 807333"/>
                    <a:gd name="connsiteX22" fmla="*/ 1294567 w 1479943"/>
                    <a:gd name="connsiteY22" fmla="*/ 59455 h 807333"/>
                    <a:gd name="connsiteX23" fmla="*/ 1346656 w 1479943"/>
                    <a:gd name="connsiteY23" fmla="*/ 53196 h 807333"/>
                    <a:gd name="connsiteX24" fmla="*/ 1365041 w 1479943"/>
                    <a:gd name="connsiteY24" fmla="*/ 46938 h 807333"/>
                    <a:gd name="connsiteX25" fmla="*/ 1423258 w 1479943"/>
                    <a:gd name="connsiteY25" fmla="*/ 40680 h 807333"/>
                    <a:gd name="connsiteX26" fmla="*/ 1479943 w 1479943"/>
                    <a:gd name="connsiteY26" fmla="*/ 53196 h 807333"/>
                    <a:gd name="connsiteX27" fmla="*/ 1411002 w 1479943"/>
                    <a:gd name="connsiteY27" fmla="*/ 65713 h 807333"/>
                    <a:gd name="connsiteX28" fmla="*/ 1417130 w 1479943"/>
                    <a:gd name="connsiteY28" fmla="*/ 71972 h 807333"/>
                    <a:gd name="connsiteX29" fmla="*/ 1383425 w 1479943"/>
                    <a:gd name="connsiteY29" fmla="*/ 78230 h 807333"/>
                    <a:gd name="connsiteX30" fmla="*/ 1276183 w 1479943"/>
                    <a:gd name="connsiteY30" fmla="*/ 97005 h 807333"/>
                    <a:gd name="connsiteX31" fmla="*/ 1282311 w 1479943"/>
                    <a:gd name="connsiteY31" fmla="*/ 107957 h 807333"/>
                    <a:gd name="connsiteX32" fmla="*/ 1346656 w 1479943"/>
                    <a:gd name="connsiteY32" fmla="*/ 97005 h 807333"/>
                    <a:gd name="connsiteX33" fmla="*/ 1294567 w 1479943"/>
                    <a:gd name="connsiteY33" fmla="*/ 107957 h 807333"/>
                    <a:gd name="connsiteX34" fmla="*/ 1282311 w 1479943"/>
                    <a:gd name="connsiteY34" fmla="*/ 123603 h 807333"/>
                    <a:gd name="connsiteX35" fmla="*/ 1248606 w 1479943"/>
                    <a:gd name="connsiteY35" fmla="*/ 129862 h 807333"/>
                    <a:gd name="connsiteX36" fmla="*/ 1217966 w 1479943"/>
                    <a:gd name="connsiteY36" fmla="*/ 167412 h 807333"/>
                    <a:gd name="connsiteX37" fmla="*/ 1248606 w 1479943"/>
                    <a:gd name="connsiteY37" fmla="*/ 154895 h 807333"/>
                    <a:gd name="connsiteX38" fmla="*/ 1282311 w 1479943"/>
                    <a:gd name="connsiteY38" fmla="*/ 167412 h 807333"/>
                    <a:gd name="connsiteX39" fmla="*/ 1248606 w 1479943"/>
                    <a:gd name="connsiteY39" fmla="*/ 167412 h 807333"/>
                    <a:gd name="connsiteX40" fmla="*/ 1251670 w 1479943"/>
                    <a:gd name="connsiteY40" fmla="*/ 173670 h 807333"/>
                    <a:gd name="connsiteX41" fmla="*/ 1242478 w 1479943"/>
                    <a:gd name="connsiteY41" fmla="*/ 179929 h 807333"/>
                    <a:gd name="connsiteX42" fmla="*/ 1294567 w 1479943"/>
                    <a:gd name="connsiteY42" fmla="*/ 179929 h 807333"/>
                    <a:gd name="connsiteX43" fmla="*/ 1294567 w 1479943"/>
                    <a:gd name="connsiteY43" fmla="*/ 189316 h 807333"/>
                    <a:gd name="connsiteX44" fmla="*/ 1181197 w 1479943"/>
                    <a:gd name="connsiteY44" fmla="*/ 195575 h 807333"/>
                    <a:gd name="connsiteX45" fmla="*/ 1199581 w 1479943"/>
                    <a:gd name="connsiteY45" fmla="*/ 214350 h 807333"/>
                    <a:gd name="connsiteX46" fmla="*/ 1248606 w 1479943"/>
                    <a:gd name="connsiteY46" fmla="*/ 220608 h 807333"/>
                    <a:gd name="connsiteX47" fmla="*/ 1211838 w 1479943"/>
                    <a:gd name="connsiteY47" fmla="*/ 226867 h 807333"/>
                    <a:gd name="connsiteX48" fmla="*/ 1248606 w 1479943"/>
                    <a:gd name="connsiteY48" fmla="*/ 233125 h 807333"/>
                    <a:gd name="connsiteX49" fmla="*/ 1242478 w 1479943"/>
                    <a:gd name="connsiteY49" fmla="*/ 251900 h 807333"/>
                    <a:gd name="connsiteX50" fmla="*/ 1211838 w 1479943"/>
                    <a:gd name="connsiteY50" fmla="*/ 258159 h 807333"/>
                    <a:gd name="connsiteX51" fmla="*/ 1199581 w 1479943"/>
                    <a:gd name="connsiteY51" fmla="*/ 267546 h 807333"/>
                    <a:gd name="connsiteX52" fmla="*/ 1248606 w 1479943"/>
                    <a:gd name="connsiteY52" fmla="*/ 273805 h 807333"/>
                    <a:gd name="connsiteX53" fmla="*/ 1172005 w 1479943"/>
                    <a:gd name="connsiteY53" fmla="*/ 273805 h 807333"/>
                    <a:gd name="connsiteX54" fmla="*/ 1159748 w 1479943"/>
                    <a:gd name="connsiteY54" fmla="*/ 280063 h 807333"/>
                    <a:gd name="connsiteX55" fmla="*/ 1205709 w 1479943"/>
                    <a:gd name="connsiteY55" fmla="*/ 292580 h 807333"/>
                    <a:gd name="connsiteX56" fmla="*/ 1199581 w 1479943"/>
                    <a:gd name="connsiteY56" fmla="*/ 305097 h 807333"/>
                    <a:gd name="connsiteX57" fmla="*/ 1147492 w 1479943"/>
                    <a:gd name="connsiteY57" fmla="*/ 317614 h 807333"/>
                    <a:gd name="connsiteX58" fmla="*/ 1104595 w 1479943"/>
                    <a:gd name="connsiteY58" fmla="*/ 298838 h 807333"/>
                    <a:gd name="connsiteX59" fmla="*/ 1060166 w 1479943"/>
                    <a:gd name="connsiteY59" fmla="*/ 317614 h 807333"/>
                    <a:gd name="connsiteX60" fmla="*/ 1078551 w 1479943"/>
                    <a:gd name="connsiteY60" fmla="*/ 323872 h 807333"/>
                    <a:gd name="connsiteX61" fmla="*/ 1078551 w 1479943"/>
                    <a:gd name="connsiteY61" fmla="*/ 333260 h 807333"/>
                    <a:gd name="connsiteX62" fmla="*/ 1060166 w 1479943"/>
                    <a:gd name="connsiteY62" fmla="*/ 345776 h 807333"/>
                    <a:gd name="connsiteX63" fmla="*/ 1054038 w 1479943"/>
                    <a:gd name="connsiteY63" fmla="*/ 358293 h 807333"/>
                    <a:gd name="connsiteX64" fmla="*/ 1078551 w 1479943"/>
                    <a:gd name="connsiteY64" fmla="*/ 345776 h 807333"/>
                    <a:gd name="connsiteX65" fmla="*/ 1129108 w 1479943"/>
                    <a:gd name="connsiteY65" fmla="*/ 364551 h 807333"/>
                    <a:gd name="connsiteX66" fmla="*/ 1104595 w 1479943"/>
                    <a:gd name="connsiteY66" fmla="*/ 377068 h 807333"/>
                    <a:gd name="connsiteX67" fmla="*/ 1141364 w 1479943"/>
                    <a:gd name="connsiteY67" fmla="*/ 370810 h 807333"/>
                    <a:gd name="connsiteX68" fmla="*/ 1116852 w 1479943"/>
                    <a:gd name="connsiteY68" fmla="*/ 383327 h 807333"/>
                    <a:gd name="connsiteX69" fmla="*/ 1147492 w 1479943"/>
                    <a:gd name="connsiteY69" fmla="*/ 377068 h 807333"/>
                    <a:gd name="connsiteX70" fmla="*/ 1129108 w 1479943"/>
                    <a:gd name="connsiteY70" fmla="*/ 395843 h 807333"/>
                    <a:gd name="connsiteX71" fmla="*/ 1135236 w 1479943"/>
                    <a:gd name="connsiteY71" fmla="*/ 411489 h 807333"/>
                    <a:gd name="connsiteX72" fmla="*/ 1116852 w 1479943"/>
                    <a:gd name="connsiteY72" fmla="*/ 402102 h 807333"/>
                    <a:gd name="connsiteX73" fmla="*/ 1110723 w 1479943"/>
                    <a:gd name="connsiteY73" fmla="*/ 411489 h 807333"/>
                    <a:gd name="connsiteX74" fmla="*/ 1090807 w 1479943"/>
                    <a:gd name="connsiteY74" fmla="*/ 411489 h 807333"/>
                    <a:gd name="connsiteX75" fmla="*/ 1066295 w 1479943"/>
                    <a:gd name="connsiteY75" fmla="*/ 383327 h 807333"/>
                    <a:gd name="connsiteX76" fmla="*/ 995821 w 1479943"/>
                    <a:gd name="connsiteY76" fmla="*/ 364551 h 807333"/>
                    <a:gd name="connsiteX77" fmla="*/ 989693 w 1479943"/>
                    <a:gd name="connsiteY77" fmla="*/ 370810 h 807333"/>
                    <a:gd name="connsiteX78" fmla="*/ 1001949 w 1479943"/>
                    <a:gd name="connsiteY78" fmla="*/ 383327 h 807333"/>
                    <a:gd name="connsiteX79" fmla="*/ 1041782 w 1479943"/>
                    <a:gd name="connsiteY79" fmla="*/ 389585 h 807333"/>
                    <a:gd name="connsiteX80" fmla="*/ 965180 w 1479943"/>
                    <a:gd name="connsiteY80" fmla="*/ 395843 h 807333"/>
                    <a:gd name="connsiteX81" fmla="*/ 965180 w 1479943"/>
                    <a:gd name="connsiteY81" fmla="*/ 411489 h 807333"/>
                    <a:gd name="connsiteX82" fmla="*/ 943732 w 1479943"/>
                    <a:gd name="connsiteY82" fmla="*/ 417748 h 807333"/>
                    <a:gd name="connsiteX83" fmla="*/ 1001949 w 1479943"/>
                    <a:gd name="connsiteY83" fmla="*/ 417748 h 807333"/>
                    <a:gd name="connsiteX84" fmla="*/ 1035654 w 1479943"/>
                    <a:gd name="connsiteY84" fmla="*/ 417748 h 807333"/>
                    <a:gd name="connsiteX85" fmla="*/ 1116852 w 1479943"/>
                    <a:gd name="connsiteY85" fmla="*/ 424006 h 807333"/>
                    <a:gd name="connsiteX86" fmla="*/ 989693 w 1479943"/>
                    <a:gd name="connsiteY86" fmla="*/ 480332 h 807333"/>
                    <a:gd name="connsiteX87" fmla="*/ 888579 w 1479943"/>
                    <a:gd name="connsiteY87" fmla="*/ 489719 h 807333"/>
                    <a:gd name="connsiteX88" fmla="*/ 879387 w 1479943"/>
                    <a:gd name="connsiteY88" fmla="*/ 502236 h 807333"/>
                    <a:gd name="connsiteX89" fmla="*/ 836490 w 1479943"/>
                    <a:gd name="connsiteY89" fmla="*/ 502236 h 807333"/>
                    <a:gd name="connsiteX90" fmla="*/ 824233 w 1479943"/>
                    <a:gd name="connsiteY90" fmla="*/ 502236 h 807333"/>
                    <a:gd name="connsiteX91" fmla="*/ 790529 w 1479943"/>
                    <a:gd name="connsiteY91" fmla="*/ 514753 h 807333"/>
                    <a:gd name="connsiteX92" fmla="*/ 772144 w 1479943"/>
                    <a:gd name="connsiteY92" fmla="*/ 538222 h 807333"/>
                    <a:gd name="connsiteX93" fmla="*/ 732311 w 1479943"/>
                    <a:gd name="connsiteY93" fmla="*/ 560126 h 807333"/>
                    <a:gd name="connsiteX94" fmla="*/ 703203 w 1479943"/>
                    <a:gd name="connsiteY94" fmla="*/ 560126 h 807333"/>
                    <a:gd name="connsiteX95" fmla="*/ 690947 w 1479943"/>
                    <a:gd name="connsiteY95" fmla="*/ 578902 h 807333"/>
                    <a:gd name="connsiteX96" fmla="*/ 657242 w 1479943"/>
                    <a:gd name="connsiteY96" fmla="*/ 572643 h 807333"/>
                    <a:gd name="connsiteX97" fmla="*/ 651114 w 1479943"/>
                    <a:gd name="connsiteY97" fmla="*/ 585160 h 807333"/>
                    <a:gd name="connsiteX98" fmla="*/ 638858 w 1479943"/>
                    <a:gd name="connsiteY98" fmla="*/ 578902 h 807333"/>
                    <a:gd name="connsiteX99" fmla="*/ 620473 w 1479943"/>
                    <a:gd name="connsiteY99" fmla="*/ 578902 h 807333"/>
                    <a:gd name="connsiteX100" fmla="*/ 620473 w 1479943"/>
                    <a:gd name="connsiteY100" fmla="*/ 591418 h 807333"/>
                    <a:gd name="connsiteX101" fmla="*/ 580640 w 1479943"/>
                    <a:gd name="connsiteY101" fmla="*/ 591418 h 807333"/>
                    <a:gd name="connsiteX102" fmla="*/ 562256 w 1479943"/>
                    <a:gd name="connsiteY102" fmla="*/ 597677 h 807333"/>
                    <a:gd name="connsiteX103" fmla="*/ 574512 w 1479943"/>
                    <a:gd name="connsiteY103" fmla="*/ 603935 h 807333"/>
                    <a:gd name="connsiteX104" fmla="*/ 556128 w 1479943"/>
                    <a:gd name="connsiteY104" fmla="*/ 616452 h 807333"/>
                    <a:gd name="connsiteX105" fmla="*/ 531615 w 1479943"/>
                    <a:gd name="connsiteY105" fmla="*/ 610194 h 807333"/>
                    <a:gd name="connsiteX106" fmla="*/ 525487 w 1479943"/>
                    <a:gd name="connsiteY106" fmla="*/ 622710 h 807333"/>
                    <a:gd name="connsiteX107" fmla="*/ 543872 w 1479943"/>
                    <a:gd name="connsiteY107" fmla="*/ 638356 h 807333"/>
                    <a:gd name="connsiteX108" fmla="*/ 510167 w 1479943"/>
                    <a:gd name="connsiteY108" fmla="*/ 638356 h 807333"/>
                    <a:gd name="connsiteX109" fmla="*/ 525487 w 1479943"/>
                    <a:gd name="connsiteY109" fmla="*/ 650873 h 807333"/>
                    <a:gd name="connsiteX110" fmla="*/ 525487 w 1479943"/>
                    <a:gd name="connsiteY110" fmla="*/ 663390 h 807333"/>
                    <a:gd name="connsiteX111" fmla="*/ 504039 w 1479943"/>
                    <a:gd name="connsiteY111" fmla="*/ 663390 h 807333"/>
                    <a:gd name="connsiteX112" fmla="*/ 522423 w 1479943"/>
                    <a:gd name="connsiteY112" fmla="*/ 669648 h 807333"/>
                    <a:gd name="connsiteX113" fmla="*/ 491782 w 1479943"/>
                    <a:gd name="connsiteY113" fmla="*/ 682165 h 807333"/>
                    <a:gd name="connsiteX114" fmla="*/ 491782 w 1479943"/>
                    <a:gd name="connsiteY114" fmla="*/ 688424 h 807333"/>
                    <a:gd name="connsiteX115" fmla="*/ 473398 w 1479943"/>
                    <a:gd name="connsiteY115" fmla="*/ 688424 h 807333"/>
                    <a:gd name="connsiteX116" fmla="*/ 485654 w 1479943"/>
                    <a:gd name="connsiteY116" fmla="*/ 694682 h 807333"/>
                    <a:gd name="connsiteX117" fmla="*/ 445821 w 1479943"/>
                    <a:gd name="connsiteY117" fmla="*/ 704070 h 807333"/>
                    <a:gd name="connsiteX118" fmla="*/ 455014 w 1479943"/>
                    <a:gd name="connsiteY118" fmla="*/ 710328 h 807333"/>
                    <a:gd name="connsiteX119" fmla="*/ 455014 w 1479943"/>
                    <a:gd name="connsiteY119" fmla="*/ 741620 h 807333"/>
                    <a:gd name="connsiteX120" fmla="*/ 409053 w 1479943"/>
                    <a:gd name="connsiteY120" fmla="*/ 782300 h 807333"/>
                    <a:gd name="connsiteX121" fmla="*/ 384540 w 1479943"/>
                    <a:gd name="connsiteY121" fmla="*/ 788558 h 807333"/>
                    <a:gd name="connsiteX122" fmla="*/ 396796 w 1479943"/>
                    <a:gd name="connsiteY122" fmla="*/ 801075 h 807333"/>
                    <a:gd name="connsiteX123" fmla="*/ 350835 w 1479943"/>
                    <a:gd name="connsiteY123" fmla="*/ 807333 h 807333"/>
                    <a:gd name="connsiteX124" fmla="*/ 340111 w 1479943"/>
                    <a:gd name="connsiteY124" fmla="*/ 801075 h 807333"/>
                    <a:gd name="connsiteX125" fmla="*/ 350835 w 1479943"/>
                    <a:gd name="connsiteY125" fmla="*/ 788558 h 807333"/>
                    <a:gd name="connsiteX126" fmla="*/ 327855 w 1479943"/>
                    <a:gd name="connsiteY126" fmla="*/ 782300 h 807333"/>
                    <a:gd name="connsiteX127" fmla="*/ 344707 w 1479943"/>
                    <a:gd name="connsiteY127" fmla="*/ 772912 h 807333"/>
                    <a:gd name="connsiteX128" fmla="*/ 263510 w 1479943"/>
                    <a:gd name="connsiteY128" fmla="*/ 776041 h 807333"/>
                    <a:gd name="connsiteX129" fmla="*/ 281894 w 1479943"/>
                    <a:gd name="connsiteY129" fmla="*/ 772912 h 807333"/>
                    <a:gd name="connsiteX130" fmla="*/ 245125 w 1479943"/>
                    <a:gd name="connsiteY130" fmla="*/ 754137 h 807333"/>
                    <a:gd name="connsiteX131" fmla="*/ 238997 w 1479943"/>
                    <a:gd name="connsiteY131" fmla="*/ 747878 h 807333"/>
                    <a:gd name="connsiteX132" fmla="*/ 251253 w 1479943"/>
                    <a:gd name="connsiteY132" fmla="*/ 741620 h 807333"/>
                    <a:gd name="connsiteX133" fmla="*/ 235933 w 1479943"/>
                    <a:gd name="connsiteY133" fmla="*/ 729103 h 807333"/>
                    <a:gd name="connsiteX134" fmla="*/ 245125 w 1479943"/>
                    <a:gd name="connsiteY134" fmla="*/ 722845 h 807333"/>
                    <a:gd name="connsiteX135" fmla="*/ 229805 w 1479943"/>
                    <a:gd name="connsiteY135" fmla="*/ 710328 h 807333"/>
                    <a:gd name="connsiteX136" fmla="*/ 238997 w 1479943"/>
                    <a:gd name="connsiteY136" fmla="*/ 700940 h 807333"/>
                    <a:gd name="connsiteX137" fmla="*/ 223677 w 1479943"/>
                    <a:gd name="connsiteY137" fmla="*/ 694682 h 807333"/>
                    <a:gd name="connsiteX138" fmla="*/ 223677 w 1479943"/>
                    <a:gd name="connsiteY138" fmla="*/ 650873 h 807333"/>
                    <a:gd name="connsiteX139" fmla="*/ 263510 w 1479943"/>
                    <a:gd name="connsiteY139" fmla="*/ 632098 h 807333"/>
                    <a:gd name="connsiteX140" fmla="*/ 257382 w 1479943"/>
                    <a:gd name="connsiteY140" fmla="*/ 622710 h 807333"/>
                    <a:gd name="connsiteX141" fmla="*/ 205292 w 1479943"/>
                    <a:gd name="connsiteY141" fmla="*/ 644615 h 807333"/>
                    <a:gd name="connsiteX142" fmla="*/ 223677 w 1479943"/>
                    <a:gd name="connsiteY142" fmla="*/ 622710 h 807333"/>
                    <a:gd name="connsiteX143" fmla="*/ 217548 w 1479943"/>
                    <a:gd name="connsiteY143" fmla="*/ 603935 h 807333"/>
                    <a:gd name="connsiteX144" fmla="*/ 223677 w 1479943"/>
                    <a:gd name="connsiteY144" fmla="*/ 597677 h 807333"/>
                    <a:gd name="connsiteX145" fmla="*/ 205292 w 1479943"/>
                    <a:gd name="connsiteY145" fmla="*/ 591418 h 807333"/>
                    <a:gd name="connsiteX146" fmla="*/ 217548 w 1479943"/>
                    <a:gd name="connsiteY146" fmla="*/ 578902 h 807333"/>
                    <a:gd name="connsiteX147" fmla="*/ 205292 w 1479943"/>
                    <a:gd name="connsiteY147" fmla="*/ 578902 h 807333"/>
                    <a:gd name="connsiteX148" fmla="*/ 223677 w 1479943"/>
                    <a:gd name="connsiteY148" fmla="*/ 572643 h 807333"/>
                    <a:gd name="connsiteX149" fmla="*/ 205292 w 1479943"/>
                    <a:gd name="connsiteY149" fmla="*/ 560126 h 807333"/>
                    <a:gd name="connsiteX150" fmla="*/ 229805 w 1479943"/>
                    <a:gd name="connsiteY150" fmla="*/ 544480 h 807333"/>
                    <a:gd name="connsiteX151" fmla="*/ 211420 w 1479943"/>
                    <a:gd name="connsiteY151" fmla="*/ 538222 h 807333"/>
                    <a:gd name="connsiteX152" fmla="*/ 235933 w 1479943"/>
                    <a:gd name="connsiteY152" fmla="*/ 521011 h 807333"/>
                    <a:gd name="connsiteX153" fmla="*/ 229805 w 1479943"/>
                    <a:gd name="connsiteY153" fmla="*/ 521011 h 807333"/>
                    <a:gd name="connsiteX154" fmla="*/ 235933 w 1479943"/>
                    <a:gd name="connsiteY154" fmla="*/ 508495 h 807333"/>
                    <a:gd name="connsiteX155" fmla="*/ 245125 w 1479943"/>
                    <a:gd name="connsiteY155" fmla="*/ 502236 h 807333"/>
                    <a:gd name="connsiteX156" fmla="*/ 309471 w 1479943"/>
                    <a:gd name="connsiteY156" fmla="*/ 502236 h 807333"/>
                    <a:gd name="connsiteX157" fmla="*/ 309471 w 1479943"/>
                    <a:gd name="connsiteY157" fmla="*/ 489719 h 807333"/>
                    <a:gd name="connsiteX158" fmla="*/ 263510 w 1479943"/>
                    <a:gd name="connsiteY158" fmla="*/ 489719 h 807333"/>
                    <a:gd name="connsiteX159" fmla="*/ 315599 w 1479943"/>
                    <a:gd name="connsiteY159" fmla="*/ 483461 h 807333"/>
                    <a:gd name="connsiteX160" fmla="*/ 321727 w 1479943"/>
                    <a:gd name="connsiteY160" fmla="*/ 467815 h 807333"/>
                    <a:gd name="connsiteX161" fmla="*/ 344707 w 1479943"/>
                    <a:gd name="connsiteY161" fmla="*/ 467815 h 807333"/>
                    <a:gd name="connsiteX162" fmla="*/ 333983 w 1479943"/>
                    <a:gd name="connsiteY162" fmla="*/ 455298 h 807333"/>
                    <a:gd name="connsiteX163" fmla="*/ 363092 w 1479943"/>
                    <a:gd name="connsiteY163" fmla="*/ 430265 h 807333"/>
                    <a:gd name="connsiteX164" fmla="*/ 309471 w 1479943"/>
                    <a:gd name="connsiteY164" fmla="*/ 430265 h 807333"/>
                    <a:gd name="connsiteX165" fmla="*/ 263510 w 1479943"/>
                    <a:gd name="connsiteY165" fmla="*/ 405231 h 807333"/>
                    <a:gd name="connsiteX166" fmla="*/ 363092 w 1479943"/>
                    <a:gd name="connsiteY166" fmla="*/ 417748 h 807333"/>
                    <a:gd name="connsiteX167" fmla="*/ 350835 w 1479943"/>
                    <a:gd name="connsiteY167" fmla="*/ 411489 h 807333"/>
                    <a:gd name="connsiteX168" fmla="*/ 369220 w 1479943"/>
                    <a:gd name="connsiteY168" fmla="*/ 402102 h 807333"/>
                    <a:gd name="connsiteX169" fmla="*/ 344707 w 1479943"/>
                    <a:gd name="connsiteY169" fmla="*/ 395843 h 807333"/>
                    <a:gd name="connsiteX170" fmla="*/ 356964 w 1479943"/>
                    <a:gd name="connsiteY170" fmla="*/ 389585 h 807333"/>
                    <a:gd name="connsiteX171" fmla="*/ 350835 w 1479943"/>
                    <a:gd name="connsiteY171" fmla="*/ 383327 h 807333"/>
                    <a:gd name="connsiteX172" fmla="*/ 321727 w 1479943"/>
                    <a:gd name="connsiteY172" fmla="*/ 383327 h 807333"/>
                    <a:gd name="connsiteX173" fmla="*/ 356964 w 1479943"/>
                    <a:gd name="connsiteY173" fmla="*/ 370810 h 807333"/>
                    <a:gd name="connsiteX174" fmla="*/ 321727 w 1479943"/>
                    <a:gd name="connsiteY174" fmla="*/ 358293 h 807333"/>
                    <a:gd name="connsiteX175" fmla="*/ 294150 w 1479943"/>
                    <a:gd name="connsiteY175" fmla="*/ 370810 h 807333"/>
                    <a:gd name="connsiteX176" fmla="*/ 294150 w 1479943"/>
                    <a:gd name="connsiteY176" fmla="*/ 383327 h 807333"/>
                    <a:gd name="connsiteX177" fmla="*/ 257382 w 1479943"/>
                    <a:gd name="connsiteY177" fmla="*/ 377068 h 807333"/>
                    <a:gd name="connsiteX178" fmla="*/ 288022 w 1479943"/>
                    <a:gd name="connsiteY178" fmla="*/ 358293 h 807333"/>
                    <a:gd name="connsiteX179" fmla="*/ 269638 w 1479943"/>
                    <a:gd name="connsiteY179" fmla="*/ 358293 h 807333"/>
                    <a:gd name="connsiteX180" fmla="*/ 294150 w 1479943"/>
                    <a:gd name="connsiteY180" fmla="*/ 345776 h 807333"/>
                    <a:gd name="connsiteX181" fmla="*/ 309471 w 1479943"/>
                    <a:gd name="connsiteY181" fmla="*/ 330130 h 807333"/>
                    <a:gd name="connsiteX182" fmla="*/ 288022 w 1479943"/>
                    <a:gd name="connsiteY182" fmla="*/ 323872 h 807333"/>
                    <a:gd name="connsiteX183" fmla="*/ 309471 w 1479943"/>
                    <a:gd name="connsiteY183" fmla="*/ 311355 h 807333"/>
                    <a:gd name="connsiteX184" fmla="*/ 294150 w 1479943"/>
                    <a:gd name="connsiteY184" fmla="*/ 311355 h 807333"/>
                    <a:gd name="connsiteX185" fmla="*/ 306407 w 1479943"/>
                    <a:gd name="connsiteY185" fmla="*/ 280063 h 807333"/>
                    <a:gd name="connsiteX186" fmla="*/ 294150 w 1479943"/>
                    <a:gd name="connsiteY186" fmla="*/ 280063 h 807333"/>
                    <a:gd name="connsiteX187" fmla="*/ 309471 w 1479943"/>
                    <a:gd name="connsiteY187" fmla="*/ 273805 h 807333"/>
                    <a:gd name="connsiteX188" fmla="*/ 269638 w 1479943"/>
                    <a:gd name="connsiteY188" fmla="*/ 245642 h 807333"/>
                    <a:gd name="connsiteX189" fmla="*/ 281894 w 1479943"/>
                    <a:gd name="connsiteY189" fmla="*/ 239384 h 807333"/>
                    <a:gd name="connsiteX190" fmla="*/ 281894 w 1479943"/>
                    <a:gd name="connsiteY190" fmla="*/ 233125 h 807333"/>
                    <a:gd name="connsiteX191" fmla="*/ 180780 w 1479943"/>
                    <a:gd name="connsiteY191" fmla="*/ 214350 h 807333"/>
                    <a:gd name="connsiteX192" fmla="*/ 116434 w 1479943"/>
                    <a:gd name="connsiteY192" fmla="*/ 226867 h 807333"/>
                    <a:gd name="connsiteX193" fmla="*/ 88858 w 1479943"/>
                    <a:gd name="connsiteY193" fmla="*/ 214350 h 807333"/>
                    <a:gd name="connsiteX194" fmla="*/ 88858 w 1479943"/>
                    <a:gd name="connsiteY194" fmla="*/ 226867 h 807333"/>
                    <a:gd name="connsiteX195" fmla="*/ 45961 w 1479943"/>
                    <a:gd name="connsiteY195" fmla="*/ 220608 h 807333"/>
                    <a:gd name="connsiteX196" fmla="*/ 27576 w 1479943"/>
                    <a:gd name="connsiteY196" fmla="*/ 208092 h 807333"/>
                    <a:gd name="connsiteX197" fmla="*/ 70473 w 1479943"/>
                    <a:gd name="connsiteY197" fmla="*/ 195575 h 807333"/>
                    <a:gd name="connsiteX198" fmla="*/ 0 w 1479943"/>
                    <a:gd name="connsiteY198" fmla="*/ 189316 h 807333"/>
                    <a:gd name="connsiteX199" fmla="*/ 147075 w 1479943"/>
                    <a:gd name="connsiteY199" fmla="*/ 183058 h 807333"/>
                    <a:gd name="connsiteX200" fmla="*/ 153203 w 1479943"/>
                    <a:gd name="connsiteY200" fmla="*/ 173670 h 807333"/>
                    <a:gd name="connsiteX201" fmla="*/ 153203 w 1479943"/>
                    <a:gd name="connsiteY201" fmla="*/ 167412 h 807333"/>
                    <a:gd name="connsiteX202" fmla="*/ 52089 w 1479943"/>
                    <a:gd name="connsiteY202" fmla="*/ 173670 h 807333"/>
                    <a:gd name="connsiteX203" fmla="*/ 58217 w 1479943"/>
                    <a:gd name="connsiteY203" fmla="*/ 161154 h 807333"/>
                    <a:gd name="connsiteX204" fmla="*/ 12256 w 1479943"/>
                    <a:gd name="connsiteY204" fmla="*/ 161154 h 807333"/>
                    <a:gd name="connsiteX205" fmla="*/ 12256 w 1479943"/>
                    <a:gd name="connsiteY205" fmla="*/ 148637 h 807333"/>
                    <a:gd name="connsiteX206" fmla="*/ 134819 w 1479943"/>
                    <a:gd name="connsiteY206" fmla="*/ 123603 h 807333"/>
                    <a:gd name="connsiteX207" fmla="*/ 193036 w 1479943"/>
                    <a:gd name="connsiteY207" fmla="*/ 123603 h 807333"/>
                    <a:gd name="connsiteX208" fmla="*/ 235933 w 1479943"/>
                    <a:gd name="connsiteY208" fmla="*/ 111087 h 807333"/>
                    <a:gd name="connsiteX209" fmla="*/ 235933 w 1479943"/>
                    <a:gd name="connsiteY209" fmla="*/ 101699 h 807333"/>
                    <a:gd name="connsiteX210" fmla="*/ 281894 w 1479943"/>
                    <a:gd name="connsiteY210" fmla="*/ 97005 h 807333"/>
                    <a:gd name="connsiteX211" fmla="*/ 223677 w 1479943"/>
                    <a:gd name="connsiteY211" fmla="*/ 97005 h 807333"/>
                    <a:gd name="connsiteX212" fmla="*/ 193036 w 1479943"/>
                    <a:gd name="connsiteY212" fmla="*/ 90747 h 807333"/>
                    <a:gd name="connsiteX213" fmla="*/ 300278 w 1479943"/>
                    <a:gd name="connsiteY213" fmla="*/ 65713 h 807333"/>
                    <a:gd name="connsiteX214" fmla="*/ 356964 w 1479943"/>
                    <a:gd name="connsiteY214" fmla="*/ 65713 h 807333"/>
                    <a:gd name="connsiteX215" fmla="*/ 356964 w 1479943"/>
                    <a:gd name="connsiteY215" fmla="*/ 59455 h 807333"/>
                    <a:gd name="connsiteX216" fmla="*/ 375348 w 1479943"/>
                    <a:gd name="connsiteY216" fmla="*/ 53196 h 807333"/>
                    <a:gd name="connsiteX217" fmla="*/ 369220 w 1479943"/>
                    <a:gd name="connsiteY217" fmla="*/ 46938 h 807333"/>
                    <a:gd name="connsiteX218" fmla="*/ 396796 w 1479943"/>
                    <a:gd name="connsiteY218" fmla="*/ 40680 h 807333"/>
                    <a:gd name="connsiteX219" fmla="*/ 415181 w 1479943"/>
                    <a:gd name="connsiteY219" fmla="*/ 40680 h 807333"/>
                    <a:gd name="connsiteX220" fmla="*/ 531615 w 1479943"/>
                    <a:gd name="connsiteY220" fmla="*/ 34421 h 807333"/>
                    <a:gd name="connsiteX221" fmla="*/ 550000 w 1479943"/>
                    <a:gd name="connsiteY221" fmla="*/ 40680 h 807333"/>
                    <a:gd name="connsiteX222" fmla="*/ 562256 w 1479943"/>
                    <a:gd name="connsiteY222" fmla="*/ 40680 h 807333"/>
                    <a:gd name="connsiteX223" fmla="*/ 620473 w 1479943"/>
                    <a:gd name="connsiteY223" fmla="*/ 46938 h 807333"/>
                    <a:gd name="connsiteX224" fmla="*/ 602089 w 1479943"/>
                    <a:gd name="connsiteY224" fmla="*/ 40680 h 807333"/>
                    <a:gd name="connsiteX225" fmla="*/ 632729 w 1479943"/>
                    <a:gd name="connsiteY225" fmla="*/ 40680 h 807333"/>
                    <a:gd name="connsiteX226" fmla="*/ 614345 w 1479943"/>
                    <a:gd name="connsiteY226" fmla="*/ 31292 h 807333"/>
                    <a:gd name="connsiteX227" fmla="*/ 738440 w 1479943"/>
                    <a:gd name="connsiteY227" fmla="*/ 46938 h 807333"/>
                    <a:gd name="connsiteX228" fmla="*/ 747632 w 1479943"/>
                    <a:gd name="connsiteY228" fmla="*/ 46938 h 807333"/>
                    <a:gd name="connsiteX229" fmla="*/ 732311 w 1479943"/>
                    <a:gd name="connsiteY229" fmla="*/ 40680 h 807333"/>
                    <a:gd name="connsiteX230" fmla="*/ 766016 w 1479943"/>
                    <a:gd name="connsiteY230" fmla="*/ 40680 h 807333"/>
                    <a:gd name="connsiteX231" fmla="*/ 747632 w 1479943"/>
                    <a:gd name="connsiteY231" fmla="*/ 34421 h 807333"/>
                    <a:gd name="connsiteX232" fmla="*/ 796657 w 1479943"/>
                    <a:gd name="connsiteY232" fmla="*/ 34421 h 807333"/>
                    <a:gd name="connsiteX233" fmla="*/ 732311 w 1479943"/>
                    <a:gd name="connsiteY233" fmla="*/ 18775 h 807333"/>
                    <a:gd name="connsiteX234" fmla="*/ 747632 w 1479943"/>
                    <a:gd name="connsiteY234" fmla="*/ 12517 h 807333"/>
                    <a:gd name="connsiteX235" fmla="*/ 808913 w 1479943"/>
                    <a:gd name="connsiteY235" fmla="*/ 6258 h 807333"/>
                    <a:gd name="connsiteX236" fmla="*/ 885515 w 1479943"/>
                    <a:gd name="connsiteY236" fmla="*/ 25034 h 807333"/>
                    <a:gd name="connsiteX237" fmla="*/ 894707 w 1479943"/>
                    <a:gd name="connsiteY237" fmla="*/ 6258 h 80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1479943" h="807333">
                      <a:moveTo>
                        <a:pt x="261032" y="417674"/>
                      </a:moveTo>
                      <a:lnTo>
                        <a:pt x="316420" y="442124"/>
                      </a:lnTo>
                      <a:lnTo>
                        <a:pt x="267548" y="448236"/>
                      </a:lnTo>
                      <a:lnTo>
                        <a:pt x="231709" y="442124"/>
                      </a:lnTo>
                      <a:lnTo>
                        <a:pt x="234967" y="436011"/>
                      </a:lnTo>
                      <a:lnTo>
                        <a:pt x="254516" y="436011"/>
                      </a:lnTo>
                      <a:lnTo>
                        <a:pt x="248000" y="423786"/>
                      </a:lnTo>
                      <a:close/>
                      <a:moveTo>
                        <a:pt x="1072423" y="0"/>
                      </a:moveTo>
                      <a:lnTo>
                        <a:pt x="1172005" y="12517"/>
                      </a:lnTo>
                      <a:lnTo>
                        <a:pt x="1187325" y="12517"/>
                      </a:lnTo>
                      <a:lnTo>
                        <a:pt x="1193453" y="18775"/>
                      </a:lnTo>
                      <a:lnTo>
                        <a:pt x="1159748" y="25034"/>
                      </a:lnTo>
                      <a:lnTo>
                        <a:pt x="1276183" y="31292"/>
                      </a:lnTo>
                      <a:lnTo>
                        <a:pt x="1178133" y="34421"/>
                      </a:lnTo>
                      <a:lnTo>
                        <a:pt x="1165877" y="40680"/>
                      </a:lnTo>
                      <a:lnTo>
                        <a:pt x="1178133" y="46938"/>
                      </a:lnTo>
                      <a:lnTo>
                        <a:pt x="1129108" y="59455"/>
                      </a:lnTo>
                      <a:lnTo>
                        <a:pt x="1248606" y="40680"/>
                      </a:lnTo>
                      <a:lnTo>
                        <a:pt x="1251670" y="46938"/>
                      </a:lnTo>
                      <a:lnTo>
                        <a:pt x="1248606" y="53196"/>
                      </a:lnTo>
                      <a:lnTo>
                        <a:pt x="1181197" y="84488"/>
                      </a:lnTo>
                      <a:lnTo>
                        <a:pt x="1300695" y="46938"/>
                      </a:lnTo>
                      <a:lnTo>
                        <a:pt x="1294567" y="59455"/>
                      </a:lnTo>
                      <a:lnTo>
                        <a:pt x="1346656" y="53196"/>
                      </a:lnTo>
                      <a:lnTo>
                        <a:pt x="1365041" y="46938"/>
                      </a:lnTo>
                      <a:lnTo>
                        <a:pt x="1423258" y="40680"/>
                      </a:lnTo>
                      <a:lnTo>
                        <a:pt x="1479943" y="53196"/>
                      </a:lnTo>
                      <a:lnTo>
                        <a:pt x="1411002" y="65713"/>
                      </a:lnTo>
                      <a:lnTo>
                        <a:pt x="1417130" y="71972"/>
                      </a:lnTo>
                      <a:lnTo>
                        <a:pt x="1383425" y="78230"/>
                      </a:lnTo>
                      <a:lnTo>
                        <a:pt x="1276183" y="97005"/>
                      </a:lnTo>
                      <a:lnTo>
                        <a:pt x="1282311" y="107957"/>
                      </a:lnTo>
                      <a:lnTo>
                        <a:pt x="1346656" y="97005"/>
                      </a:lnTo>
                      <a:lnTo>
                        <a:pt x="1294567" y="107957"/>
                      </a:lnTo>
                      <a:lnTo>
                        <a:pt x="1282311" y="123603"/>
                      </a:lnTo>
                      <a:lnTo>
                        <a:pt x="1248606" y="129862"/>
                      </a:lnTo>
                      <a:lnTo>
                        <a:pt x="1217966" y="167412"/>
                      </a:lnTo>
                      <a:lnTo>
                        <a:pt x="1248606" y="154895"/>
                      </a:lnTo>
                      <a:lnTo>
                        <a:pt x="1282311" y="167412"/>
                      </a:lnTo>
                      <a:lnTo>
                        <a:pt x="1248606" y="167412"/>
                      </a:lnTo>
                      <a:lnTo>
                        <a:pt x="1251670" y="173670"/>
                      </a:lnTo>
                      <a:lnTo>
                        <a:pt x="1242478" y="179929"/>
                      </a:lnTo>
                      <a:lnTo>
                        <a:pt x="1294567" y="179929"/>
                      </a:lnTo>
                      <a:lnTo>
                        <a:pt x="1294567" y="189316"/>
                      </a:lnTo>
                      <a:lnTo>
                        <a:pt x="1181197" y="195575"/>
                      </a:lnTo>
                      <a:lnTo>
                        <a:pt x="1199581" y="214350"/>
                      </a:lnTo>
                      <a:lnTo>
                        <a:pt x="1248606" y="220608"/>
                      </a:lnTo>
                      <a:lnTo>
                        <a:pt x="1211838" y="226867"/>
                      </a:lnTo>
                      <a:lnTo>
                        <a:pt x="1248606" y="233125"/>
                      </a:lnTo>
                      <a:lnTo>
                        <a:pt x="1242478" y="251900"/>
                      </a:lnTo>
                      <a:lnTo>
                        <a:pt x="1211838" y="258159"/>
                      </a:lnTo>
                      <a:lnTo>
                        <a:pt x="1199581" y="267546"/>
                      </a:lnTo>
                      <a:lnTo>
                        <a:pt x="1248606" y="273805"/>
                      </a:lnTo>
                      <a:lnTo>
                        <a:pt x="1172005" y="273805"/>
                      </a:lnTo>
                      <a:lnTo>
                        <a:pt x="1159748" y="280063"/>
                      </a:lnTo>
                      <a:lnTo>
                        <a:pt x="1205709" y="292580"/>
                      </a:lnTo>
                      <a:lnTo>
                        <a:pt x="1199581" y="305097"/>
                      </a:lnTo>
                      <a:lnTo>
                        <a:pt x="1147492" y="317614"/>
                      </a:lnTo>
                      <a:lnTo>
                        <a:pt x="1104595" y="298838"/>
                      </a:lnTo>
                      <a:lnTo>
                        <a:pt x="1060166" y="317614"/>
                      </a:lnTo>
                      <a:lnTo>
                        <a:pt x="1078551" y="323872"/>
                      </a:lnTo>
                      <a:lnTo>
                        <a:pt x="1078551" y="333260"/>
                      </a:lnTo>
                      <a:lnTo>
                        <a:pt x="1060166" y="345776"/>
                      </a:lnTo>
                      <a:lnTo>
                        <a:pt x="1054038" y="358293"/>
                      </a:lnTo>
                      <a:lnTo>
                        <a:pt x="1078551" y="345776"/>
                      </a:lnTo>
                      <a:lnTo>
                        <a:pt x="1129108" y="364551"/>
                      </a:lnTo>
                      <a:lnTo>
                        <a:pt x="1104595" y="377068"/>
                      </a:lnTo>
                      <a:lnTo>
                        <a:pt x="1141364" y="370810"/>
                      </a:lnTo>
                      <a:lnTo>
                        <a:pt x="1116852" y="383327"/>
                      </a:lnTo>
                      <a:lnTo>
                        <a:pt x="1147492" y="377068"/>
                      </a:lnTo>
                      <a:lnTo>
                        <a:pt x="1129108" y="395843"/>
                      </a:lnTo>
                      <a:lnTo>
                        <a:pt x="1135236" y="411489"/>
                      </a:lnTo>
                      <a:lnTo>
                        <a:pt x="1116852" y="402102"/>
                      </a:lnTo>
                      <a:lnTo>
                        <a:pt x="1110723" y="411489"/>
                      </a:lnTo>
                      <a:lnTo>
                        <a:pt x="1090807" y="411489"/>
                      </a:lnTo>
                      <a:lnTo>
                        <a:pt x="1066295" y="383327"/>
                      </a:lnTo>
                      <a:lnTo>
                        <a:pt x="995821" y="364551"/>
                      </a:lnTo>
                      <a:lnTo>
                        <a:pt x="989693" y="370810"/>
                      </a:lnTo>
                      <a:lnTo>
                        <a:pt x="1001949" y="383327"/>
                      </a:lnTo>
                      <a:lnTo>
                        <a:pt x="1041782" y="389585"/>
                      </a:lnTo>
                      <a:lnTo>
                        <a:pt x="965180" y="395843"/>
                      </a:lnTo>
                      <a:lnTo>
                        <a:pt x="965180" y="411489"/>
                      </a:lnTo>
                      <a:lnTo>
                        <a:pt x="943732" y="417748"/>
                      </a:lnTo>
                      <a:lnTo>
                        <a:pt x="1001949" y="417748"/>
                      </a:lnTo>
                      <a:lnTo>
                        <a:pt x="1035654" y="417748"/>
                      </a:lnTo>
                      <a:lnTo>
                        <a:pt x="1116852" y="424006"/>
                      </a:lnTo>
                      <a:lnTo>
                        <a:pt x="989693" y="480332"/>
                      </a:lnTo>
                      <a:lnTo>
                        <a:pt x="888579" y="489719"/>
                      </a:lnTo>
                      <a:lnTo>
                        <a:pt x="879387" y="502236"/>
                      </a:lnTo>
                      <a:lnTo>
                        <a:pt x="836490" y="502236"/>
                      </a:lnTo>
                      <a:lnTo>
                        <a:pt x="824233" y="502236"/>
                      </a:lnTo>
                      <a:lnTo>
                        <a:pt x="790529" y="514753"/>
                      </a:lnTo>
                      <a:lnTo>
                        <a:pt x="772144" y="538222"/>
                      </a:lnTo>
                      <a:lnTo>
                        <a:pt x="732311" y="560126"/>
                      </a:lnTo>
                      <a:lnTo>
                        <a:pt x="703203" y="560126"/>
                      </a:lnTo>
                      <a:lnTo>
                        <a:pt x="690947" y="578902"/>
                      </a:lnTo>
                      <a:lnTo>
                        <a:pt x="657242" y="572643"/>
                      </a:lnTo>
                      <a:lnTo>
                        <a:pt x="651114" y="585160"/>
                      </a:lnTo>
                      <a:lnTo>
                        <a:pt x="638858" y="578902"/>
                      </a:lnTo>
                      <a:lnTo>
                        <a:pt x="620473" y="578902"/>
                      </a:lnTo>
                      <a:lnTo>
                        <a:pt x="620473" y="591418"/>
                      </a:lnTo>
                      <a:lnTo>
                        <a:pt x="580640" y="591418"/>
                      </a:lnTo>
                      <a:lnTo>
                        <a:pt x="562256" y="597677"/>
                      </a:lnTo>
                      <a:lnTo>
                        <a:pt x="574512" y="603935"/>
                      </a:lnTo>
                      <a:lnTo>
                        <a:pt x="556128" y="616452"/>
                      </a:lnTo>
                      <a:lnTo>
                        <a:pt x="531615" y="610194"/>
                      </a:lnTo>
                      <a:lnTo>
                        <a:pt x="525487" y="622710"/>
                      </a:lnTo>
                      <a:lnTo>
                        <a:pt x="543872" y="638356"/>
                      </a:lnTo>
                      <a:lnTo>
                        <a:pt x="510167" y="638356"/>
                      </a:lnTo>
                      <a:lnTo>
                        <a:pt x="525487" y="650873"/>
                      </a:lnTo>
                      <a:lnTo>
                        <a:pt x="525487" y="663390"/>
                      </a:lnTo>
                      <a:lnTo>
                        <a:pt x="504039" y="663390"/>
                      </a:lnTo>
                      <a:lnTo>
                        <a:pt x="522423" y="669648"/>
                      </a:lnTo>
                      <a:lnTo>
                        <a:pt x="491782" y="682165"/>
                      </a:lnTo>
                      <a:lnTo>
                        <a:pt x="491782" y="688424"/>
                      </a:lnTo>
                      <a:lnTo>
                        <a:pt x="473398" y="688424"/>
                      </a:lnTo>
                      <a:lnTo>
                        <a:pt x="485654" y="694682"/>
                      </a:lnTo>
                      <a:lnTo>
                        <a:pt x="445821" y="704070"/>
                      </a:lnTo>
                      <a:lnTo>
                        <a:pt x="455014" y="710328"/>
                      </a:lnTo>
                      <a:lnTo>
                        <a:pt x="455014" y="741620"/>
                      </a:lnTo>
                      <a:lnTo>
                        <a:pt x="409053" y="782300"/>
                      </a:lnTo>
                      <a:lnTo>
                        <a:pt x="384540" y="788558"/>
                      </a:lnTo>
                      <a:lnTo>
                        <a:pt x="396796" y="801075"/>
                      </a:lnTo>
                      <a:lnTo>
                        <a:pt x="350835" y="807333"/>
                      </a:lnTo>
                      <a:lnTo>
                        <a:pt x="340111" y="801075"/>
                      </a:lnTo>
                      <a:lnTo>
                        <a:pt x="350835" y="788558"/>
                      </a:lnTo>
                      <a:lnTo>
                        <a:pt x="327855" y="782300"/>
                      </a:lnTo>
                      <a:lnTo>
                        <a:pt x="344707" y="772912"/>
                      </a:lnTo>
                      <a:lnTo>
                        <a:pt x="263510" y="776041"/>
                      </a:lnTo>
                      <a:lnTo>
                        <a:pt x="281894" y="772912"/>
                      </a:lnTo>
                      <a:lnTo>
                        <a:pt x="245125" y="754137"/>
                      </a:lnTo>
                      <a:lnTo>
                        <a:pt x="238997" y="747878"/>
                      </a:lnTo>
                      <a:lnTo>
                        <a:pt x="251253" y="741620"/>
                      </a:lnTo>
                      <a:lnTo>
                        <a:pt x="235933" y="729103"/>
                      </a:lnTo>
                      <a:lnTo>
                        <a:pt x="245125" y="722845"/>
                      </a:lnTo>
                      <a:lnTo>
                        <a:pt x="229805" y="710328"/>
                      </a:lnTo>
                      <a:lnTo>
                        <a:pt x="238997" y="700940"/>
                      </a:lnTo>
                      <a:lnTo>
                        <a:pt x="223677" y="694682"/>
                      </a:lnTo>
                      <a:lnTo>
                        <a:pt x="223677" y="650873"/>
                      </a:lnTo>
                      <a:lnTo>
                        <a:pt x="263510" y="632098"/>
                      </a:lnTo>
                      <a:lnTo>
                        <a:pt x="257382" y="622710"/>
                      </a:lnTo>
                      <a:lnTo>
                        <a:pt x="205292" y="644615"/>
                      </a:lnTo>
                      <a:lnTo>
                        <a:pt x="223677" y="622710"/>
                      </a:lnTo>
                      <a:lnTo>
                        <a:pt x="217548" y="603935"/>
                      </a:lnTo>
                      <a:lnTo>
                        <a:pt x="223677" y="597677"/>
                      </a:lnTo>
                      <a:lnTo>
                        <a:pt x="205292" y="591418"/>
                      </a:lnTo>
                      <a:lnTo>
                        <a:pt x="217548" y="578902"/>
                      </a:lnTo>
                      <a:lnTo>
                        <a:pt x="205292" y="578902"/>
                      </a:lnTo>
                      <a:lnTo>
                        <a:pt x="223677" y="572643"/>
                      </a:lnTo>
                      <a:lnTo>
                        <a:pt x="205292" y="560126"/>
                      </a:lnTo>
                      <a:lnTo>
                        <a:pt x="229805" y="544480"/>
                      </a:lnTo>
                      <a:lnTo>
                        <a:pt x="211420" y="538222"/>
                      </a:lnTo>
                      <a:lnTo>
                        <a:pt x="235933" y="521011"/>
                      </a:lnTo>
                      <a:lnTo>
                        <a:pt x="229805" y="521011"/>
                      </a:lnTo>
                      <a:lnTo>
                        <a:pt x="235933" y="508495"/>
                      </a:lnTo>
                      <a:lnTo>
                        <a:pt x="245125" y="502236"/>
                      </a:lnTo>
                      <a:lnTo>
                        <a:pt x="309471" y="502236"/>
                      </a:lnTo>
                      <a:lnTo>
                        <a:pt x="309471" y="489719"/>
                      </a:lnTo>
                      <a:lnTo>
                        <a:pt x="263510" y="489719"/>
                      </a:lnTo>
                      <a:lnTo>
                        <a:pt x="315599" y="483461"/>
                      </a:lnTo>
                      <a:lnTo>
                        <a:pt x="321727" y="467815"/>
                      </a:lnTo>
                      <a:lnTo>
                        <a:pt x="344707" y="467815"/>
                      </a:lnTo>
                      <a:lnTo>
                        <a:pt x="333983" y="455298"/>
                      </a:lnTo>
                      <a:lnTo>
                        <a:pt x="363092" y="430265"/>
                      </a:lnTo>
                      <a:lnTo>
                        <a:pt x="309471" y="430265"/>
                      </a:lnTo>
                      <a:lnTo>
                        <a:pt x="263510" y="405231"/>
                      </a:lnTo>
                      <a:lnTo>
                        <a:pt x="363092" y="417748"/>
                      </a:lnTo>
                      <a:lnTo>
                        <a:pt x="350835" y="411489"/>
                      </a:lnTo>
                      <a:lnTo>
                        <a:pt x="369220" y="402102"/>
                      </a:lnTo>
                      <a:lnTo>
                        <a:pt x="344707" y="395843"/>
                      </a:lnTo>
                      <a:lnTo>
                        <a:pt x="356964" y="389585"/>
                      </a:lnTo>
                      <a:lnTo>
                        <a:pt x="350835" y="383327"/>
                      </a:lnTo>
                      <a:lnTo>
                        <a:pt x="321727" y="383327"/>
                      </a:lnTo>
                      <a:lnTo>
                        <a:pt x="356964" y="370810"/>
                      </a:lnTo>
                      <a:lnTo>
                        <a:pt x="321727" y="358293"/>
                      </a:lnTo>
                      <a:lnTo>
                        <a:pt x="294150" y="370810"/>
                      </a:lnTo>
                      <a:lnTo>
                        <a:pt x="294150" y="383327"/>
                      </a:lnTo>
                      <a:lnTo>
                        <a:pt x="257382" y="377068"/>
                      </a:lnTo>
                      <a:lnTo>
                        <a:pt x="288022" y="358293"/>
                      </a:lnTo>
                      <a:lnTo>
                        <a:pt x="269638" y="358293"/>
                      </a:lnTo>
                      <a:lnTo>
                        <a:pt x="294150" y="345776"/>
                      </a:lnTo>
                      <a:lnTo>
                        <a:pt x="309471" y="330130"/>
                      </a:lnTo>
                      <a:lnTo>
                        <a:pt x="288022" y="323872"/>
                      </a:lnTo>
                      <a:lnTo>
                        <a:pt x="309471" y="311355"/>
                      </a:lnTo>
                      <a:lnTo>
                        <a:pt x="294150" y="311355"/>
                      </a:lnTo>
                      <a:lnTo>
                        <a:pt x="306407" y="280063"/>
                      </a:lnTo>
                      <a:lnTo>
                        <a:pt x="294150" y="280063"/>
                      </a:lnTo>
                      <a:lnTo>
                        <a:pt x="309471" y="273805"/>
                      </a:lnTo>
                      <a:lnTo>
                        <a:pt x="269638" y="245642"/>
                      </a:lnTo>
                      <a:lnTo>
                        <a:pt x="281894" y="239384"/>
                      </a:lnTo>
                      <a:lnTo>
                        <a:pt x="281894" y="233125"/>
                      </a:lnTo>
                      <a:lnTo>
                        <a:pt x="180780" y="214350"/>
                      </a:lnTo>
                      <a:lnTo>
                        <a:pt x="116434" y="226867"/>
                      </a:lnTo>
                      <a:lnTo>
                        <a:pt x="88858" y="214350"/>
                      </a:lnTo>
                      <a:lnTo>
                        <a:pt x="88858" y="226867"/>
                      </a:lnTo>
                      <a:lnTo>
                        <a:pt x="45961" y="220608"/>
                      </a:lnTo>
                      <a:lnTo>
                        <a:pt x="27576" y="208092"/>
                      </a:lnTo>
                      <a:lnTo>
                        <a:pt x="70473" y="195575"/>
                      </a:lnTo>
                      <a:lnTo>
                        <a:pt x="0" y="189316"/>
                      </a:lnTo>
                      <a:lnTo>
                        <a:pt x="147075" y="183058"/>
                      </a:lnTo>
                      <a:lnTo>
                        <a:pt x="153203" y="173670"/>
                      </a:lnTo>
                      <a:lnTo>
                        <a:pt x="153203" y="167412"/>
                      </a:lnTo>
                      <a:lnTo>
                        <a:pt x="52089" y="173670"/>
                      </a:lnTo>
                      <a:lnTo>
                        <a:pt x="58217" y="161154"/>
                      </a:lnTo>
                      <a:lnTo>
                        <a:pt x="12256" y="161154"/>
                      </a:lnTo>
                      <a:lnTo>
                        <a:pt x="12256" y="148637"/>
                      </a:lnTo>
                      <a:lnTo>
                        <a:pt x="134819" y="123603"/>
                      </a:lnTo>
                      <a:lnTo>
                        <a:pt x="193036" y="123603"/>
                      </a:lnTo>
                      <a:lnTo>
                        <a:pt x="235933" y="111087"/>
                      </a:lnTo>
                      <a:lnTo>
                        <a:pt x="235933" y="101699"/>
                      </a:lnTo>
                      <a:lnTo>
                        <a:pt x="281894" y="97005"/>
                      </a:lnTo>
                      <a:lnTo>
                        <a:pt x="223677" y="97005"/>
                      </a:lnTo>
                      <a:lnTo>
                        <a:pt x="193036" y="90747"/>
                      </a:lnTo>
                      <a:lnTo>
                        <a:pt x="300278" y="65713"/>
                      </a:lnTo>
                      <a:lnTo>
                        <a:pt x="356964" y="65713"/>
                      </a:lnTo>
                      <a:lnTo>
                        <a:pt x="356964" y="59455"/>
                      </a:lnTo>
                      <a:lnTo>
                        <a:pt x="375348" y="53196"/>
                      </a:lnTo>
                      <a:lnTo>
                        <a:pt x="369220" y="46938"/>
                      </a:lnTo>
                      <a:lnTo>
                        <a:pt x="396796" y="40680"/>
                      </a:lnTo>
                      <a:lnTo>
                        <a:pt x="415181" y="40680"/>
                      </a:lnTo>
                      <a:lnTo>
                        <a:pt x="531615" y="34421"/>
                      </a:lnTo>
                      <a:lnTo>
                        <a:pt x="550000" y="40680"/>
                      </a:lnTo>
                      <a:lnTo>
                        <a:pt x="562256" y="40680"/>
                      </a:lnTo>
                      <a:lnTo>
                        <a:pt x="620473" y="46938"/>
                      </a:lnTo>
                      <a:lnTo>
                        <a:pt x="602089" y="40680"/>
                      </a:lnTo>
                      <a:lnTo>
                        <a:pt x="632729" y="40680"/>
                      </a:lnTo>
                      <a:lnTo>
                        <a:pt x="614345" y="31292"/>
                      </a:lnTo>
                      <a:lnTo>
                        <a:pt x="738440" y="46938"/>
                      </a:lnTo>
                      <a:lnTo>
                        <a:pt x="747632" y="46938"/>
                      </a:lnTo>
                      <a:lnTo>
                        <a:pt x="732311" y="40680"/>
                      </a:lnTo>
                      <a:lnTo>
                        <a:pt x="766016" y="40680"/>
                      </a:lnTo>
                      <a:lnTo>
                        <a:pt x="747632" y="34421"/>
                      </a:lnTo>
                      <a:lnTo>
                        <a:pt x="796657" y="34421"/>
                      </a:lnTo>
                      <a:lnTo>
                        <a:pt x="732311" y="18775"/>
                      </a:lnTo>
                      <a:lnTo>
                        <a:pt x="747632" y="12517"/>
                      </a:lnTo>
                      <a:lnTo>
                        <a:pt x="808913" y="6258"/>
                      </a:lnTo>
                      <a:lnTo>
                        <a:pt x="885515" y="25034"/>
                      </a:lnTo>
                      <a:lnTo>
                        <a:pt x="894707" y="6258"/>
                      </a:lnTo>
                      <a:close/>
                    </a:path>
                  </a:pathLst>
                </a:custGeom>
                <a:solidFill>
                  <a:srgbClr val="0F4DBC"/>
                </a:solidFill>
                <a:ln w="3175" cap="flat" cmpd="sng">
                  <a:noFill/>
                  <a:prstDash val="solid"/>
                  <a:round/>
                  <a:headEnd type="none" w="med" len="med"/>
                  <a:tailEnd type="none" w="med" len="med"/>
                </a:ln>
                <a:effectLst/>
              </p:spPr>
              <p:txBody>
                <a:bodyPr wrap="square">
                  <a:noAutofit/>
                </a:bodyPr>
                <a:lstStyle/>
                <a:p>
                  <a:endParaRPr lang="en-GB">
                    <a:solidFill>
                      <a:srgbClr val="283E36"/>
                    </a:solidFill>
                    <a:latin typeface="SwissReSans"/>
                  </a:endParaRPr>
                </a:p>
              </p:txBody>
            </p:sp>
            <p:sp>
              <p:nvSpPr>
                <p:cNvPr id="517" name="vMap : Republic of Ireland">
                  <a:extLst>
                    <a:ext uri="{FF2B5EF4-FFF2-40B4-BE49-F238E27FC236}">
                      <a16:creationId xmlns:a16="http://schemas.microsoft.com/office/drawing/2014/main" xmlns="" id="{80004D7B-7A3E-3A49-8809-7A56CCFAC87E}"/>
                    </a:ext>
                  </a:extLst>
                </p:cNvPr>
                <p:cNvSpPr>
                  <a:spLocks noChangeAspect="1"/>
                </p:cNvSpPr>
                <p:nvPr>
                  <p:custDataLst>
                    <p:tags r:id="rId33"/>
                  </p:custDataLst>
                </p:nvPr>
              </p:nvSpPr>
              <p:spPr bwMode="gray">
                <a:xfrm>
                  <a:off x="3915372" y="2789848"/>
                  <a:ext cx="80629" cy="91745"/>
                </a:xfrm>
                <a:custGeom>
                  <a:avLst/>
                  <a:gdLst>
                    <a:gd name="T0" fmla="*/ 24 w 87"/>
                    <a:gd name="T1" fmla="*/ 1 h 96"/>
                    <a:gd name="T2" fmla="*/ 24 w 87"/>
                    <a:gd name="T3" fmla="*/ 0 h 96"/>
                    <a:gd name="T4" fmla="*/ 20 w 87"/>
                    <a:gd name="T5" fmla="*/ 0 h 96"/>
                    <a:gd name="T6" fmla="*/ 15 w 87"/>
                    <a:gd name="T7" fmla="*/ 4 h 96"/>
                    <a:gd name="T8" fmla="*/ 18 w 87"/>
                    <a:gd name="T9" fmla="*/ 6 h 96"/>
                    <a:gd name="T10" fmla="*/ 16 w 87"/>
                    <a:gd name="T11" fmla="*/ 9 h 96"/>
                    <a:gd name="T12" fmla="*/ 7 w 87"/>
                    <a:gd name="T13" fmla="*/ 9 h 96"/>
                    <a:gd name="T14" fmla="*/ 4 w 87"/>
                    <a:gd name="T15" fmla="*/ 12 h 96"/>
                    <a:gd name="T16" fmla="*/ 7 w 87"/>
                    <a:gd name="T17" fmla="*/ 14 h 96"/>
                    <a:gd name="T18" fmla="*/ 4 w 87"/>
                    <a:gd name="T19" fmla="*/ 17 h 96"/>
                    <a:gd name="T20" fmla="*/ 4 w 87"/>
                    <a:gd name="T21" fmla="*/ 19 h 96"/>
                    <a:gd name="T22" fmla="*/ 12 w 87"/>
                    <a:gd name="T23" fmla="*/ 19 h 96"/>
                    <a:gd name="T24" fmla="*/ 4 w 87"/>
                    <a:gd name="T25" fmla="*/ 26 h 96"/>
                    <a:gd name="T26" fmla="*/ 13 w 87"/>
                    <a:gd name="T27" fmla="*/ 25 h 96"/>
                    <a:gd name="T28" fmla="*/ 0 w 87"/>
                    <a:gd name="T29" fmla="*/ 31 h 96"/>
                    <a:gd name="T30" fmla="*/ 3 w 87"/>
                    <a:gd name="T31" fmla="*/ 31 h 96"/>
                    <a:gd name="T32" fmla="*/ 0 w 87"/>
                    <a:gd name="T33" fmla="*/ 34 h 96"/>
                    <a:gd name="T34" fmla="*/ 4 w 87"/>
                    <a:gd name="T35" fmla="*/ 34 h 96"/>
                    <a:gd name="T36" fmla="*/ 0 w 87"/>
                    <a:gd name="T37" fmla="*/ 36 h 96"/>
                    <a:gd name="T38" fmla="*/ 30 w 87"/>
                    <a:gd name="T39" fmla="*/ 31 h 96"/>
                    <a:gd name="T40" fmla="*/ 32 w 87"/>
                    <a:gd name="T41" fmla="*/ 12 h 96"/>
                    <a:gd name="T42" fmla="*/ 32 w 87"/>
                    <a:gd name="T43" fmla="*/ 7 h 96"/>
                    <a:gd name="T44" fmla="*/ 23 w 87"/>
                    <a:gd name="T45" fmla="*/ 10 h 96"/>
                    <a:gd name="T46" fmla="*/ 20 w 87"/>
                    <a:gd name="T47" fmla="*/ 7 h 96"/>
                    <a:gd name="T48" fmla="*/ 24 w 87"/>
                    <a:gd name="T49" fmla="*/ 1 h 9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96">
                      <a:moveTo>
                        <a:pt x="66" y="4"/>
                      </a:moveTo>
                      <a:lnTo>
                        <a:pt x="66" y="0"/>
                      </a:lnTo>
                      <a:lnTo>
                        <a:pt x="54" y="0"/>
                      </a:lnTo>
                      <a:lnTo>
                        <a:pt x="40" y="12"/>
                      </a:lnTo>
                      <a:lnTo>
                        <a:pt x="50" y="16"/>
                      </a:lnTo>
                      <a:lnTo>
                        <a:pt x="42" y="24"/>
                      </a:lnTo>
                      <a:lnTo>
                        <a:pt x="20" y="24"/>
                      </a:lnTo>
                      <a:lnTo>
                        <a:pt x="12" y="32"/>
                      </a:lnTo>
                      <a:lnTo>
                        <a:pt x="20" y="36"/>
                      </a:lnTo>
                      <a:lnTo>
                        <a:pt x="12" y="44"/>
                      </a:lnTo>
                      <a:lnTo>
                        <a:pt x="12" y="50"/>
                      </a:lnTo>
                      <a:lnTo>
                        <a:pt x="32" y="50"/>
                      </a:lnTo>
                      <a:lnTo>
                        <a:pt x="12" y="70"/>
                      </a:lnTo>
                      <a:lnTo>
                        <a:pt x="36" y="66"/>
                      </a:lnTo>
                      <a:lnTo>
                        <a:pt x="0" y="82"/>
                      </a:lnTo>
                      <a:lnTo>
                        <a:pt x="8" y="82"/>
                      </a:lnTo>
                      <a:lnTo>
                        <a:pt x="0" y="90"/>
                      </a:lnTo>
                      <a:lnTo>
                        <a:pt x="12" y="90"/>
                      </a:lnTo>
                      <a:lnTo>
                        <a:pt x="0" y="96"/>
                      </a:lnTo>
                      <a:lnTo>
                        <a:pt x="82" y="82"/>
                      </a:lnTo>
                      <a:lnTo>
                        <a:pt x="87" y="32"/>
                      </a:lnTo>
                      <a:lnTo>
                        <a:pt x="85" y="20"/>
                      </a:lnTo>
                      <a:lnTo>
                        <a:pt x="62" y="28"/>
                      </a:lnTo>
                      <a:lnTo>
                        <a:pt x="54" y="20"/>
                      </a:lnTo>
                      <a:lnTo>
                        <a:pt x="66" y="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18" name="vMap : Northern Ireland">
                  <a:extLst>
                    <a:ext uri="{FF2B5EF4-FFF2-40B4-BE49-F238E27FC236}">
                      <a16:creationId xmlns:a16="http://schemas.microsoft.com/office/drawing/2014/main" xmlns="" id="{B8FD45CF-FDAA-FA4C-855F-F5BDFFCF5735}"/>
                    </a:ext>
                  </a:extLst>
                </p:cNvPr>
                <p:cNvSpPr>
                  <a:spLocks noChangeAspect="1"/>
                </p:cNvSpPr>
                <p:nvPr>
                  <p:custDataLst>
                    <p:tags r:id="rId34"/>
                  </p:custDataLst>
                </p:nvPr>
              </p:nvSpPr>
              <p:spPr bwMode="gray">
                <a:xfrm>
                  <a:off x="3964053" y="2786739"/>
                  <a:ext cx="50203" cy="32655"/>
                </a:xfrm>
                <a:custGeom>
                  <a:avLst/>
                  <a:gdLst>
                    <a:gd name="T0" fmla="*/ 4 w 53"/>
                    <a:gd name="T1" fmla="*/ 3 h 36"/>
                    <a:gd name="T2" fmla="*/ 0 w 53"/>
                    <a:gd name="T3" fmla="*/ 8 h 36"/>
                    <a:gd name="T4" fmla="*/ 3 w 53"/>
                    <a:gd name="T5" fmla="*/ 11 h 36"/>
                    <a:gd name="T6" fmla="*/ 12 w 53"/>
                    <a:gd name="T7" fmla="*/ 8 h 36"/>
                    <a:gd name="T8" fmla="*/ 13 w 53"/>
                    <a:gd name="T9" fmla="*/ 12 h 36"/>
                    <a:gd name="T10" fmla="*/ 21 w 53"/>
                    <a:gd name="T11" fmla="*/ 8 h 36"/>
                    <a:gd name="T12" fmla="*/ 16 w 53"/>
                    <a:gd name="T13" fmla="*/ 1 h 36"/>
                    <a:gd name="T14" fmla="*/ 7 w 53"/>
                    <a:gd name="T15" fmla="*/ 3 h 36"/>
                    <a:gd name="T16" fmla="*/ 6 w 53"/>
                    <a:gd name="T17" fmla="*/ 0 h 36"/>
                    <a:gd name="T18" fmla="*/ 4 w 53"/>
                    <a:gd name="T19" fmla="*/ 3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3" h="36">
                      <a:moveTo>
                        <a:pt x="12" y="8"/>
                      </a:moveTo>
                      <a:lnTo>
                        <a:pt x="0" y="24"/>
                      </a:lnTo>
                      <a:lnTo>
                        <a:pt x="8" y="32"/>
                      </a:lnTo>
                      <a:lnTo>
                        <a:pt x="31" y="24"/>
                      </a:lnTo>
                      <a:lnTo>
                        <a:pt x="33" y="36"/>
                      </a:lnTo>
                      <a:lnTo>
                        <a:pt x="53" y="24"/>
                      </a:lnTo>
                      <a:lnTo>
                        <a:pt x="41" y="4"/>
                      </a:lnTo>
                      <a:lnTo>
                        <a:pt x="20" y="8"/>
                      </a:lnTo>
                      <a:lnTo>
                        <a:pt x="16" y="0"/>
                      </a:lnTo>
                      <a:lnTo>
                        <a:pt x="12"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19" name="vMap : Scotland (Islands)">
                  <a:extLst>
                    <a:ext uri="{FF2B5EF4-FFF2-40B4-BE49-F238E27FC236}">
                      <a16:creationId xmlns:a16="http://schemas.microsoft.com/office/drawing/2014/main" xmlns="" id="{7096DAE8-DB2F-B446-8577-C435F11FF580}"/>
                    </a:ext>
                  </a:extLst>
                </p:cNvPr>
                <p:cNvGrpSpPr/>
                <p:nvPr/>
              </p:nvGrpSpPr>
              <p:grpSpPr>
                <a:xfrm>
                  <a:off x="3996000" y="2654564"/>
                  <a:ext cx="108011" cy="107295"/>
                  <a:chOff x="4841465" y="1132157"/>
                  <a:chExt cx="176896" cy="175728"/>
                </a:xfrm>
                <a:solidFill>
                  <a:srgbClr val="0F4DBC"/>
                </a:solidFill>
              </p:grpSpPr>
              <p:sp>
                <p:nvSpPr>
                  <p:cNvPr id="836" name="vMap : Scotland (Islands)">
                    <a:extLst>
                      <a:ext uri="{FF2B5EF4-FFF2-40B4-BE49-F238E27FC236}">
                        <a16:creationId xmlns:a16="http://schemas.microsoft.com/office/drawing/2014/main" xmlns="" id="{36E60D7E-4BA7-C646-AC06-F2B869E2E1BA}"/>
                      </a:ext>
                    </a:extLst>
                  </p:cNvPr>
                  <p:cNvSpPr>
                    <a:spLocks noChangeAspect="1"/>
                  </p:cNvSpPr>
                  <p:nvPr>
                    <p:custDataLst>
                      <p:tags r:id="rId331"/>
                    </p:custDataLst>
                  </p:nvPr>
                </p:nvSpPr>
                <p:spPr bwMode="gray">
                  <a:xfrm>
                    <a:off x="4856414" y="1295151"/>
                    <a:ext cx="14949" cy="12734"/>
                  </a:xfrm>
                  <a:custGeom>
                    <a:avLst/>
                    <a:gdLst>
                      <a:gd name="T0" fmla="*/ 0 w 12"/>
                      <a:gd name="T1" fmla="*/ 3 h 8"/>
                      <a:gd name="T2" fmla="*/ 3 w 12"/>
                      <a:gd name="T3" fmla="*/ 3 h 8"/>
                      <a:gd name="T4" fmla="*/ 1 w 12"/>
                      <a:gd name="T5" fmla="*/ 0 h 8"/>
                      <a:gd name="T6" fmla="*/ 0 w 12"/>
                      <a:gd name="T7" fmla="*/ 3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8">
                        <a:moveTo>
                          <a:pt x="0" y="8"/>
                        </a:moveTo>
                        <a:lnTo>
                          <a:pt x="12" y="8"/>
                        </a:lnTo>
                        <a:lnTo>
                          <a:pt x="4" y="0"/>
                        </a:lnTo>
                        <a:lnTo>
                          <a:pt x="0" y="8"/>
                        </a:lnTo>
                        <a:close/>
                      </a:path>
                    </a:pathLst>
                  </a:custGeom>
                  <a:grpFill/>
                  <a:ln w="3175">
                    <a:solidFill>
                      <a:srgbClr val="FFFFFF"/>
                    </a:solidFill>
                    <a:round/>
                    <a:headEnd/>
                    <a:tailEnd/>
                  </a:ln>
                </p:spPr>
                <p:txBody>
                  <a:bodyPr/>
                  <a:lstStyle/>
                  <a:p>
                    <a:endParaRPr lang="en-GB">
                      <a:solidFill>
                        <a:srgbClr val="283E36"/>
                      </a:solidFill>
                      <a:latin typeface="SwissReSans"/>
                    </a:endParaRPr>
                  </a:p>
                </p:txBody>
              </p:sp>
              <p:sp>
                <p:nvSpPr>
                  <p:cNvPr id="837" name="vMap : Scotland (Islands)">
                    <a:extLst>
                      <a:ext uri="{FF2B5EF4-FFF2-40B4-BE49-F238E27FC236}">
                        <a16:creationId xmlns:a16="http://schemas.microsoft.com/office/drawing/2014/main" xmlns="" id="{BC0E41AA-E303-E64B-BC1F-96FC3BB29FDB}"/>
                      </a:ext>
                    </a:extLst>
                  </p:cNvPr>
                  <p:cNvSpPr>
                    <a:spLocks noChangeAspect="1"/>
                  </p:cNvSpPr>
                  <p:nvPr>
                    <p:custDataLst>
                      <p:tags r:id="rId332"/>
                    </p:custDataLst>
                  </p:nvPr>
                </p:nvSpPr>
                <p:spPr bwMode="gray">
                  <a:xfrm>
                    <a:off x="5008395" y="1132157"/>
                    <a:ext cx="9966" cy="30562"/>
                  </a:xfrm>
                  <a:custGeom>
                    <a:avLst/>
                    <a:gdLst>
                      <a:gd name="T0" fmla="*/ 2 w 8"/>
                      <a:gd name="T1" fmla="*/ 0 h 20"/>
                      <a:gd name="T2" fmla="*/ 0 w 8"/>
                      <a:gd name="T3" fmla="*/ 4 h 20"/>
                      <a:gd name="T4" fmla="*/ 2 w 8"/>
                      <a:gd name="T5" fmla="*/ 7 h 20"/>
                      <a:gd name="T6" fmla="*/ 2 w 8"/>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0">
                        <a:moveTo>
                          <a:pt x="8" y="0"/>
                        </a:moveTo>
                        <a:lnTo>
                          <a:pt x="0" y="12"/>
                        </a:lnTo>
                        <a:lnTo>
                          <a:pt x="8" y="2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38" name="vMap : Scotland (Islands)">
                    <a:extLst>
                      <a:ext uri="{FF2B5EF4-FFF2-40B4-BE49-F238E27FC236}">
                        <a16:creationId xmlns:a16="http://schemas.microsoft.com/office/drawing/2014/main" xmlns="" id="{86A3FC15-B02D-F546-B617-B6ED6E576F7B}"/>
                      </a:ext>
                    </a:extLst>
                  </p:cNvPr>
                  <p:cNvSpPr>
                    <a:spLocks noChangeAspect="1"/>
                  </p:cNvSpPr>
                  <p:nvPr>
                    <p:custDataLst>
                      <p:tags r:id="rId333"/>
                    </p:custDataLst>
                  </p:nvPr>
                </p:nvSpPr>
                <p:spPr bwMode="gray">
                  <a:xfrm>
                    <a:off x="4841465" y="1251857"/>
                    <a:ext cx="29898" cy="25467"/>
                  </a:xfrm>
                  <a:custGeom>
                    <a:avLst/>
                    <a:gdLst>
                      <a:gd name="T0" fmla="*/ 3 w 20"/>
                      <a:gd name="T1" fmla="*/ 0 h 14"/>
                      <a:gd name="T2" fmla="*/ 0 w 20"/>
                      <a:gd name="T3" fmla="*/ 4 h 14"/>
                      <a:gd name="T4" fmla="*/ 7 w 20"/>
                      <a:gd name="T5" fmla="*/ 7 h 14"/>
                      <a:gd name="T6" fmla="*/ 3 w 20"/>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4">
                        <a:moveTo>
                          <a:pt x="8" y="0"/>
                        </a:moveTo>
                        <a:lnTo>
                          <a:pt x="0" y="8"/>
                        </a:lnTo>
                        <a:lnTo>
                          <a:pt x="20" y="14"/>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20" name="vMap : England + Wales + Scotland">
                  <a:extLst>
                    <a:ext uri="{FF2B5EF4-FFF2-40B4-BE49-F238E27FC236}">
                      <a16:creationId xmlns:a16="http://schemas.microsoft.com/office/drawing/2014/main" xmlns="" id="{7E1615C5-5394-EC45-99F2-A4DD01EA8CA8}"/>
                    </a:ext>
                  </a:extLst>
                </p:cNvPr>
                <p:cNvSpPr>
                  <a:spLocks noChangeAspect="1"/>
                </p:cNvSpPr>
                <p:nvPr>
                  <p:custDataLst>
                    <p:tags r:id="rId35"/>
                  </p:custDataLst>
                </p:nvPr>
              </p:nvSpPr>
              <p:spPr bwMode="gray">
                <a:xfrm>
                  <a:off x="3999042" y="2705879"/>
                  <a:ext cx="147565" cy="214590"/>
                </a:xfrm>
                <a:custGeom>
                  <a:avLst/>
                  <a:gdLst>
                    <a:gd name="T0" fmla="*/ 25 w 158"/>
                    <a:gd name="T1" fmla="*/ 79 h 225"/>
                    <a:gd name="T2" fmla="*/ 52 w 158"/>
                    <a:gd name="T3" fmla="*/ 75 h 225"/>
                    <a:gd name="T4" fmla="*/ 56 w 158"/>
                    <a:gd name="T5" fmla="*/ 72 h 225"/>
                    <a:gd name="T6" fmla="*/ 51 w 158"/>
                    <a:gd name="T7" fmla="*/ 69 h 225"/>
                    <a:gd name="T8" fmla="*/ 60 w 158"/>
                    <a:gd name="T9" fmla="*/ 64 h 225"/>
                    <a:gd name="T10" fmla="*/ 60 w 158"/>
                    <a:gd name="T11" fmla="*/ 58 h 225"/>
                    <a:gd name="T12" fmla="*/ 47 w 158"/>
                    <a:gd name="T13" fmla="*/ 56 h 225"/>
                    <a:gd name="T14" fmla="*/ 50 w 158"/>
                    <a:gd name="T15" fmla="*/ 52 h 225"/>
                    <a:gd name="T16" fmla="*/ 45 w 158"/>
                    <a:gd name="T17" fmla="*/ 48 h 225"/>
                    <a:gd name="T18" fmla="*/ 49 w 158"/>
                    <a:gd name="T19" fmla="*/ 46 h 225"/>
                    <a:gd name="T20" fmla="*/ 39 w 158"/>
                    <a:gd name="T21" fmla="*/ 39 h 225"/>
                    <a:gd name="T22" fmla="*/ 36 w 158"/>
                    <a:gd name="T23" fmla="*/ 31 h 225"/>
                    <a:gd name="T24" fmla="*/ 23 w 158"/>
                    <a:gd name="T25" fmla="*/ 25 h 225"/>
                    <a:gd name="T26" fmla="*/ 29 w 158"/>
                    <a:gd name="T27" fmla="*/ 23 h 225"/>
                    <a:gd name="T28" fmla="*/ 28 w 158"/>
                    <a:gd name="T29" fmla="*/ 20 h 225"/>
                    <a:gd name="T30" fmla="*/ 33 w 158"/>
                    <a:gd name="T31" fmla="*/ 16 h 225"/>
                    <a:gd name="T32" fmla="*/ 34 w 158"/>
                    <a:gd name="T33" fmla="*/ 9 h 225"/>
                    <a:gd name="T34" fmla="*/ 19 w 158"/>
                    <a:gd name="T35" fmla="*/ 10 h 225"/>
                    <a:gd name="T36" fmla="*/ 20 w 158"/>
                    <a:gd name="T37" fmla="*/ 7 h 225"/>
                    <a:gd name="T38" fmla="*/ 19 w 158"/>
                    <a:gd name="T39" fmla="*/ 6 h 225"/>
                    <a:gd name="T40" fmla="*/ 28 w 158"/>
                    <a:gd name="T41" fmla="*/ 1 h 225"/>
                    <a:gd name="T42" fmla="*/ 26 w 158"/>
                    <a:gd name="T43" fmla="*/ 0 h 225"/>
                    <a:gd name="T44" fmla="*/ 14 w 158"/>
                    <a:gd name="T45" fmla="*/ 0 h 225"/>
                    <a:gd name="T46" fmla="*/ 10 w 158"/>
                    <a:gd name="T47" fmla="*/ 3 h 225"/>
                    <a:gd name="T48" fmla="*/ 10 w 158"/>
                    <a:gd name="T49" fmla="*/ 6 h 225"/>
                    <a:gd name="T50" fmla="*/ 6 w 158"/>
                    <a:gd name="T51" fmla="*/ 10 h 225"/>
                    <a:gd name="T52" fmla="*/ 9 w 158"/>
                    <a:gd name="T53" fmla="*/ 13 h 225"/>
                    <a:gd name="T54" fmla="*/ 3 w 158"/>
                    <a:gd name="T55" fmla="*/ 19 h 225"/>
                    <a:gd name="T56" fmla="*/ 9 w 158"/>
                    <a:gd name="T57" fmla="*/ 19 h 225"/>
                    <a:gd name="T58" fmla="*/ 4 w 158"/>
                    <a:gd name="T59" fmla="*/ 31 h 225"/>
                    <a:gd name="T60" fmla="*/ 10 w 158"/>
                    <a:gd name="T61" fmla="*/ 23 h 225"/>
                    <a:gd name="T62" fmla="*/ 9 w 158"/>
                    <a:gd name="T63" fmla="*/ 28 h 225"/>
                    <a:gd name="T64" fmla="*/ 14 w 158"/>
                    <a:gd name="T65" fmla="*/ 26 h 225"/>
                    <a:gd name="T66" fmla="*/ 9 w 158"/>
                    <a:gd name="T67" fmla="*/ 37 h 225"/>
                    <a:gd name="T68" fmla="*/ 23 w 158"/>
                    <a:gd name="T69" fmla="*/ 36 h 225"/>
                    <a:gd name="T70" fmla="*/ 20 w 158"/>
                    <a:gd name="T71" fmla="*/ 40 h 225"/>
                    <a:gd name="T72" fmla="*/ 22 w 158"/>
                    <a:gd name="T73" fmla="*/ 44 h 225"/>
                    <a:gd name="T74" fmla="*/ 26 w 158"/>
                    <a:gd name="T75" fmla="*/ 42 h 225"/>
                    <a:gd name="T76" fmla="*/ 25 w 158"/>
                    <a:gd name="T77" fmla="*/ 50 h 225"/>
                    <a:gd name="T78" fmla="*/ 10 w 158"/>
                    <a:gd name="T79" fmla="*/ 56 h 225"/>
                    <a:gd name="T80" fmla="*/ 15 w 158"/>
                    <a:gd name="T81" fmla="*/ 55 h 225"/>
                    <a:gd name="T82" fmla="*/ 17 w 158"/>
                    <a:gd name="T83" fmla="*/ 59 h 225"/>
                    <a:gd name="T84" fmla="*/ 4 w 158"/>
                    <a:gd name="T85" fmla="*/ 67 h 225"/>
                    <a:gd name="T86" fmla="*/ 19 w 158"/>
                    <a:gd name="T87" fmla="*/ 71 h 225"/>
                    <a:gd name="T88" fmla="*/ 26 w 158"/>
                    <a:gd name="T89" fmla="*/ 67 h 225"/>
                    <a:gd name="T90" fmla="*/ 22 w 158"/>
                    <a:gd name="T91" fmla="*/ 72 h 225"/>
                    <a:gd name="T92" fmla="*/ 14 w 158"/>
                    <a:gd name="T93" fmla="*/ 74 h 225"/>
                    <a:gd name="T94" fmla="*/ 0 w 158"/>
                    <a:gd name="T95" fmla="*/ 85 h 225"/>
                    <a:gd name="T96" fmla="*/ 17 w 158"/>
                    <a:gd name="T97" fmla="*/ 82 h 225"/>
                    <a:gd name="T98" fmla="*/ 17 w 158"/>
                    <a:gd name="T99" fmla="*/ 78 h 225"/>
                    <a:gd name="T100" fmla="*/ 25 w 158"/>
                    <a:gd name="T101" fmla="*/ 79 h 2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58" h="225">
                      <a:moveTo>
                        <a:pt x="66" y="211"/>
                      </a:moveTo>
                      <a:lnTo>
                        <a:pt x="138" y="199"/>
                      </a:lnTo>
                      <a:lnTo>
                        <a:pt x="150" y="191"/>
                      </a:lnTo>
                      <a:lnTo>
                        <a:pt x="136" y="183"/>
                      </a:lnTo>
                      <a:lnTo>
                        <a:pt x="158" y="169"/>
                      </a:lnTo>
                      <a:lnTo>
                        <a:pt x="158" y="153"/>
                      </a:lnTo>
                      <a:lnTo>
                        <a:pt x="124" y="149"/>
                      </a:lnTo>
                      <a:lnTo>
                        <a:pt x="132" y="137"/>
                      </a:lnTo>
                      <a:lnTo>
                        <a:pt x="120" y="127"/>
                      </a:lnTo>
                      <a:lnTo>
                        <a:pt x="128" y="123"/>
                      </a:lnTo>
                      <a:lnTo>
                        <a:pt x="104" y="103"/>
                      </a:lnTo>
                      <a:lnTo>
                        <a:pt x="96" y="81"/>
                      </a:lnTo>
                      <a:lnTo>
                        <a:pt x="62" y="66"/>
                      </a:lnTo>
                      <a:lnTo>
                        <a:pt x="78" y="62"/>
                      </a:lnTo>
                      <a:lnTo>
                        <a:pt x="74" y="54"/>
                      </a:lnTo>
                      <a:lnTo>
                        <a:pt x="86" y="42"/>
                      </a:lnTo>
                      <a:lnTo>
                        <a:pt x="92" y="24"/>
                      </a:lnTo>
                      <a:lnTo>
                        <a:pt x="50" y="28"/>
                      </a:lnTo>
                      <a:lnTo>
                        <a:pt x="54" y="20"/>
                      </a:lnTo>
                      <a:lnTo>
                        <a:pt x="50" y="16"/>
                      </a:lnTo>
                      <a:lnTo>
                        <a:pt x="74" y="4"/>
                      </a:lnTo>
                      <a:lnTo>
                        <a:pt x="70" y="0"/>
                      </a:lnTo>
                      <a:lnTo>
                        <a:pt x="36" y="0"/>
                      </a:lnTo>
                      <a:lnTo>
                        <a:pt x="28" y="8"/>
                      </a:lnTo>
                      <a:lnTo>
                        <a:pt x="28" y="16"/>
                      </a:lnTo>
                      <a:lnTo>
                        <a:pt x="16" y="28"/>
                      </a:lnTo>
                      <a:lnTo>
                        <a:pt x="24" y="36"/>
                      </a:lnTo>
                      <a:lnTo>
                        <a:pt x="8" y="50"/>
                      </a:lnTo>
                      <a:lnTo>
                        <a:pt x="24" y="50"/>
                      </a:lnTo>
                      <a:lnTo>
                        <a:pt x="12" y="83"/>
                      </a:lnTo>
                      <a:lnTo>
                        <a:pt x="28" y="62"/>
                      </a:lnTo>
                      <a:lnTo>
                        <a:pt x="24" y="73"/>
                      </a:lnTo>
                      <a:lnTo>
                        <a:pt x="36" y="69"/>
                      </a:lnTo>
                      <a:lnTo>
                        <a:pt x="24" y="99"/>
                      </a:lnTo>
                      <a:lnTo>
                        <a:pt x="62" y="95"/>
                      </a:lnTo>
                      <a:lnTo>
                        <a:pt x="54" y="107"/>
                      </a:lnTo>
                      <a:lnTo>
                        <a:pt x="58" y="115"/>
                      </a:lnTo>
                      <a:lnTo>
                        <a:pt x="70" y="111"/>
                      </a:lnTo>
                      <a:lnTo>
                        <a:pt x="66" y="133"/>
                      </a:lnTo>
                      <a:lnTo>
                        <a:pt x="28" y="149"/>
                      </a:lnTo>
                      <a:lnTo>
                        <a:pt x="40" y="145"/>
                      </a:lnTo>
                      <a:lnTo>
                        <a:pt x="44" y="157"/>
                      </a:lnTo>
                      <a:lnTo>
                        <a:pt x="12" y="177"/>
                      </a:lnTo>
                      <a:lnTo>
                        <a:pt x="50" y="187"/>
                      </a:lnTo>
                      <a:lnTo>
                        <a:pt x="70" y="179"/>
                      </a:lnTo>
                      <a:lnTo>
                        <a:pt x="58" y="191"/>
                      </a:lnTo>
                      <a:lnTo>
                        <a:pt x="36" y="195"/>
                      </a:lnTo>
                      <a:lnTo>
                        <a:pt x="0" y="225"/>
                      </a:lnTo>
                      <a:lnTo>
                        <a:pt x="44" y="219"/>
                      </a:lnTo>
                      <a:lnTo>
                        <a:pt x="46" y="207"/>
                      </a:lnTo>
                      <a:lnTo>
                        <a:pt x="66" y="21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21" name="vMap : Finland">
                  <a:extLst>
                    <a:ext uri="{FF2B5EF4-FFF2-40B4-BE49-F238E27FC236}">
                      <a16:creationId xmlns:a16="http://schemas.microsoft.com/office/drawing/2014/main" xmlns="" id="{EFB662CE-734B-9840-AC28-9B976E31793C}"/>
                    </a:ext>
                  </a:extLst>
                </p:cNvPr>
                <p:cNvSpPr>
                  <a:spLocks noChangeAspect="1"/>
                </p:cNvSpPr>
                <p:nvPr>
                  <p:custDataLst>
                    <p:tags r:id="rId36"/>
                  </p:custDataLst>
                </p:nvPr>
              </p:nvSpPr>
              <p:spPr bwMode="gray">
                <a:xfrm>
                  <a:off x="4485852" y="2438419"/>
                  <a:ext cx="199289" cy="234805"/>
                </a:xfrm>
                <a:custGeom>
                  <a:avLst/>
                  <a:gdLst>
                    <a:gd name="T0" fmla="*/ 24 w 215"/>
                    <a:gd name="T1" fmla="*/ 93 h 245"/>
                    <a:gd name="T2" fmla="*/ 21 w 215"/>
                    <a:gd name="T3" fmla="*/ 89 h 245"/>
                    <a:gd name="T4" fmla="*/ 10 w 215"/>
                    <a:gd name="T5" fmla="*/ 86 h 245"/>
                    <a:gd name="T6" fmla="*/ 12 w 215"/>
                    <a:gd name="T7" fmla="*/ 79 h 245"/>
                    <a:gd name="T8" fmla="*/ 7 w 215"/>
                    <a:gd name="T9" fmla="*/ 67 h 245"/>
                    <a:gd name="T10" fmla="*/ 12 w 215"/>
                    <a:gd name="T11" fmla="*/ 64 h 245"/>
                    <a:gd name="T12" fmla="*/ 30 w 215"/>
                    <a:gd name="T13" fmla="*/ 47 h 245"/>
                    <a:gd name="T14" fmla="*/ 37 w 215"/>
                    <a:gd name="T15" fmla="*/ 47 h 245"/>
                    <a:gd name="T16" fmla="*/ 34 w 215"/>
                    <a:gd name="T17" fmla="*/ 41 h 245"/>
                    <a:gd name="T18" fmla="*/ 26 w 215"/>
                    <a:gd name="T19" fmla="*/ 36 h 245"/>
                    <a:gd name="T20" fmla="*/ 23 w 215"/>
                    <a:gd name="T21" fmla="*/ 33 h 245"/>
                    <a:gd name="T22" fmla="*/ 24 w 215"/>
                    <a:gd name="T23" fmla="*/ 29 h 245"/>
                    <a:gd name="T24" fmla="*/ 20 w 215"/>
                    <a:gd name="T25" fmla="*/ 25 h 245"/>
                    <a:gd name="T26" fmla="*/ 20 w 215"/>
                    <a:gd name="T27" fmla="*/ 19 h 245"/>
                    <a:gd name="T28" fmla="*/ 0 w 215"/>
                    <a:gd name="T29" fmla="*/ 9 h 245"/>
                    <a:gd name="T30" fmla="*/ 4 w 215"/>
                    <a:gd name="T31" fmla="*/ 6 h 245"/>
                    <a:gd name="T32" fmla="*/ 12 w 215"/>
                    <a:gd name="T33" fmla="*/ 12 h 245"/>
                    <a:gd name="T34" fmla="*/ 26 w 215"/>
                    <a:gd name="T35" fmla="*/ 12 h 245"/>
                    <a:gd name="T36" fmla="*/ 34 w 215"/>
                    <a:gd name="T37" fmla="*/ 9 h 245"/>
                    <a:gd name="T38" fmla="*/ 34 w 215"/>
                    <a:gd name="T39" fmla="*/ 3 h 245"/>
                    <a:gd name="T40" fmla="*/ 48 w 215"/>
                    <a:gd name="T41" fmla="*/ 0 h 245"/>
                    <a:gd name="T42" fmla="*/ 54 w 215"/>
                    <a:gd name="T43" fmla="*/ 3 h 245"/>
                    <a:gd name="T44" fmla="*/ 55 w 215"/>
                    <a:gd name="T45" fmla="*/ 9 h 245"/>
                    <a:gd name="T46" fmla="*/ 53 w 215"/>
                    <a:gd name="T47" fmla="*/ 10 h 245"/>
                    <a:gd name="T48" fmla="*/ 53 w 215"/>
                    <a:gd name="T49" fmla="*/ 14 h 245"/>
                    <a:gd name="T50" fmla="*/ 65 w 215"/>
                    <a:gd name="T51" fmla="*/ 22 h 245"/>
                    <a:gd name="T52" fmla="*/ 60 w 215"/>
                    <a:gd name="T53" fmla="*/ 28 h 245"/>
                    <a:gd name="T54" fmla="*/ 68 w 215"/>
                    <a:gd name="T55" fmla="*/ 38 h 245"/>
                    <a:gd name="T56" fmla="*/ 66 w 215"/>
                    <a:gd name="T57" fmla="*/ 47 h 245"/>
                    <a:gd name="T58" fmla="*/ 73 w 215"/>
                    <a:gd name="T59" fmla="*/ 52 h 245"/>
                    <a:gd name="T60" fmla="*/ 71 w 215"/>
                    <a:gd name="T61" fmla="*/ 57 h 245"/>
                    <a:gd name="T62" fmla="*/ 80 w 215"/>
                    <a:gd name="T63" fmla="*/ 64 h 245"/>
                    <a:gd name="T64" fmla="*/ 80 w 215"/>
                    <a:gd name="T65" fmla="*/ 67 h 245"/>
                    <a:gd name="T66" fmla="*/ 55 w 215"/>
                    <a:gd name="T67" fmla="*/ 86 h 245"/>
                    <a:gd name="T68" fmla="*/ 24 w 215"/>
                    <a:gd name="T69" fmla="*/ 93 h 2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5" h="245">
                      <a:moveTo>
                        <a:pt x="66" y="245"/>
                      </a:moveTo>
                      <a:lnTo>
                        <a:pt x="58" y="233"/>
                      </a:lnTo>
                      <a:lnTo>
                        <a:pt x="28" y="225"/>
                      </a:lnTo>
                      <a:lnTo>
                        <a:pt x="32" y="207"/>
                      </a:lnTo>
                      <a:lnTo>
                        <a:pt x="20" y="175"/>
                      </a:lnTo>
                      <a:lnTo>
                        <a:pt x="32" y="169"/>
                      </a:lnTo>
                      <a:lnTo>
                        <a:pt x="82" y="123"/>
                      </a:lnTo>
                      <a:lnTo>
                        <a:pt x="100" y="123"/>
                      </a:lnTo>
                      <a:lnTo>
                        <a:pt x="92" y="107"/>
                      </a:lnTo>
                      <a:lnTo>
                        <a:pt x="70" y="95"/>
                      </a:lnTo>
                      <a:lnTo>
                        <a:pt x="62" y="87"/>
                      </a:lnTo>
                      <a:lnTo>
                        <a:pt x="66" y="77"/>
                      </a:lnTo>
                      <a:lnTo>
                        <a:pt x="54" y="66"/>
                      </a:lnTo>
                      <a:lnTo>
                        <a:pt x="54" y="50"/>
                      </a:lnTo>
                      <a:lnTo>
                        <a:pt x="0" y="24"/>
                      </a:lnTo>
                      <a:lnTo>
                        <a:pt x="12" y="16"/>
                      </a:lnTo>
                      <a:lnTo>
                        <a:pt x="32" y="32"/>
                      </a:lnTo>
                      <a:lnTo>
                        <a:pt x="70" y="32"/>
                      </a:lnTo>
                      <a:lnTo>
                        <a:pt x="90" y="24"/>
                      </a:lnTo>
                      <a:lnTo>
                        <a:pt x="92" y="8"/>
                      </a:lnTo>
                      <a:lnTo>
                        <a:pt x="128" y="0"/>
                      </a:lnTo>
                      <a:lnTo>
                        <a:pt x="146" y="8"/>
                      </a:lnTo>
                      <a:lnTo>
                        <a:pt x="150" y="24"/>
                      </a:lnTo>
                      <a:lnTo>
                        <a:pt x="142" y="28"/>
                      </a:lnTo>
                      <a:lnTo>
                        <a:pt x="142" y="38"/>
                      </a:lnTo>
                      <a:lnTo>
                        <a:pt x="174" y="58"/>
                      </a:lnTo>
                      <a:lnTo>
                        <a:pt x="162" y="73"/>
                      </a:lnTo>
                      <a:lnTo>
                        <a:pt x="182" y="99"/>
                      </a:lnTo>
                      <a:lnTo>
                        <a:pt x="178" y="123"/>
                      </a:lnTo>
                      <a:lnTo>
                        <a:pt x="196" y="137"/>
                      </a:lnTo>
                      <a:lnTo>
                        <a:pt x="192" y="149"/>
                      </a:lnTo>
                      <a:lnTo>
                        <a:pt x="215" y="169"/>
                      </a:lnTo>
                      <a:lnTo>
                        <a:pt x="215" y="175"/>
                      </a:lnTo>
                      <a:lnTo>
                        <a:pt x="150" y="225"/>
                      </a:lnTo>
                      <a:lnTo>
                        <a:pt x="66" y="245"/>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22" name="vMap : Norway">
                  <a:extLst>
                    <a:ext uri="{FF2B5EF4-FFF2-40B4-BE49-F238E27FC236}">
                      <a16:creationId xmlns:a16="http://schemas.microsoft.com/office/drawing/2014/main" xmlns="" id="{6BC502B2-EF01-FB44-A8B4-9637BB167B71}"/>
                    </a:ext>
                  </a:extLst>
                </p:cNvPr>
                <p:cNvSpPr>
                  <a:spLocks noChangeAspect="1"/>
                </p:cNvSpPr>
                <p:nvPr>
                  <p:custDataLst>
                    <p:tags r:id="rId37"/>
                  </p:custDataLst>
                </p:nvPr>
              </p:nvSpPr>
              <p:spPr bwMode="gray">
                <a:xfrm>
                  <a:off x="4221149" y="2418204"/>
                  <a:ext cx="433566" cy="304780"/>
                </a:xfrm>
                <a:custGeom>
                  <a:avLst/>
                  <a:gdLst>
                    <a:gd name="T0" fmla="*/ 174 w 464"/>
                    <a:gd name="T1" fmla="*/ 6 h 317"/>
                    <a:gd name="T2" fmla="*/ 168 w 464"/>
                    <a:gd name="T3" fmla="*/ 10 h 317"/>
                    <a:gd name="T4" fmla="*/ 175 w 464"/>
                    <a:gd name="T5" fmla="*/ 12 h 317"/>
                    <a:gd name="T6" fmla="*/ 162 w 464"/>
                    <a:gd name="T7" fmla="*/ 12 h 317"/>
                    <a:gd name="T8" fmla="*/ 141 w 464"/>
                    <a:gd name="T9" fmla="*/ 12 h 317"/>
                    <a:gd name="T10" fmla="*/ 133 w 464"/>
                    <a:gd name="T11" fmla="*/ 20 h 317"/>
                    <a:gd name="T12" fmla="*/ 111 w 464"/>
                    <a:gd name="T13" fmla="*/ 14 h 317"/>
                    <a:gd name="T14" fmla="*/ 103 w 464"/>
                    <a:gd name="T15" fmla="*/ 17 h 317"/>
                    <a:gd name="T16" fmla="*/ 91 w 464"/>
                    <a:gd name="T17" fmla="*/ 22 h 317"/>
                    <a:gd name="T18" fmla="*/ 81 w 464"/>
                    <a:gd name="T19" fmla="*/ 28 h 317"/>
                    <a:gd name="T20" fmla="*/ 80 w 464"/>
                    <a:gd name="T21" fmla="*/ 35 h 317"/>
                    <a:gd name="T22" fmla="*/ 65 w 464"/>
                    <a:gd name="T23" fmla="*/ 53 h 317"/>
                    <a:gd name="T24" fmla="*/ 64 w 464"/>
                    <a:gd name="T25" fmla="*/ 62 h 317"/>
                    <a:gd name="T26" fmla="*/ 51 w 464"/>
                    <a:gd name="T27" fmla="*/ 85 h 317"/>
                    <a:gd name="T28" fmla="*/ 51 w 464"/>
                    <a:gd name="T29" fmla="*/ 92 h 317"/>
                    <a:gd name="T30" fmla="*/ 48 w 464"/>
                    <a:gd name="T31" fmla="*/ 102 h 317"/>
                    <a:gd name="T32" fmla="*/ 44 w 464"/>
                    <a:gd name="T33" fmla="*/ 109 h 317"/>
                    <a:gd name="T34" fmla="*/ 39 w 464"/>
                    <a:gd name="T35" fmla="*/ 102 h 317"/>
                    <a:gd name="T36" fmla="*/ 36 w 464"/>
                    <a:gd name="T37" fmla="*/ 104 h 317"/>
                    <a:gd name="T38" fmla="*/ 32 w 464"/>
                    <a:gd name="T39" fmla="*/ 109 h 317"/>
                    <a:gd name="T40" fmla="*/ 10 w 464"/>
                    <a:gd name="T41" fmla="*/ 120 h 317"/>
                    <a:gd name="T42" fmla="*/ 1 w 464"/>
                    <a:gd name="T43" fmla="*/ 114 h 317"/>
                    <a:gd name="T44" fmla="*/ 0 w 464"/>
                    <a:gd name="T45" fmla="*/ 107 h 317"/>
                    <a:gd name="T46" fmla="*/ 2 w 464"/>
                    <a:gd name="T47" fmla="*/ 102 h 317"/>
                    <a:gd name="T48" fmla="*/ 7 w 464"/>
                    <a:gd name="T49" fmla="*/ 96 h 317"/>
                    <a:gd name="T50" fmla="*/ 2 w 464"/>
                    <a:gd name="T51" fmla="*/ 99 h 317"/>
                    <a:gd name="T52" fmla="*/ 0 w 464"/>
                    <a:gd name="T53" fmla="*/ 92 h 317"/>
                    <a:gd name="T54" fmla="*/ 17 w 464"/>
                    <a:gd name="T55" fmla="*/ 89 h 317"/>
                    <a:gd name="T56" fmla="*/ 13 w 464"/>
                    <a:gd name="T57" fmla="*/ 91 h 317"/>
                    <a:gd name="T58" fmla="*/ 0 w 464"/>
                    <a:gd name="T59" fmla="*/ 91 h 317"/>
                    <a:gd name="T60" fmla="*/ 9 w 464"/>
                    <a:gd name="T61" fmla="*/ 83 h 317"/>
                    <a:gd name="T62" fmla="*/ 10 w 464"/>
                    <a:gd name="T63" fmla="*/ 80 h 317"/>
                    <a:gd name="T64" fmla="*/ 17 w 464"/>
                    <a:gd name="T65" fmla="*/ 77 h 317"/>
                    <a:gd name="T66" fmla="*/ 17 w 464"/>
                    <a:gd name="T67" fmla="*/ 73 h 317"/>
                    <a:gd name="T68" fmla="*/ 34 w 464"/>
                    <a:gd name="T69" fmla="*/ 64 h 317"/>
                    <a:gd name="T70" fmla="*/ 45 w 464"/>
                    <a:gd name="T71" fmla="*/ 58 h 317"/>
                    <a:gd name="T72" fmla="*/ 45 w 464"/>
                    <a:gd name="T73" fmla="*/ 56 h 317"/>
                    <a:gd name="T74" fmla="*/ 51 w 464"/>
                    <a:gd name="T75" fmla="*/ 51 h 317"/>
                    <a:gd name="T76" fmla="*/ 53 w 464"/>
                    <a:gd name="T77" fmla="*/ 45 h 317"/>
                    <a:gd name="T78" fmla="*/ 58 w 464"/>
                    <a:gd name="T79" fmla="*/ 38 h 317"/>
                    <a:gd name="T80" fmla="*/ 71 w 464"/>
                    <a:gd name="T81" fmla="*/ 30 h 317"/>
                    <a:gd name="T82" fmla="*/ 80 w 464"/>
                    <a:gd name="T83" fmla="*/ 26 h 317"/>
                    <a:gd name="T84" fmla="*/ 80 w 464"/>
                    <a:gd name="T85" fmla="*/ 22 h 317"/>
                    <a:gd name="T86" fmla="*/ 87 w 464"/>
                    <a:gd name="T87" fmla="*/ 17 h 317"/>
                    <a:gd name="T88" fmla="*/ 98 w 464"/>
                    <a:gd name="T89" fmla="*/ 16 h 317"/>
                    <a:gd name="T90" fmla="*/ 96 w 464"/>
                    <a:gd name="T91" fmla="*/ 12 h 317"/>
                    <a:gd name="T92" fmla="*/ 100 w 464"/>
                    <a:gd name="T93" fmla="*/ 14 h 317"/>
                    <a:gd name="T94" fmla="*/ 103 w 464"/>
                    <a:gd name="T95" fmla="*/ 14 h 317"/>
                    <a:gd name="T96" fmla="*/ 123 w 464"/>
                    <a:gd name="T97" fmla="*/ 9 h 317"/>
                    <a:gd name="T98" fmla="*/ 139 w 464"/>
                    <a:gd name="T99" fmla="*/ 1 h 317"/>
                    <a:gd name="T100" fmla="*/ 144 w 464"/>
                    <a:gd name="T101" fmla="*/ 6 h 317"/>
                    <a:gd name="T102" fmla="*/ 150 w 464"/>
                    <a:gd name="T103" fmla="*/ 0 h 317"/>
                    <a:gd name="T104" fmla="*/ 153 w 464"/>
                    <a:gd name="T105" fmla="*/ 2 h 317"/>
                    <a:gd name="T106" fmla="*/ 162 w 464"/>
                    <a:gd name="T107" fmla="*/ 1 h 31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64" h="317">
                      <a:moveTo>
                        <a:pt x="428" y="4"/>
                      </a:moveTo>
                      <a:lnTo>
                        <a:pt x="460" y="14"/>
                      </a:lnTo>
                      <a:lnTo>
                        <a:pt x="420" y="18"/>
                      </a:lnTo>
                      <a:lnTo>
                        <a:pt x="444" y="26"/>
                      </a:lnTo>
                      <a:lnTo>
                        <a:pt x="440" y="30"/>
                      </a:lnTo>
                      <a:lnTo>
                        <a:pt x="464" y="30"/>
                      </a:lnTo>
                      <a:lnTo>
                        <a:pt x="432" y="46"/>
                      </a:lnTo>
                      <a:lnTo>
                        <a:pt x="428" y="30"/>
                      </a:lnTo>
                      <a:lnTo>
                        <a:pt x="410" y="22"/>
                      </a:lnTo>
                      <a:lnTo>
                        <a:pt x="374" y="30"/>
                      </a:lnTo>
                      <a:lnTo>
                        <a:pt x="372" y="46"/>
                      </a:lnTo>
                      <a:lnTo>
                        <a:pt x="352" y="54"/>
                      </a:lnTo>
                      <a:lnTo>
                        <a:pt x="314" y="54"/>
                      </a:lnTo>
                      <a:lnTo>
                        <a:pt x="294" y="38"/>
                      </a:lnTo>
                      <a:lnTo>
                        <a:pt x="282" y="46"/>
                      </a:lnTo>
                      <a:lnTo>
                        <a:pt x="272" y="46"/>
                      </a:lnTo>
                      <a:lnTo>
                        <a:pt x="272" y="60"/>
                      </a:lnTo>
                      <a:lnTo>
                        <a:pt x="241" y="56"/>
                      </a:lnTo>
                      <a:lnTo>
                        <a:pt x="233" y="72"/>
                      </a:lnTo>
                      <a:lnTo>
                        <a:pt x="215" y="72"/>
                      </a:lnTo>
                      <a:lnTo>
                        <a:pt x="203" y="84"/>
                      </a:lnTo>
                      <a:lnTo>
                        <a:pt x="211" y="91"/>
                      </a:lnTo>
                      <a:lnTo>
                        <a:pt x="177" y="113"/>
                      </a:lnTo>
                      <a:lnTo>
                        <a:pt x="173" y="137"/>
                      </a:lnTo>
                      <a:lnTo>
                        <a:pt x="161" y="147"/>
                      </a:lnTo>
                      <a:lnTo>
                        <a:pt x="169" y="163"/>
                      </a:lnTo>
                      <a:lnTo>
                        <a:pt x="135" y="171"/>
                      </a:lnTo>
                      <a:lnTo>
                        <a:pt x="135" y="221"/>
                      </a:lnTo>
                      <a:lnTo>
                        <a:pt x="145" y="229"/>
                      </a:lnTo>
                      <a:lnTo>
                        <a:pt x="135" y="241"/>
                      </a:lnTo>
                      <a:lnTo>
                        <a:pt x="137" y="263"/>
                      </a:lnTo>
                      <a:lnTo>
                        <a:pt x="127" y="267"/>
                      </a:lnTo>
                      <a:lnTo>
                        <a:pt x="123" y="289"/>
                      </a:lnTo>
                      <a:lnTo>
                        <a:pt x="115" y="287"/>
                      </a:lnTo>
                      <a:lnTo>
                        <a:pt x="103" y="287"/>
                      </a:lnTo>
                      <a:lnTo>
                        <a:pt x="103" y="267"/>
                      </a:lnTo>
                      <a:lnTo>
                        <a:pt x="99" y="279"/>
                      </a:lnTo>
                      <a:lnTo>
                        <a:pt x="95" y="271"/>
                      </a:lnTo>
                      <a:lnTo>
                        <a:pt x="95" y="289"/>
                      </a:lnTo>
                      <a:lnTo>
                        <a:pt x="85" y="287"/>
                      </a:lnTo>
                      <a:lnTo>
                        <a:pt x="45" y="317"/>
                      </a:lnTo>
                      <a:lnTo>
                        <a:pt x="27" y="313"/>
                      </a:lnTo>
                      <a:lnTo>
                        <a:pt x="27" y="305"/>
                      </a:lnTo>
                      <a:lnTo>
                        <a:pt x="3" y="297"/>
                      </a:lnTo>
                      <a:lnTo>
                        <a:pt x="19" y="283"/>
                      </a:lnTo>
                      <a:lnTo>
                        <a:pt x="0" y="279"/>
                      </a:lnTo>
                      <a:lnTo>
                        <a:pt x="19" y="271"/>
                      </a:lnTo>
                      <a:lnTo>
                        <a:pt x="7" y="267"/>
                      </a:lnTo>
                      <a:lnTo>
                        <a:pt x="35" y="251"/>
                      </a:lnTo>
                      <a:lnTo>
                        <a:pt x="19" y="251"/>
                      </a:lnTo>
                      <a:lnTo>
                        <a:pt x="3" y="267"/>
                      </a:lnTo>
                      <a:lnTo>
                        <a:pt x="7" y="259"/>
                      </a:lnTo>
                      <a:lnTo>
                        <a:pt x="0" y="255"/>
                      </a:lnTo>
                      <a:lnTo>
                        <a:pt x="0" y="241"/>
                      </a:lnTo>
                      <a:lnTo>
                        <a:pt x="35" y="243"/>
                      </a:lnTo>
                      <a:lnTo>
                        <a:pt x="45" y="233"/>
                      </a:lnTo>
                      <a:lnTo>
                        <a:pt x="45" y="225"/>
                      </a:lnTo>
                      <a:lnTo>
                        <a:pt x="35" y="237"/>
                      </a:lnTo>
                      <a:lnTo>
                        <a:pt x="27" y="229"/>
                      </a:lnTo>
                      <a:lnTo>
                        <a:pt x="0" y="237"/>
                      </a:lnTo>
                      <a:lnTo>
                        <a:pt x="0" y="221"/>
                      </a:lnTo>
                      <a:lnTo>
                        <a:pt x="23" y="217"/>
                      </a:lnTo>
                      <a:lnTo>
                        <a:pt x="0" y="209"/>
                      </a:lnTo>
                      <a:lnTo>
                        <a:pt x="27" y="209"/>
                      </a:lnTo>
                      <a:lnTo>
                        <a:pt x="23" y="201"/>
                      </a:lnTo>
                      <a:lnTo>
                        <a:pt x="45" y="201"/>
                      </a:lnTo>
                      <a:lnTo>
                        <a:pt x="35" y="195"/>
                      </a:lnTo>
                      <a:lnTo>
                        <a:pt x="45" y="191"/>
                      </a:lnTo>
                      <a:lnTo>
                        <a:pt x="95" y="175"/>
                      </a:lnTo>
                      <a:lnTo>
                        <a:pt x="89" y="167"/>
                      </a:lnTo>
                      <a:lnTo>
                        <a:pt x="111" y="151"/>
                      </a:lnTo>
                      <a:lnTo>
                        <a:pt x="119" y="151"/>
                      </a:lnTo>
                      <a:lnTo>
                        <a:pt x="127" y="145"/>
                      </a:lnTo>
                      <a:lnTo>
                        <a:pt x="119" y="145"/>
                      </a:lnTo>
                      <a:lnTo>
                        <a:pt x="137" y="137"/>
                      </a:lnTo>
                      <a:lnTo>
                        <a:pt x="135" y="133"/>
                      </a:lnTo>
                      <a:lnTo>
                        <a:pt x="135" y="125"/>
                      </a:lnTo>
                      <a:lnTo>
                        <a:pt x="141" y="117"/>
                      </a:lnTo>
                      <a:lnTo>
                        <a:pt x="157" y="109"/>
                      </a:lnTo>
                      <a:lnTo>
                        <a:pt x="153" y="99"/>
                      </a:lnTo>
                      <a:lnTo>
                        <a:pt x="177" y="84"/>
                      </a:lnTo>
                      <a:lnTo>
                        <a:pt x="187" y="80"/>
                      </a:lnTo>
                      <a:lnTo>
                        <a:pt x="199" y="68"/>
                      </a:lnTo>
                      <a:lnTo>
                        <a:pt x="211" y="68"/>
                      </a:lnTo>
                      <a:lnTo>
                        <a:pt x="207" y="60"/>
                      </a:lnTo>
                      <a:lnTo>
                        <a:pt x="211" y="56"/>
                      </a:lnTo>
                      <a:lnTo>
                        <a:pt x="231" y="54"/>
                      </a:lnTo>
                      <a:lnTo>
                        <a:pt x="231" y="46"/>
                      </a:lnTo>
                      <a:lnTo>
                        <a:pt x="237" y="34"/>
                      </a:lnTo>
                      <a:lnTo>
                        <a:pt x="260" y="42"/>
                      </a:lnTo>
                      <a:lnTo>
                        <a:pt x="252" y="34"/>
                      </a:lnTo>
                      <a:lnTo>
                        <a:pt x="256" y="30"/>
                      </a:lnTo>
                      <a:lnTo>
                        <a:pt x="264" y="30"/>
                      </a:lnTo>
                      <a:lnTo>
                        <a:pt x="264" y="38"/>
                      </a:lnTo>
                      <a:lnTo>
                        <a:pt x="276" y="26"/>
                      </a:lnTo>
                      <a:lnTo>
                        <a:pt x="272" y="38"/>
                      </a:lnTo>
                      <a:lnTo>
                        <a:pt x="294" y="18"/>
                      </a:lnTo>
                      <a:lnTo>
                        <a:pt x="326" y="22"/>
                      </a:lnTo>
                      <a:lnTo>
                        <a:pt x="352" y="0"/>
                      </a:lnTo>
                      <a:lnTo>
                        <a:pt x="368" y="4"/>
                      </a:lnTo>
                      <a:lnTo>
                        <a:pt x="382" y="4"/>
                      </a:lnTo>
                      <a:lnTo>
                        <a:pt x="382" y="14"/>
                      </a:lnTo>
                      <a:lnTo>
                        <a:pt x="390" y="10"/>
                      </a:lnTo>
                      <a:lnTo>
                        <a:pt x="398" y="0"/>
                      </a:lnTo>
                      <a:lnTo>
                        <a:pt x="414" y="0"/>
                      </a:lnTo>
                      <a:lnTo>
                        <a:pt x="406" y="6"/>
                      </a:lnTo>
                      <a:lnTo>
                        <a:pt x="414" y="10"/>
                      </a:lnTo>
                      <a:lnTo>
                        <a:pt x="428" y="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23" name="vMap : Sweden">
                  <a:extLst>
                    <a:ext uri="{FF2B5EF4-FFF2-40B4-BE49-F238E27FC236}">
                      <a16:creationId xmlns:a16="http://schemas.microsoft.com/office/drawing/2014/main" xmlns="" id="{94F043D6-5EAA-D34F-90F6-D8BA03BDFED7}"/>
                    </a:ext>
                  </a:extLst>
                </p:cNvPr>
                <p:cNvGrpSpPr/>
                <p:nvPr/>
              </p:nvGrpSpPr>
              <p:grpSpPr>
                <a:xfrm>
                  <a:off x="4329161" y="2461744"/>
                  <a:ext cx="222107" cy="321885"/>
                  <a:chOff x="5387101" y="816356"/>
                  <a:chExt cx="363757" cy="527186"/>
                </a:xfrm>
                <a:solidFill>
                  <a:srgbClr val="0F4DBC"/>
                </a:solidFill>
              </p:grpSpPr>
              <p:sp>
                <p:nvSpPr>
                  <p:cNvPr id="834" name="vMap : Sweden (Offshore)">
                    <a:extLst>
                      <a:ext uri="{FF2B5EF4-FFF2-40B4-BE49-F238E27FC236}">
                        <a16:creationId xmlns:a16="http://schemas.microsoft.com/office/drawing/2014/main" xmlns="" id="{B54A5E3D-813B-7C49-93F4-FD87637AF434}"/>
                      </a:ext>
                    </a:extLst>
                  </p:cNvPr>
                  <p:cNvSpPr>
                    <a:spLocks noChangeAspect="1"/>
                  </p:cNvSpPr>
                  <p:nvPr>
                    <p:custDataLst>
                      <p:tags r:id="rId329"/>
                    </p:custDataLst>
                  </p:nvPr>
                </p:nvSpPr>
                <p:spPr bwMode="gray">
                  <a:xfrm>
                    <a:off x="5598877" y="1244217"/>
                    <a:ext cx="22424" cy="38202"/>
                  </a:xfrm>
                  <a:custGeom>
                    <a:avLst/>
                    <a:gdLst>
                      <a:gd name="T0" fmla="*/ 0 w 16"/>
                      <a:gd name="T1" fmla="*/ 9 h 26"/>
                      <a:gd name="T2" fmla="*/ 5 w 16"/>
                      <a:gd name="T3" fmla="*/ 5 h 26"/>
                      <a:gd name="T4" fmla="*/ 5 w 16"/>
                      <a:gd name="T5" fmla="*/ 0 h 26"/>
                      <a:gd name="T6" fmla="*/ 0 w 16"/>
                      <a:gd name="T7" fmla="*/ 3 h 26"/>
                      <a:gd name="T8" fmla="*/ 0 w 16"/>
                      <a:gd name="T9" fmla="*/ 9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26">
                        <a:moveTo>
                          <a:pt x="0" y="26"/>
                        </a:moveTo>
                        <a:lnTo>
                          <a:pt x="16" y="16"/>
                        </a:lnTo>
                        <a:lnTo>
                          <a:pt x="16" y="0"/>
                        </a:lnTo>
                        <a:lnTo>
                          <a:pt x="0" y="8"/>
                        </a:lnTo>
                        <a:lnTo>
                          <a:pt x="0" y="2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35" name="vMap : Sweden (Mainland)">
                    <a:extLst>
                      <a:ext uri="{FF2B5EF4-FFF2-40B4-BE49-F238E27FC236}">
                        <a16:creationId xmlns:a16="http://schemas.microsoft.com/office/drawing/2014/main" xmlns="" id="{9FB49562-6D9A-0943-9442-22F7225D0F67}"/>
                      </a:ext>
                    </a:extLst>
                  </p:cNvPr>
                  <p:cNvSpPr>
                    <a:spLocks noChangeAspect="1"/>
                  </p:cNvSpPr>
                  <p:nvPr>
                    <p:custDataLst>
                      <p:tags r:id="rId330"/>
                    </p:custDataLst>
                  </p:nvPr>
                </p:nvSpPr>
                <p:spPr bwMode="gray">
                  <a:xfrm>
                    <a:off x="5387101" y="816356"/>
                    <a:ext cx="363757" cy="527186"/>
                  </a:xfrm>
                  <a:custGeom>
                    <a:avLst/>
                    <a:gdLst>
                      <a:gd name="T0" fmla="*/ 44 w 237"/>
                      <a:gd name="T1" fmla="*/ 78 h 336"/>
                      <a:gd name="T2" fmla="*/ 44 w 237"/>
                      <a:gd name="T3" fmla="*/ 59 h 336"/>
                      <a:gd name="T4" fmla="*/ 51 w 237"/>
                      <a:gd name="T5" fmla="*/ 55 h 336"/>
                      <a:gd name="T6" fmla="*/ 73 w 237"/>
                      <a:gd name="T7" fmla="*/ 41 h 336"/>
                      <a:gd name="T8" fmla="*/ 70 w 237"/>
                      <a:gd name="T9" fmla="*/ 38 h 336"/>
                      <a:gd name="T10" fmla="*/ 73 w 237"/>
                      <a:gd name="T11" fmla="*/ 33 h 336"/>
                      <a:gd name="T12" fmla="*/ 76 w 237"/>
                      <a:gd name="T13" fmla="*/ 31 h 336"/>
                      <a:gd name="T14" fmla="*/ 74 w 237"/>
                      <a:gd name="T15" fmla="*/ 30 h 336"/>
                      <a:gd name="T16" fmla="*/ 90 w 237"/>
                      <a:gd name="T17" fmla="*/ 27 h 336"/>
                      <a:gd name="T18" fmla="*/ 87 w 237"/>
                      <a:gd name="T19" fmla="*/ 24 h 336"/>
                      <a:gd name="T20" fmla="*/ 89 w 237"/>
                      <a:gd name="T21" fmla="*/ 20 h 336"/>
                      <a:gd name="T22" fmla="*/ 84 w 237"/>
                      <a:gd name="T23" fmla="*/ 16 h 336"/>
                      <a:gd name="T24" fmla="*/ 84 w 237"/>
                      <a:gd name="T25" fmla="*/ 10 h 336"/>
                      <a:gd name="T26" fmla="*/ 63 w 237"/>
                      <a:gd name="T27" fmla="*/ 0 h 336"/>
                      <a:gd name="T28" fmla="*/ 60 w 237"/>
                      <a:gd name="T29" fmla="*/ 0 h 336"/>
                      <a:gd name="T30" fmla="*/ 60 w 237"/>
                      <a:gd name="T31" fmla="*/ 6 h 336"/>
                      <a:gd name="T32" fmla="*/ 48 w 237"/>
                      <a:gd name="T33" fmla="*/ 4 h 336"/>
                      <a:gd name="T34" fmla="*/ 45 w 237"/>
                      <a:gd name="T35" fmla="*/ 10 h 336"/>
                      <a:gd name="T36" fmla="*/ 38 w 237"/>
                      <a:gd name="T37" fmla="*/ 10 h 336"/>
                      <a:gd name="T38" fmla="*/ 33 w 237"/>
                      <a:gd name="T39" fmla="*/ 14 h 336"/>
                      <a:gd name="T40" fmla="*/ 36 w 237"/>
                      <a:gd name="T41" fmla="*/ 17 h 336"/>
                      <a:gd name="T42" fmla="*/ 23 w 237"/>
                      <a:gd name="T43" fmla="*/ 25 h 336"/>
                      <a:gd name="T44" fmla="*/ 22 w 237"/>
                      <a:gd name="T45" fmla="*/ 35 h 336"/>
                      <a:gd name="T46" fmla="*/ 17 w 237"/>
                      <a:gd name="T47" fmla="*/ 38 h 336"/>
                      <a:gd name="T48" fmla="*/ 20 w 237"/>
                      <a:gd name="T49" fmla="*/ 44 h 336"/>
                      <a:gd name="T50" fmla="*/ 7 w 237"/>
                      <a:gd name="T51" fmla="*/ 47 h 336"/>
                      <a:gd name="T52" fmla="*/ 7 w 237"/>
                      <a:gd name="T53" fmla="*/ 67 h 336"/>
                      <a:gd name="T54" fmla="*/ 11 w 237"/>
                      <a:gd name="T55" fmla="*/ 70 h 336"/>
                      <a:gd name="T56" fmla="*/ 7 w 237"/>
                      <a:gd name="T57" fmla="*/ 74 h 336"/>
                      <a:gd name="T58" fmla="*/ 9 w 237"/>
                      <a:gd name="T59" fmla="*/ 83 h 336"/>
                      <a:gd name="T60" fmla="*/ 4 w 237"/>
                      <a:gd name="T61" fmla="*/ 84 h 336"/>
                      <a:gd name="T62" fmla="*/ 3 w 237"/>
                      <a:gd name="T63" fmla="*/ 92 h 336"/>
                      <a:gd name="T64" fmla="*/ 0 w 237"/>
                      <a:gd name="T65" fmla="*/ 91 h 336"/>
                      <a:gd name="T66" fmla="*/ 0 w 237"/>
                      <a:gd name="T67" fmla="*/ 99 h 336"/>
                      <a:gd name="T68" fmla="*/ 6 w 237"/>
                      <a:gd name="T69" fmla="*/ 104 h 336"/>
                      <a:gd name="T70" fmla="*/ 4 w 237"/>
                      <a:gd name="T71" fmla="*/ 109 h 336"/>
                      <a:gd name="T72" fmla="*/ 13 w 237"/>
                      <a:gd name="T73" fmla="*/ 117 h 336"/>
                      <a:gd name="T74" fmla="*/ 10 w 237"/>
                      <a:gd name="T75" fmla="*/ 120 h 336"/>
                      <a:gd name="T76" fmla="*/ 13 w 237"/>
                      <a:gd name="T77" fmla="*/ 126 h 336"/>
                      <a:gd name="T78" fmla="*/ 11 w 237"/>
                      <a:gd name="T79" fmla="*/ 128 h 336"/>
                      <a:gd name="T80" fmla="*/ 22 w 237"/>
                      <a:gd name="T81" fmla="*/ 128 h 336"/>
                      <a:gd name="T82" fmla="*/ 25 w 237"/>
                      <a:gd name="T83" fmla="*/ 122 h 336"/>
                      <a:gd name="T84" fmla="*/ 36 w 237"/>
                      <a:gd name="T85" fmla="*/ 120 h 336"/>
                      <a:gd name="T86" fmla="*/ 41 w 237"/>
                      <a:gd name="T87" fmla="*/ 107 h 336"/>
                      <a:gd name="T88" fmla="*/ 41 w 237"/>
                      <a:gd name="T89" fmla="*/ 99 h 336"/>
                      <a:gd name="T90" fmla="*/ 39 w 237"/>
                      <a:gd name="T91" fmla="*/ 99 h 336"/>
                      <a:gd name="T92" fmla="*/ 43 w 237"/>
                      <a:gd name="T93" fmla="*/ 97 h 336"/>
                      <a:gd name="T94" fmla="*/ 36 w 237"/>
                      <a:gd name="T95" fmla="*/ 95 h 336"/>
                      <a:gd name="T96" fmla="*/ 54 w 237"/>
                      <a:gd name="T97" fmla="*/ 90 h 336"/>
                      <a:gd name="T98" fmla="*/ 49 w 237"/>
                      <a:gd name="T99" fmla="*/ 89 h 336"/>
                      <a:gd name="T100" fmla="*/ 57 w 237"/>
                      <a:gd name="T101" fmla="*/ 84 h 336"/>
                      <a:gd name="T102" fmla="*/ 46 w 237"/>
                      <a:gd name="T103" fmla="*/ 76 h 336"/>
                      <a:gd name="T104" fmla="*/ 44 w 237"/>
                      <a:gd name="T105" fmla="*/ 78 h 3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37" h="336">
                        <a:moveTo>
                          <a:pt x="116" y="205"/>
                        </a:moveTo>
                        <a:lnTo>
                          <a:pt x="116" y="155"/>
                        </a:lnTo>
                        <a:lnTo>
                          <a:pt x="133" y="145"/>
                        </a:lnTo>
                        <a:lnTo>
                          <a:pt x="191" y="109"/>
                        </a:lnTo>
                        <a:lnTo>
                          <a:pt x="183" y="99"/>
                        </a:lnTo>
                        <a:lnTo>
                          <a:pt x="191" y="87"/>
                        </a:lnTo>
                        <a:lnTo>
                          <a:pt x="199" y="83"/>
                        </a:lnTo>
                        <a:lnTo>
                          <a:pt x="195" y="79"/>
                        </a:lnTo>
                        <a:lnTo>
                          <a:pt x="237" y="71"/>
                        </a:lnTo>
                        <a:lnTo>
                          <a:pt x="229" y="63"/>
                        </a:lnTo>
                        <a:lnTo>
                          <a:pt x="233" y="53"/>
                        </a:lnTo>
                        <a:lnTo>
                          <a:pt x="221" y="42"/>
                        </a:lnTo>
                        <a:lnTo>
                          <a:pt x="221" y="26"/>
                        </a:lnTo>
                        <a:lnTo>
                          <a:pt x="167" y="0"/>
                        </a:lnTo>
                        <a:lnTo>
                          <a:pt x="157" y="0"/>
                        </a:lnTo>
                        <a:lnTo>
                          <a:pt x="157" y="14"/>
                        </a:lnTo>
                        <a:lnTo>
                          <a:pt x="126" y="10"/>
                        </a:lnTo>
                        <a:lnTo>
                          <a:pt x="118" y="26"/>
                        </a:lnTo>
                        <a:lnTo>
                          <a:pt x="100" y="26"/>
                        </a:lnTo>
                        <a:lnTo>
                          <a:pt x="88" y="38"/>
                        </a:lnTo>
                        <a:lnTo>
                          <a:pt x="96" y="45"/>
                        </a:lnTo>
                        <a:lnTo>
                          <a:pt x="62" y="67"/>
                        </a:lnTo>
                        <a:lnTo>
                          <a:pt x="58" y="91"/>
                        </a:lnTo>
                        <a:lnTo>
                          <a:pt x="46" y="101"/>
                        </a:lnTo>
                        <a:lnTo>
                          <a:pt x="54" y="117"/>
                        </a:lnTo>
                        <a:lnTo>
                          <a:pt x="20" y="125"/>
                        </a:lnTo>
                        <a:lnTo>
                          <a:pt x="20" y="175"/>
                        </a:lnTo>
                        <a:lnTo>
                          <a:pt x="30" y="183"/>
                        </a:lnTo>
                        <a:lnTo>
                          <a:pt x="20" y="195"/>
                        </a:lnTo>
                        <a:lnTo>
                          <a:pt x="22" y="217"/>
                        </a:lnTo>
                        <a:lnTo>
                          <a:pt x="12" y="221"/>
                        </a:lnTo>
                        <a:lnTo>
                          <a:pt x="8" y="243"/>
                        </a:lnTo>
                        <a:lnTo>
                          <a:pt x="0" y="241"/>
                        </a:lnTo>
                        <a:lnTo>
                          <a:pt x="0" y="259"/>
                        </a:lnTo>
                        <a:lnTo>
                          <a:pt x="16" y="275"/>
                        </a:lnTo>
                        <a:lnTo>
                          <a:pt x="12" y="287"/>
                        </a:lnTo>
                        <a:lnTo>
                          <a:pt x="34" y="309"/>
                        </a:lnTo>
                        <a:lnTo>
                          <a:pt x="26" y="317"/>
                        </a:lnTo>
                        <a:lnTo>
                          <a:pt x="34" y="332"/>
                        </a:lnTo>
                        <a:lnTo>
                          <a:pt x="30" y="336"/>
                        </a:lnTo>
                        <a:lnTo>
                          <a:pt x="58" y="336"/>
                        </a:lnTo>
                        <a:lnTo>
                          <a:pt x="66" y="321"/>
                        </a:lnTo>
                        <a:lnTo>
                          <a:pt x="96" y="317"/>
                        </a:lnTo>
                        <a:lnTo>
                          <a:pt x="108" y="283"/>
                        </a:lnTo>
                        <a:lnTo>
                          <a:pt x="108" y="259"/>
                        </a:lnTo>
                        <a:lnTo>
                          <a:pt x="104" y="259"/>
                        </a:lnTo>
                        <a:lnTo>
                          <a:pt x="112" y="255"/>
                        </a:lnTo>
                        <a:lnTo>
                          <a:pt x="96" y="251"/>
                        </a:lnTo>
                        <a:lnTo>
                          <a:pt x="141" y="237"/>
                        </a:lnTo>
                        <a:lnTo>
                          <a:pt x="129" y="233"/>
                        </a:lnTo>
                        <a:lnTo>
                          <a:pt x="149" y="221"/>
                        </a:lnTo>
                        <a:lnTo>
                          <a:pt x="122" y="201"/>
                        </a:lnTo>
                        <a:lnTo>
                          <a:pt x="116" y="205"/>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sp>
              <p:nvSpPr>
                <p:cNvPr id="524" name="vMap : Latvia">
                  <a:extLst>
                    <a:ext uri="{FF2B5EF4-FFF2-40B4-BE49-F238E27FC236}">
                      <a16:creationId xmlns:a16="http://schemas.microsoft.com/office/drawing/2014/main" xmlns="" id="{0D7A403D-753F-B24D-9ABC-411BFF3C72B8}"/>
                    </a:ext>
                  </a:extLst>
                </p:cNvPr>
                <p:cNvSpPr>
                  <a:spLocks noChangeAspect="1"/>
                </p:cNvSpPr>
                <p:nvPr>
                  <p:custDataLst>
                    <p:tags r:id="rId38"/>
                  </p:custDataLst>
                </p:nvPr>
              </p:nvSpPr>
              <p:spPr bwMode="gray">
                <a:xfrm>
                  <a:off x="4516278" y="2715209"/>
                  <a:ext cx="138437" cy="57535"/>
                </a:xfrm>
                <a:custGeom>
                  <a:avLst/>
                  <a:gdLst>
                    <a:gd name="T0" fmla="*/ 44 w 150"/>
                    <a:gd name="T1" fmla="*/ 22 h 61"/>
                    <a:gd name="T2" fmla="*/ 35 w 150"/>
                    <a:gd name="T3" fmla="*/ 18 h 61"/>
                    <a:gd name="T4" fmla="*/ 31 w 150"/>
                    <a:gd name="T5" fmla="*/ 18 h 61"/>
                    <a:gd name="T6" fmla="*/ 30 w 150"/>
                    <a:gd name="T7" fmla="*/ 15 h 61"/>
                    <a:gd name="T8" fmla="*/ 24 w 150"/>
                    <a:gd name="T9" fmla="*/ 17 h 61"/>
                    <a:gd name="T10" fmla="*/ 20 w 150"/>
                    <a:gd name="T11" fmla="*/ 15 h 61"/>
                    <a:gd name="T12" fmla="*/ 8 w 150"/>
                    <a:gd name="T13" fmla="*/ 15 h 61"/>
                    <a:gd name="T14" fmla="*/ 0 w 150"/>
                    <a:gd name="T15" fmla="*/ 18 h 61"/>
                    <a:gd name="T16" fmla="*/ 0 w 150"/>
                    <a:gd name="T17" fmla="*/ 14 h 61"/>
                    <a:gd name="T18" fmla="*/ 4 w 150"/>
                    <a:gd name="T19" fmla="*/ 6 h 61"/>
                    <a:gd name="T20" fmla="*/ 10 w 150"/>
                    <a:gd name="T21" fmla="*/ 4 h 61"/>
                    <a:gd name="T22" fmla="*/ 22 w 150"/>
                    <a:gd name="T23" fmla="*/ 13 h 61"/>
                    <a:gd name="T24" fmla="*/ 24 w 150"/>
                    <a:gd name="T25" fmla="*/ 1 h 61"/>
                    <a:gd name="T26" fmla="*/ 31 w 150"/>
                    <a:gd name="T27" fmla="*/ 0 h 61"/>
                    <a:gd name="T28" fmla="*/ 37 w 150"/>
                    <a:gd name="T29" fmla="*/ 3 h 61"/>
                    <a:gd name="T30" fmla="*/ 41 w 150"/>
                    <a:gd name="T31" fmla="*/ 4 h 61"/>
                    <a:gd name="T32" fmla="*/ 46 w 150"/>
                    <a:gd name="T33" fmla="*/ 4 h 61"/>
                    <a:gd name="T34" fmla="*/ 49 w 150"/>
                    <a:gd name="T35" fmla="*/ 7 h 61"/>
                    <a:gd name="T36" fmla="*/ 49 w 150"/>
                    <a:gd name="T37" fmla="*/ 11 h 61"/>
                    <a:gd name="T38" fmla="*/ 51 w 150"/>
                    <a:gd name="T39" fmla="*/ 11 h 61"/>
                    <a:gd name="T40" fmla="*/ 54 w 150"/>
                    <a:gd name="T41" fmla="*/ 14 h 61"/>
                    <a:gd name="T42" fmla="*/ 55 w 150"/>
                    <a:gd name="T43" fmla="*/ 18 h 61"/>
                    <a:gd name="T44" fmla="*/ 52 w 150"/>
                    <a:gd name="T45" fmla="*/ 18 h 61"/>
                    <a:gd name="T46" fmla="*/ 49 w 150"/>
                    <a:gd name="T47" fmla="*/ 22 h 61"/>
                    <a:gd name="T48" fmla="*/ 46 w 150"/>
                    <a:gd name="T49" fmla="*/ 21 h 61"/>
                    <a:gd name="T50" fmla="*/ 44 w 150"/>
                    <a:gd name="T51" fmla="*/ 22 h 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0" h="61">
                      <a:moveTo>
                        <a:pt x="118" y="61"/>
                      </a:moveTo>
                      <a:lnTo>
                        <a:pt x="96" y="50"/>
                      </a:lnTo>
                      <a:lnTo>
                        <a:pt x="84" y="50"/>
                      </a:lnTo>
                      <a:lnTo>
                        <a:pt x="80" y="42"/>
                      </a:lnTo>
                      <a:lnTo>
                        <a:pt x="64" y="46"/>
                      </a:lnTo>
                      <a:lnTo>
                        <a:pt x="54" y="42"/>
                      </a:lnTo>
                      <a:lnTo>
                        <a:pt x="22" y="42"/>
                      </a:lnTo>
                      <a:lnTo>
                        <a:pt x="0" y="50"/>
                      </a:lnTo>
                      <a:lnTo>
                        <a:pt x="0" y="38"/>
                      </a:lnTo>
                      <a:lnTo>
                        <a:pt x="12" y="16"/>
                      </a:lnTo>
                      <a:lnTo>
                        <a:pt x="26" y="12"/>
                      </a:lnTo>
                      <a:lnTo>
                        <a:pt x="60" y="34"/>
                      </a:lnTo>
                      <a:lnTo>
                        <a:pt x="64" y="4"/>
                      </a:lnTo>
                      <a:lnTo>
                        <a:pt x="84" y="0"/>
                      </a:lnTo>
                      <a:lnTo>
                        <a:pt x="100" y="8"/>
                      </a:lnTo>
                      <a:lnTo>
                        <a:pt x="110" y="12"/>
                      </a:lnTo>
                      <a:lnTo>
                        <a:pt x="126" y="12"/>
                      </a:lnTo>
                      <a:lnTo>
                        <a:pt x="134" y="20"/>
                      </a:lnTo>
                      <a:lnTo>
                        <a:pt x="134" y="30"/>
                      </a:lnTo>
                      <a:lnTo>
                        <a:pt x="138" y="30"/>
                      </a:lnTo>
                      <a:lnTo>
                        <a:pt x="146" y="38"/>
                      </a:lnTo>
                      <a:lnTo>
                        <a:pt x="150" y="50"/>
                      </a:lnTo>
                      <a:lnTo>
                        <a:pt x="142" y="50"/>
                      </a:lnTo>
                      <a:lnTo>
                        <a:pt x="134" y="61"/>
                      </a:lnTo>
                      <a:lnTo>
                        <a:pt x="126" y="58"/>
                      </a:lnTo>
                      <a:lnTo>
                        <a:pt x="118" y="6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25" name="vMap : Lithuania">
                  <a:extLst>
                    <a:ext uri="{FF2B5EF4-FFF2-40B4-BE49-F238E27FC236}">
                      <a16:creationId xmlns:a16="http://schemas.microsoft.com/office/drawing/2014/main" xmlns="" id="{3834A62F-1AD7-7843-AB40-E8CE83898DCD}"/>
                    </a:ext>
                  </a:extLst>
                </p:cNvPr>
                <p:cNvSpPr>
                  <a:spLocks noChangeAspect="1"/>
                </p:cNvSpPr>
                <p:nvPr>
                  <p:custDataLst>
                    <p:tags r:id="rId39"/>
                  </p:custDataLst>
                </p:nvPr>
              </p:nvSpPr>
              <p:spPr bwMode="gray">
                <a:xfrm>
                  <a:off x="4516278" y="2754084"/>
                  <a:ext cx="108011" cy="62200"/>
                </a:xfrm>
                <a:custGeom>
                  <a:avLst/>
                  <a:gdLst>
                    <a:gd name="T0" fmla="*/ 43 w 118"/>
                    <a:gd name="T1" fmla="*/ 7 h 65"/>
                    <a:gd name="T2" fmla="*/ 42 w 118"/>
                    <a:gd name="T3" fmla="*/ 9 h 65"/>
                    <a:gd name="T4" fmla="*/ 42 w 118"/>
                    <a:gd name="T5" fmla="*/ 10 h 65"/>
                    <a:gd name="T6" fmla="*/ 43 w 118"/>
                    <a:gd name="T7" fmla="*/ 12 h 65"/>
                    <a:gd name="T8" fmla="*/ 43 w 118"/>
                    <a:gd name="T9" fmla="*/ 12 h 65"/>
                    <a:gd name="T10" fmla="*/ 38 w 118"/>
                    <a:gd name="T11" fmla="*/ 14 h 65"/>
                    <a:gd name="T12" fmla="*/ 36 w 118"/>
                    <a:gd name="T13" fmla="*/ 20 h 65"/>
                    <a:gd name="T14" fmla="*/ 38 w 118"/>
                    <a:gd name="T15" fmla="*/ 22 h 65"/>
                    <a:gd name="T16" fmla="*/ 33 w 118"/>
                    <a:gd name="T17" fmla="*/ 22 h 65"/>
                    <a:gd name="T18" fmla="*/ 31 w 118"/>
                    <a:gd name="T19" fmla="*/ 23 h 65"/>
                    <a:gd name="T20" fmla="*/ 31 w 118"/>
                    <a:gd name="T21" fmla="*/ 25 h 65"/>
                    <a:gd name="T22" fmla="*/ 19 w 118"/>
                    <a:gd name="T23" fmla="*/ 25 h 65"/>
                    <a:gd name="T24" fmla="*/ 14 w 118"/>
                    <a:gd name="T25" fmla="*/ 22 h 65"/>
                    <a:gd name="T26" fmla="*/ 15 w 118"/>
                    <a:gd name="T27" fmla="*/ 15 h 65"/>
                    <a:gd name="T28" fmla="*/ 14 w 118"/>
                    <a:gd name="T29" fmla="*/ 12 h 65"/>
                    <a:gd name="T30" fmla="*/ 1 w 118"/>
                    <a:gd name="T31" fmla="*/ 12 h 65"/>
                    <a:gd name="T32" fmla="*/ 0 w 118"/>
                    <a:gd name="T33" fmla="*/ 3 h 65"/>
                    <a:gd name="T34" fmla="*/ 8 w 118"/>
                    <a:gd name="T35" fmla="*/ 0 h 65"/>
                    <a:gd name="T36" fmla="*/ 19 w 118"/>
                    <a:gd name="T37" fmla="*/ 0 h 65"/>
                    <a:gd name="T38" fmla="*/ 23 w 118"/>
                    <a:gd name="T39" fmla="*/ 1 h 65"/>
                    <a:gd name="T40" fmla="*/ 29 w 118"/>
                    <a:gd name="T41" fmla="*/ 0 h 65"/>
                    <a:gd name="T42" fmla="*/ 31 w 118"/>
                    <a:gd name="T43" fmla="*/ 3 h 65"/>
                    <a:gd name="T44" fmla="*/ 35 w 118"/>
                    <a:gd name="T45" fmla="*/ 3 h 65"/>
                    <a:gd name="T46" fmla="*/ 43 w 118"/>
                    <a:gd name="T47" fmla="*/ 7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8" h="65">
                      <a:moveTo>
                        <a:pt x="118" y="19"/>
                      </a:moveTo>
                      <a:lnTo>
                        <a:pt x="114" y="23"/>
                      </a:lnTo>
                      <a:lnTo>
                        <a:pt x="114" y="27"/>
                      </a:lnTo>
                      <a:lnTo>
                        <a:pt x="118" y="31"/>
                      </a:lnTo>
                      <a:lnTo>
                        <a:pt x="118" y="33"/>
                      </a:lnTo>
                      <a:lnTo>
                        <a:pt x="104" y="37"/>
                      </a:lnTo>
                      <a:lnTo>
                        <a:pt x="100" y="53"/>
                      </a:lnTo>
                      <a:lnTo>
                        <a:pt x="104" y="57"/>
                      </a:lnTo>
                      <a:lnTo>
                        <a:pt x="92" y="57"/>
                      </a:lnTo>
                      <a:lnTo>
                        <a:pt x="84" y="61"/>
                      </a:lnTo>
                      <a:lnTo>
                        <a:pt x="84" y="65"/>
                      </a:lnTo>
                      <a:lnTo>
                        <a:pt x="54" y="65"/>
                      </a:lnTo>
                      <a:lnTo>
                        <a:pt x="38" y="57"/>
                      </a:lnTo>
                      <a:lnTo>
                        <a:pt x="42" y="41"/>
                      </a:lnTo>
                      <a:lnTo>
                        <a:pt x="38" y="33"/>
                      </a:lnTo>
                      <a:lnTo>
                        <a:pt x="4" y="31"/>
                      </a:lnTo>
                      <a:lnTo>
                        <a:pt x="0" y="8"/>
                      </a:lnTo>
                      <a:lnTo>
                        <a:pt x="22" y="0"/>
                      </a:lnTo>
                      <a:lnTo>
                        <a:pt x="54" y="0"/>
                      </a:lnTo>
                      <a:lnTo>
                        <a:pt x="64" y="4"/>
                      </a:lnTo>
                      <a:lnTo>
                        <a:pt x="80" y="0"/>
                      </a:lnTo>
                      <a:lnTo>
                        <a:pt x="84" y="8"/>
                      </a:lnTo>
                      <a:lnTo>
                        <a:pt x="96" y="8"/>
                      </a:lnTo>
                      <a:lnTo>
                        <a:pt x="118" y="1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26" name="vMap : Belarus">
                  <a:extLst>
                    <a:ext uri="{FF2B5EF4-FFF2-40B4-BE49-F238E27FC236}">
                      <a16:creationId xmlns:a16="http://schemas.microsoft.com/office/drawing/2014/main" xmlns="" id="{04775977-6958-BF4D-8359-F3A2BF19B1A8}"/>
                    </a:ext>
                  </a:extLst>
                </p:cNvPr>
                <p:cNvSpPr>
                  <a:spLocks noChangeAspect="1"/>
                </p:cNvSpPr>
                <p:nvPr>
                  <p:custDataLst>
                    <p:tags r:id="rId40"/>
                  </p:custDataLst>
                </p:nvPr>
              </p:nvSpPr>
              <p:spPr bwMode="gray">
                <a:xfrm>
                  <a:off x="4561916" y="2761859"/>
                  <a:ext cx="185596" cy="119735"/>
                </a:xfrm>
                <a:custGeom>
                  <a:avLst/>
                  <a:gdLst>
                    <a:gd name="T0" fmla="*/ 69 w 199"/>
                    <a:gd name="T1" fmla="*/ 39 h 125"/>
                    <a:gd name="T2" fmla="*/ 63 w 199"/>
                    <a:gd name="T3" fmla="*/ 28 h 125"/>
                    <a:gd name="T4" fmla="*/ 66 w 199"/>
                    <a:gd name="T5" fmla="*/ 28 h 125"/>
                    <a:gd name="T6" fmla="*/ 71 w 199"/>
                    <a:gd name="T7" fmla="*/ 28 h 125"/>
                    <a:gd name="T8" fmla="*/ 75 w 199"/>
                    <a:gd name="T9" fmla="*/ 26 h 125"/>
                    <a:gd name="T10" fmla="*/ 75 w 199"/>
                    <a:gd name="T11" fmla="*/ 25 h 125"/>
                    <a:gd name="T12" fmla="*/ 71 w 199"/>
                    <a:gd name="T13" fmla="*/ 23 h 125"/>
                    <a:gd name="T14" fmla="*/ 67 w 199"/>
                    <a:gd name="T15" fmla="*/ 23 h 125"/>
                    <a:gd name="T16" fmla="*/ 66 w 199"/>
                    <a:gd name="T17" fmla="*/ 20 h 125"/>
                    <a:gd name="T18" fmla="*/ 63 w 199"/>
                    <a:gd name="T19" fmla="*/ 18 h 125"/>
                    <a:gd name="T20" fmla="*/ 58 w 199"/>
                    <a:gd name="T21" fmla="*/ 12 h 125"/>
                    <a:gd name="T22" fmla="*/ 58 w 199"/>
                    <a:gd name="T23" fmla="*/ 9 h 125"/>
                    <a:gd name="T24" fmla="*/ 57 w 199"/>
                    <a:gd name="T25" fmla="*/ 6 h 125"/>
                    <a:gd name="T26" fmla="*/ 51 w 199"/>
                    <a:gd name="T27" fmla="*/ 3 h 125"/>
                    <a:gd name="T28" fmla="*/ 46 w 199"/>
                    <a:gd name="T29" fmla="*/ 4 h 125"/>
                    <a:gd name="T30" fmla="*/ 46 w 199"/>
                    <a:gd name="T31" fmla="*/ 3 h 125"/>
                    <a:gd name="T32" fmla="*/ 44 w 199"/>
                    <a:gd name="T33" fmla="*/ 1 h 125"/>
                    <a:gd name="T34" fmla="*/ 37 w 199"/>
                    <a:gd name="T35" fmla="*/ 0 h 125"/>
                    <a:gd name="T36" fmla="*/ 34 w 199"/>
                    <a:gd name="T37" fmla="*/ 0 h 125"/>
                    <a:gd name="T38" fmla="*/ 31 w 199"/>
                    <a:gd name="T39" fmla="*/ 4 h 125"/>
                    <a:gd name="T40" fmla="*/ 29 w 199"/>
                    <a:gd name="T41" fmla="*/ 3 h 125"/>
                    <a:gd name="T42" fmla="*/ 26 w 199"/>
                    <a:gd name="T43" fmla="*/ 4 h 125"/>
                    <a:gd name="T44" fmla="*/ 24 w 199"/>
                    <a:gd name="T45" fmla="*/ 6 h 125"/>
                    <a:gd name="T46" fmla="*/ 24 w 199"/>
                    <a:gd name="T47" fmla="*/ 7 h 125"/>
                    <a:gd name="T48" fmla="*/ 26 w 199"/>
                    <a:gd name="T49" fmla="*/ 9 h 125"/>
                    <a:gd name="T50" fmla="*/ 26 w 199"/>
                    <a:gd name="T51" fmla="*/ 9 h 125"/>
                    <a:gd name="T52" fmla="*/ 20 w 199"/>
                    <a:gd name="T53" fmla="*/ 11 h 125"/>
                    <a:gd name="T54" fmla="*/ 19 w 199"/>
                    <a:gd name="T55" fmla="*/ 17 h 125"/>
                    <a:gd name="T56" fmla="*/ 20 w 199"/>
                    <a:gd name="T57" fmla="*/ 18 h 125"/>
                    <a:gd name="T58" fmla="*/ 16 w 199"/>
                    <a:gd name="T59" fmla="*/ 18 h 125"/>
                    <a:gd name="T60" fmla="*/ 13 w 199"/>
                    <a:gd name="T61" fmla="*/ 20 h 125"/>
                    <a:gd name="T62" fmla="*/ 13 w 199"/>
                    <a:gd name="T63" fmla="*/ 22 h 125"/>
                    <a:gd name="T64" fmla="*/ 1 w 199"/>
                    <a:gd name="T65" fmla="*/ 22 h 125"/>
                    <a:gd name="T66" fmla="*/ 6 w 199"/>
                    <a:gd name="T67" fmla="*/ 34 h 125"/>
                    <a:gd name="T68" fmla="*/ 0 w 199"/>
                    <a:gd name="T69" fmla="*/ 39 h 125"/>
                    <a:gd name="T70" fmla="*/ 3 w 199"/>
                    <a:gd name="T71" fmla="*/ 45 h 125"/>
                    <a:gd name="T72" fmla="*/ 10 w 199"/>
                    <a:gd name="T73" fmla="*/ 44 h 125"/>
                    <a:gd name="T74" fmla="*/ 13 w 199"/>
                    <a:gd name="T75" fmla="*/ 42 h 125"/>
                    <a:gd name="T76" fmla="*/ 23 w 199"/>
                    <a:gd name="T77" fmla="*/ 42 h 125"/>
                    <a:gd name="T78" fmla="*/ 31 w 199"/>
                    <a:gd name="T79" fmla="*/ 44 h 125"/>
                    <a:gd name="T80" fmla="*/ 37 w 199"/>
                    <a:gd name="T81" fmla="*/ 46 h 125"/>
                    <a:gd name="T82" fmla="*/ 41 w 199"/>
                    <a:gd name="T83" fmla="*/ 45 h 125"/>
                    <a:gd name="T84" fmla="*/ 46 w 199"/>
                    <a:gd name="T85" fmla="*/ 46 h 125"/>
                    <a:gd name="T86" fmla="*/ 48 w 199"/>
                    <a:gd name="T87" fmla="*/ 45 h 125"/>
                    <a:gd name="T88" fmla="*/ 51 w 199"/>
                    <a:gd name="T89" fmla="*/ 47 h 125"/>
                    <a:gd name="T90" fmla="*/ 57 w 199"/>
                    <a:gd name="T91" fmla="*/ 46 h 125"/>
                    <a:gd name="T92" fmla="*/ 58 w 199"/>
                    <a:gd name="T93" fmla="*/ 47 h 125"/>
                    <a:gd name="T94" fmla="*/ 59 w 199"/>
                    <a:gd name="T95" fmla="*/ 46 h 125"/>
                    <a:gd name="T96" fmla="*/ 59 w 199"/>
                    <a:gd name="T97" fmla="*/ 42 h 125"/>
                    <a:gd name="T98" fmla="*/ 63 w 199"/>
                    <a:gd name="T99" fmla="*/ 41 h 125"/>
                    <a:gd name="T100" fmla="*/ 69 w 199"/>
                    <a:gd name="T101" fmla="*/ 39 h 1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9" h="125">
                      <a:moveTo>
                        <a:pt x="183" y="103"/>
                      </a:moveTo>
                      <a:lnTo>
                        <a:pt x="167" y="75"/>
                      </a:lnTo>
                      <a:lnTo>
                        <a:pt x="175" y="73"/>
                      </a:lnTo>
                      <a:lnTo>
                        <a:pt x="187" y="75"/>
                      </a:lnTo>
                      <a:lnTo>
                        <a:pt x="199" y="69"/>
                      </a:lnTo>
                      <a:lnTo>
                        <a:pt x="199" y="65"/>
                      </a:lnTo>
                      <a:lnTo>
                        <a:pt x="187" y="61"/>
                      </a:lnTo>
                      <a:lnTo>
                        <a:pt x="179" y="61"/>
                      </a:lnTo>
                      <a:lnTo>
                        <a:pt x="175" y="53"/>
                      </a:lnTo>
                      <a:lnTo>
                        <a:pt x="167" y="49"/>
                      </a:lnTo>
                      <a:lnTo>
                        <a:pt x="155" y="33"/>
                      </a:lnTo>
                      <a:lnTo>
                        <a:pt x="155" y="25"/>
                      </a:lnTo>
                      <a:lnTo>
                        <a:pt x="151" y="15"/>
                      </a:lnTo>
                      <a:lnTo>
                        <a:pt x="137" y="8"/>
                      </a:lnTo>
                      <a:lnTo>
                        <a:pt x="122" y="11"/>
                      </a:lnTo>
                      <a:lnTo>
                        <a:pt x="122" y="8"/>
                      </a:lnTo>
                      <a:lnTo>
                        <a:pt x="118" y="4"/>
                      </a:lnTo>
                      <a:lnTo>
                        <a:pt x="100" y="0"/>
                      </a:lnTo>
                      <a:lnTo>
                        <a:pt x="92" y="0"/>
                      </a:lnTo>
                      <a:lnTo>
                        <a:pt x="84" y="11"/>
                      </a:lnTo>
                      <a:lnTo>
                        <a:pt x="76" y="8"/>
                      </a:lnTo>
                      <a:lnTo>
                        <a:pt x="68" y="11"/>
                      </a:lnTo>
                      <a:lnTo>
                        <a:pt x="64" y="15"/>
                      </a:lnTo>
                      <a:lnTo>
                        <a:pt x="64" y="19"/>
                      </a:lnTo>
                      <a:lnTo>
                        <a:pt x="68" y="23"/>
                      </a:lnTo>
                      <a:lnTo>
                        <a:pt x="68" y="25"/>
                      </a:lnTo>
                      <a:lnTo>
                        <a:pt x="54" y="29"/>
                      </a:lnTo>
                      <a:lnTo>
                        <a:pt x="50" y="45"/>
                      </a:lnTo>
                      <a:lnTo>
                        <a:pt x="54" y="49"/>
                      </a:lnTo>
                      <a:lnTo>
                        <a:pt x="42" y="49"/>
                      </a:lnTo>
                      <a:lnTo>
                        <a:pt x="34" y="53"/>
                      </a:lnTo>
                      <a:lnTo>
                        <a:pt x="34" y="57"/>
                      </a:lnTo>
                      <a:lnTo>
                        <a:pt x="4" y="57"/>
                      </a:lnTo>
                      <a:lnTo>
                        <a:pt x="14" y="91"/>
                      </a:lnTo>
                      <a:lnTo>
                        <a:pt x="0" y="103"/>
                      </a:lnTo>
                      <a:lnTo>
                        <a:pt x="8" y="119"/>
                      </a:lnTo>
                      <a:lnTo>
                        <a:pt x="26" y="115"/>
                      </a:lnTo>
                      <a:lnTo>
                        <a:pt x="34" y="111"/>
                      </a:lnTo>
                      <a:lnTo>
                        <a:pt x="60" y="111"/>
                      </a:lnTo>
                      <a:lnTo>
                        <a:pt x="84" y="115"/>
                      </a:lnTo>
                      <a:lnTo>
                        <a:pt x="100" y="121"/>
                      </a:lnTo>
                      <a:lnTo>
                        <a:pt x="110" y="119"/>
                      </a:lnTo>
                      <a:lnTo>
                        <a:pt x="122" y="121"/>
                      </a:lnTo>
                      <a:lnTo>
                        <a:pt x="129" y="119"/>
                      </a:lnTo>
                      <a:lnTo>
                        <a:pt x="137" y="125"/>
                      </a:lnTo>
                      <a:lnTo>
                        <a:pt x="151" y="121"/>
                      </a:lnTo>
                      <a:lnTo>
                        <a:pt x="155" y="125"/>
                      </a:lnTo>
                      <a:lnTo>
                        <a:pt x="159" y="121"/>
                      </a:lnTo>
                      <a:lnTo>
                        <a:pt x="159" y="111"/>
                      </a:lnTo>
                      <a:lnTo>
                        <a:pt x="167" y="107"/>
                      </a:lnTo>
                      <a:lnTo>
                        <a:pt x="183" y="103"/>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27" name="vMap : Ukraine">
                  <a:extLst>
                    <a:ext uri="{FF2B5EF4-FFF2-40B4-BE49-F238E27FC236}">
                      <a16:creationId xmlns:a16="http://schemas.microsoft.com/office/drawing/2014/main" xmlns="" id="{4CF281E5-752D-F544-9E02-C3FCC38DEAB2}"/>
                    </a:ext>
                  </a:extLst>
                </p:cNvPr>
                <p:cNvSpPr>
                  <a:spLocks noChangeAspect="1"/>
                </p:cNvSpPr>
                <p:nvPr>
                  <p:custDataLst>
                    <p:tags r:id="rId41"/>
                  </p:custDataLst>
                </p:nvPr>
              </p:nvSpPr>
              <p:spPr bwMode="gray">
                <a:xfrm>
                  <a:off x="4548225" y="2856714"/>
                  <a:ext cx="355980" cy="206815"/>
                </a:xfrm>
                <a:custGeom>
                  <a:avLst/>
                  <a:gdLst>
                    <a:gd name="T0" fmla="*/ 113 w 383"/>
                    <a:gd name="T1" fmla="*/ 59 h 217"/>
                    <a:gd name="T2" fmla="*/ 100 w 383"/>
                    <a:gd name="T3" fmla="*/ 62 h 217"/>
                    <a:gd name="T4" fmla="*/ 103 w 383"/>
                    <a:gd name="T5" fmla="*/ 66 h 217"/>
                    <a:gd name="T6" fmla="*/ 120 w 383"/>
                    <a:gd name="T7" fmla="*/ 70 h 217"/>
                    <a:gd name="T8" fmla="*/ 113 w 383"/>
                    <a:gd name="T9" fmla="*/ 75 h 217"/>
                    <a:gd name="T10" fmla="*/ 96 w 383"/>
                    <a:gd name="T11" fmla="*/ 80 h 217"/>
                    <a:gd name="T12" fmla="*/ 87 w 383"/>
                    <a:gd name="T13" fmla="*/ 72 h 217"/>
                    <a:gd name="T14" fmla="*/ 80 w 383"/>
                    <a:gd name="T15" fmla="*/ 63 h 217"/>
                    <a:gd name="T16" fmla="*/ 84 w 383"/>
                    <a:gd name="T17" fmla="*/ 61 h 217"/>
                    <a:gd name="T18" fmla="*/ 70 w 383"/>
                    <a:gd name="T19" fmla="*/ 64 h 217"/>
                    <a:gd name="T20" fmla="*/ 62 w 383"/>
                    <a:gd name="T21" fmla="*/ 72 h 217"/>
                    <a:gd name="T22" fmla="*/ 54 w 383"/>
                    <a:gd name="T23" fmla="*/ 69 h 217"/>
                    <a:gd name="T24" fmla="*/ 59 w 383"/>
                    <a:gd name="T25" fmla="*/ 64 h 217"/>
                    <a:gd name="T26" fmla="*/ 65 w 383"/>
                    <a:gd name="T27" fmla="*/ 61 h 217"/>
                    <a:gd name="T28" fmla="*/ 62 w 383"/>
                    <a:gd name="T29" fmla="*/ 55 h 217"/>
                    <a:gd name="T30" fmla="*/ 59 w 383"/>
                    <a:gd name="T31" fmla="*/ 49 h 217"/>
                    <a:gd name="T32" fmla="*/ 50 w 383"/>
                    <a:gd name="T33" fmla="*/ 44 h 217"/>
                    <a:gd name="T34" fmla="*/ 39 w 383"/>
                    <a:gd name="T35" fmla="*/ 40 h 217"/>
                    <a:gd name="T36" fmla="*/ 23 w 383"/>
                    <a:gd name="T37" fmla="*/ 47 h 217"/>
                    <a:gd name="T38" fmla="*/ 0 w 383"/>
                    <a:gd name="T39" fmla="*/ 40 h 217"/>
                    <a:gd name="T40" fmla="*/ 14 w 383"/>
                    <a:gd name="T41" fmla="*/ 19 h 217"/>
                    <a:gd name="T42" fmla="*/ 16 w 383"/>
                    <a:gd name="T43" fmla="*/ 6 h 217"/>
                    <a:gd name="T44" fmla="*/ 28 w 383"/>
                    <a:gd name="T45" fmla="*/ 4 h 217"/>
                    <a:gd name="T46" fmla="*/ 43 w 383"/>
                    <a:gd name="T47" fmla="*/ 8 h 217"/>
                    <a:gd name="T48" fmla="*/ 51 w 383"/>
                    <a:gd name="T49" fmla="*/ 8 h 217"/>
                    <a:gd name="T50" fmla="*/ 57 w 383"/>
                    <a:gd name="T51" fmla="*/ 10 h 217"/>
                    <a:gd name="T52" fmla="*/ 64 w 383"/>
                    <a:gd name="T53" fmla="*/ 10 h 217"/>
                    <a:gd name="T54" fmla="*/ 65 w 383"/>
                    <a:gd name="T55" fmla="*/ 4 h 217"/>
                    <a:gd name="T56" fmla="*/ 75 w 383"/>
                    <a:gd name="T57" fmla="*/ 1 h 217"/>
                    <a:gd name="T58" fmla="*/ 79 w 383"/>
                    <a:gd name="T59" fmla="*/ 0 h 217"/>
                    <a:gd name="T60" fmla="*/ 95 w 383"/>
                    <a:gd name="T61" fmla="*/ 4 h 217"/>
                    <a:gd name="T62" fmla="*/ 93 w 383"/>
                    <a:gd name="T63" fmla="*/ 6 h 217"/>
                    <a:gd name="T64" fmla="*/ 101 w 383"/>
                    <a:gd name="T65" fmla="*/ 10 h 217"/>
                    <a:gd name="T66" fmla="*/ 115 w 383"/>
                    <a:gd name="T67" fmla="*/ 20 h 217"/>
                    <a:gd name="T68" fmla="*/ 126 w 383"/>
                    <a:gd name="T69" fmla="*/ 23 h 217"/>
                    <a:gd name="T70" fmla="*/ 143 w 383"/>
                    <a:gd name="T71" fmla="*/ 27 h 217"/>
                    <a:gd name="T72" fmla="*/ 143 w 383"/>
                    <a:gd name="T73" fmla="*/ 30 h 217"/>
                    <a:gd name="T74" fmla="*/ 140 w 383"/>
                    <a:gd name="T75" fmla="*/ 33 h 217"/>
                    <a:gd name="T76" fmla="*/ 140 w 383"/>
                    <a:gd name="T77" fmla="*/ 36 h 217"/>
                    <a:gd name="T78" fmla="*/ 143 w 383"/>
                    <a:gd name="T79" fmla="*/ 44 h 217"/>
                    <a:gd name="T80" fmla="*/ 132 w 383"/>
                    <a:gd name="T81" fmla="*/ 47 h 217"/>
                    <a:gd name="T82" fmla="*/ 132 w 383"/>
                    <a:gd name="T83" fmla="*/ 55 h 2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83" h="217">
                      <a:moveTo>
                        <a:pt x="353" y="146"/>
                      </a:moveTo>
                      <a:lnTo>
                        <a:pt x="303" y="158"/>
                      </a:lnTo>
                      <a:lnTo>
                        <a:pt x="283" y="176"/>
                      </a:lnTo>
                      <a:lnTo>
                        <a:pt x="267" y="164"/>
                      </a:lnTo>
                      <a:lnTo>
                        <a:pt x="257" y="168"/>
                      </a:lnTo>
                      <a:lnTo>
                        <a:pt x="275" y="176"/>
                      </a:lnTo>
                      <a:lnTo>
                        <a:pt x="291" y="192"/>
                      </a:lnTo>
                      <a:lnTo>
                        <a:pt x="321" y="188"/>
                      </a:lnTo>
                      <a:lnTo>
                        <a:pt x="321" y="199"/>
                      </a:lnTo>
                      <a:lnTo>
                        <a:pt x="303" y="199"/>
                      </a:lnTo>
                      <a:lnTo>
                        <a:pt x="271" y="217"/>
                      </a:lnTo>
                      <a:lnTo>
                        <a:pt x="257" y="213"/>
                      </a:lnTo>
                      <a:lnTo>
                        <a:pt x="253" y="195"/>
                      </a:lnTo>
                      <a:lnTo>
                        <a:pt x="233" y="192"/>
                      </a:lnTo>
                      <a:lnTo>
                        <a:pt x="257" y="172"/>
                      </a:lnTo>
                      <a:lnTo>
                        <a:pt x="215" y="168"/>
                      </a:lnTo>
                      <a:lnTo>
                        <a:pt x="221" y="164"/>
                      </a:lnTo>
                      <a:lnTo>
                        <a:pt x="225" y="162"/>
                      </a:lnTo>
                      <a:lnTo>
                        <a:pt x="215" y="154"/>
                      </a:lnTo>
                      <a:lnTo>
                        <a:pt x="187" y="172"/>
                      </a:lnTo>
                      <a:lnTo>
                        <a:pt x="171" y="184"/>
                      </a:lnTo>
                      <a:lnTo>
                        <a:pt x="167" y="192"/>
                      </a:lnTo>
                      <a:lnTo>
                        <a:pt x="138" y="188"/>
                      </a:lnTo>
                      <a:lnTo>
                        <a:pt x="145" y="184"/>
                      </a:lnTo>
                      <a:lnTo>
                        <a:pt x="149" y="180"/>
                      </a:lnTo>
                      <a:lnTo>
                        <a:pt x="157" y="172"/>
                      </a:lnTo>
                      <a:lnTo>
                        <a:pt x="157" y="162"/>
                      </a:lnTo>
                      <a:lnTo>
                        <a:pt x="175" y="162"/>
                      </a:lnTo>
                      <a:lnTo>
                        <a:pt x="175" y="154"/>
                      </a:lnTo>
                      <a:lnTo>
                        <a:pt x="167" y="146"/>
                      </a:lnTo>
                      <a:lnTo>
                        <a:pt x="165" y="138"/>
                      </a:lnTo>
                      <a:lnTo>
                        <a:pt x="157" y="130"/>
                      </a:lnTo>
                      <a:lnTo>
                        <a:pt x="153" y="118"/>
                      </a:lnTo>
                      <a:lnTo>
                        <a:pt x="134" y="116"/>
                      </a:lnTo>
                      <a:lnTo>
                        <a:pt x="120" y="108"/>
                      </a:lnTo>
                      <a:lnTo>
                        <a:pt x="104" y="108"/>
                      </a:lnTo>
                      <a:lnTo>
                        <a:pt x="100" y="116"/>
                      </a:lnTo>
                      <a:lnTo>
                        <a:pt x="62" y="126"/>
                      </a:lnTo>
                      <a:lnTo>
                        <a:pt x="16" y="122"/>
                      </a:lnTo>
                      <a:lnTo>
                        <a:pt x="0" y="108"/>
                      </a:lnTo>
                      <a:lnTo>
                        <a:pt x="4" y="88"/>
                      </a:lnTo>
                      <a:lnTo>
                        <a:pt x="38" y="50"/>
                      </a:lnTo>
                      <a:lnTo>
                        <a:pt x="24" y="20"/>
                      </a:lnTo>
                      <a:lnTo>
                        <a:pt x="42" y="16"/>
                      </a:lnTo>
                      <a:lnTo>
                        <a:pt x="50" y="12"/>
                      </a:lnTo>
                      <a:lnTo>
                        <a:pt x="76" y="12"/>
                      </a:lnTo>
                      <a:lnTo>
                        <a:pt x="100" y="16"/>
                      </a:lnTo>
                      <a:lnTo>
                        <a:pt x="116" y="22"/>
                      </a:lnTo>
                      <a:lnTo>
                        <a:pt x="126" y="20"/>
                      </a:lnTo>
                      <a:lnTo>
                        <a:pt x="138" y="22"/>
                      </a:lnTo>
                      <a:lnTo>
                        <a:pt x="145" y="20"/>
                      </a:lnTo>
                      <a:lnTo>
                        <a:pt x="153" y="26"/>
                      </a:lnTo>
                      <a:lnTo>
                        <a:pt x="167" y="22"/>
                      </a:lnTo>
                      <a:lnTo>
                        <a:pt x="171" y="26"/>
                      </a:lnTo>
                      <a:lnTo>
                        <a:pt x="175" y="22"/>
                      </a:lnTo>
                      <a:lnTo>
                        <a:pt x="175" y="12"/>
                      </a:lnTo>
                      <a:lnTo>
                        <a:pt x="183" y="8"/>
                      </a:lnTo>
                      <a:lnTo>
                        <a:pt x="199" y="4"/>
                      </a:lnTo>
                      <a:lnTo>
                        <a:pt x="203" y="8"/>
                      </a:lnTo>
                      <a:lnTo>
                        <a:pt x="211" y="0"/>
                      </a:lnTo>
                      <a:lnTo>
                        <a:pt x="237" y="0"/>
                      </a:lnTo>
                      <a:lnTo>
                        <a:pt x="253" y="12"/>
                      </a:lnTo>
                      <a:lnTo>
                        <a:pt x="253" y="16"/>
                      </a:lnTo>
                      <a:lnTo>
                        <a:pt x="249" y="16"/>
                      </a:lnTo>
                      <a:lnTo>
                        <a:pt x="253" y="26"/>
                      </a:lnTo>
                      <a:lnTo>
                        <a:pt x="271" y="26"/>
                      </a:lnTo>
                      <a:lnTo>
                        <a:pt x="283" y="50"/>
                      </a:lnTo>
                      <a:lnTo>
                        <a:pt x="307" y="54"/>
                      </a:lnTo>
                      <a:lnTo>
                        <a:pt x="321" y="50"/>
                      </a:lnTo>
                      <a:lnTo>
                        <a:pt x="337" y="62"/>
                      </a:lnTo>
                      <a:lnTo>
                        <a:pt x="345" y="62"/>
                      </a:lnTo>
                      <a:lnTo>
                        <a:pt x="383" y="72"/>
                      </a:lnTo>
                      <a:lnTo>
                        <a:pt x="379" y="72"/>
                      </a:lnTo>
                      <a:lnTo>
                        <a:pt x="383" y="80"/>
                      </a:lnTo>
                      <a:lnTo>
                        <a:pt x="383" y="84"/>
                      </a:lnTo>
                      <a:lnTo>
                        <a:pt x="375" y="88"/>
                      </a:lnTo>
                      <a:lnTo>
                        <a:pt x="383" y="92"/>
                      </a:lnTo>
                      <a:lnTo>
                        <a:pt x="375" y="96"/>
                      </a:lnTo>
                      <a:lnTo>
                        <a:pt x="383" y="108"/>
                      </a:lnTo>
                      <a:lnTo>
                        <a:pt x="383" y="118"/>
                      </a:lnTo>
                      <a:lnTo>
                        <a:pt x="363" y="118"/>
                      </a:lnTo>
                      <a:lnTo>
                        <a:pt x="353" y="126"/>
                      </a:lnTo>
                      <a:lnTo>
                        <a:pt x="353" y="130"/>
                      </a:lnTo>
                      <a:lnTo>
                        <a:pt x="353" y="14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28" name="vMap : Estonia">
                  <a:extLst>
                    <a:ext uri="{FF2B5EF4-FFF2-40B4-BE49-F238E27FC236}">
                      <a16:creationId xmlns:a16="http://schemas.microsoft.com/office/drawing/2014/main" xmlns="" id="{54773D23-F940-664A-B532-C75C6F719A2B}"/>
                    </a:ext>
                  </a:extLst>
                </p:cNvPr>
                <p:cNvGrpSpPr/>
                <p:nvPr/>
              </p:nvGrpSpPr>
              <p:grpSpPr>
                <a:xfrm>
                  <a:off x="4529970" y="2677889"/>
                  <a:ext cx="114097" cy="46650"/>
                  <a:chOff x="5715977" y="1170359"/>
                  <a:chExt cx="186863" cy="76404"/>
                </a:xfrm>
                <a:solidFill>
                  <a:srgbClr val="0F4DBC"/>
                </a:solidFill>
              </p:grpSpPr>
              <p:sp>
                <p:nvSpPr>
                  <p:cNvPr id="832" name="vMap : Estonia (Offshore)">
                    <a:extLst>
                      <a:ext uri="{FF2B5EF4-FFF2-40B4-BE49-F238E27FC236}">
                        <a16:creationId xmlns:a16="http://schemas.microsoft.com/office/drawing/2014/main" xmlns="" id="{D83AB7AF-02F3-1347-A61F-B8C766144F43}"/>
                      </a:ext>
                    </a:extLst>
                  </p:cNvPr>
                  <p:cNvSpPr>
                    <a:spLocks noChangeAspect="1"/>
                  </p:cNvSpPr>
                  <p:nvPr>
                    <p:custDataLst>
                      <p:tags r:id="rId327"/>
                    </p:custDataLst>
                  </p:nvPr>
                </p:nvSpPr>
                <p:spPr bwMode="gray">
                  <a:xfrm>
                    <a:off x="5715977" y="1216202"/>
                    <a:ext cx="39864" cy="28015"/>
                  </a:xfrm>
                  <a:custGeom>
                    <a:avLst/>
                    <a:gdLst>
                      <a:gd name="T0" fmla="*/ 8 w 28"/>
                      <a:gd name="T1" fmla="*/ 0 h 16"/>
                      <a:gd name="T2" fmla="*/ 0 w 28"/>
                      <a:gd name="T3" fmla="*/ 0 h 16"/>
                      <a:gd name="T4" fmla="*/ 1 w 28"/>
                      <a:gd name="T5" fmla="*/ 8 h 16"/>
                      <a:gd name="T6" fmla="*/ 9 w 28"/>
                      <a:gd name="T7" fmla="*/ 2 h 16"/>
                      <a:gd name="T8" fmla="*/ 8 w 28"/>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6">
                        <a:moveTo>
                          <a:pt x="24" y="0"/>
                        </a:moveTo>
                        <a:lnTo>
                          <a:pt x="0" y="0"/>
                        </a:lnTo>
                        <a:lnTo>
                          <a:pt x="4" y="16"/>
                        </a:lnTo>
                        <a:lnTo>
                          <a:pt x="28" y="4"/>
                        </a:lnTo>
                        <a:lnTo>
                          <a:pt x="2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33" name="vMap : Estonia (Mainland)">
                    <a:extLst>
                      <a:ext uri="{FF2B5EF4-FFF2-40B4-BE49-F238E27FC236}">
                        <a16:creationId xmlns:a16="http://schemas.microsoft.com/office/drawing/2014/main" xmlns="" id="{47663FD4-08B6-AA43-9BC9-417C287CDA6D}"/>
                      </a:ext>
                    </a:extLst>
                  </p:cNvPr>
                  <p:cNvSpPr>
                    <a:spLocks noChangeAspect="1"/>
                  </p:cNvSpPr>
                  <p:nvPr>
                    <p:custDataLst>
                      <p:tags r:id="rId328"/>
                    </p:custDataLst>
                  </p:nvPr>
                </p:nvSpPr>
                <p:spPr bwMode="gray">
                  <a:xfrm>
                    <a:off x="5755841" y="1170359"/>
                    <a:ext cx="146999" cy="76404"/>
                  </a:xfrm>
                  <a:custGeom>
                    <a:avLst/>
                    <a:gdLst>
                      <a:gd name="T0" fmla="*/ 32 w 96"/>
                      <a:gd name="T1" fmla="*/ 18 h 50"/>
                      <a:gd name="T2" fmla="*/ 35 w 96"/>
                      <a:gd name="T3" fmla="*/ 15 h 50"/>
                      <a:gd name="T4" fmla="*/ 33 w 96"/>
                      <a:gd name="T5" fmla="*/ 14 h 50"/>
                      <a:gd name="T6" fmla="*/ 30 w 96"/>
                      <a:gd name="T7" fmla="*/ 11 h 50"/>
                      <a:gd name="T8" fmla="*/ 27 w 96"/>
                      <a:gd name="T9" fmla="*/ 7 h 50"/>
                      <a:gd name="T10" fmla="*/ 33 w 96"/>
                      <a:gd name="T11" fmla="*/ 6 h 50"/>
                      <a:gd name="T12" fmla="*/ 36 w 96"/>
                      <a:gd name="T13" fmla="*/ 1 h 50"/>
                      <a:gd name="T14" fmla="*/ 36 w 96"/>
                      <a:gd name="T15" fmla="*/ 0 h 50"/>
                      <a:gd name="T16" fmla="*/ 33 w 96"/>
                      <a:gd name="T17" fmla="*/ 0 h 50"/>
                      <a:gd name="T18" fmla="*/ 32 w 96"/>
                      <a:gd name="T19" fmla="*/ 3 h 50"/>
                      <a:gd name="T20" fmla="*/ 16 w 96"/>
                      <a:gd name="T21" fmla="*/ 0 h 50"/>
                      <a:gd name="T22" fmla="*/ 0 w 96"/>
                      <a:gd name="T23" fmla="*/ 6 h 50"/>
                      <a:gd name="T24" fmla="*/ 3 w 96"/>
                      <a:gd name="T25" fmla="*/ 12 h 50"/>
                      <a:gd name="T26" fmla="*/ 9 w 96"/>
                      <a:gd name="T27" fmla="*/ 12 h 50"/>
                      <a:gd name="T28" fmla="*/ 9 w 96"/>
                      <a:gd name="T29" fmla="*/ 15 h 50"/>
                      <a:gd name="T30" fmla="*/ 16 w 96"/>
                      <a:gd name="T31" fmla="*/ 14 h 50"/>
                      <a:gd name="T32" fmla="*/ 22 w 96"/>
                      <a:gd name="T33" fmla="*/ 17 h 50"/>
                      <a:gd name="T34" fmla="*/ 26 w 96"/>
                      <a:gd name="T35" fmla="*/ 18 h 50"/>
                      <a:gd name="T36" fmla="*/ 32 w 96"/>
                      <a:gd name="T37" fmla="*/ 18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6" h="50">
                        <a:moveTo>
                          <a:pt x="84" y="50"/>
                        </a:moveTo>
                        <a:lnTo>
                          <a:pt x="92" y="42"/>
                        </a:lnTo>
                        <a:lnTo>
                          <a:pt x="88" y="38"/>
                        </a:lnTo>
                        <a:lnTo>
                          <a:pt x="80" y="30"/>
                        </a:lnTo>
                        <a:lnTo>
                          <a:pt x="72" y="18"/>
                        </a:lnTo>
                        <a:lnTo>
                          <a:pt x="88" y="16"/>
                        </a:lnTo>
                        <a:lnTo>
                          <a:pt x="96" y="4"/>
                        </a:lnTo>
                        <a:lnTo>
                          <a:pt x="96" y="0"/>
                        </a:lnTo>
                        <a:lnTo>
                          <a:pt x="88" y="0"/>
                        </a:lnTo>
                        <a:lnTo>
                          <a:pt x="84" y="8"/>
                        </a:lnTo>
                        <a:lnTo>
                          <a:pt x="42" y="0"/>
                        </a:lnTo>
                        <a:lnTo>
                          <a:pt x="0" y="16"/>
                        </a:lnTo>
                        <a:lnTo>
                          <a:pt x="8" y="34"/>
                        </a:lnTo>
                        <a:lnTo>
                          <a:pt x="22" y="34"/>
                        </a:lnTo>
                        <a:lnTo>
                          <a:pt x="22" y="42"/>
                        </a:lnTo>
                        <a:lnTo>
                          <a:pt x="42" y="38"/>
                        </a:lnTo>
                        <a:lnTo>
                          <a:pt x="58" y="46"/>
                        </a:lnTo>
                        <a:lnTo>
                          <a:pt x="68" y="50"/>
                        </a:lnTo>
                        <a:lnTo>
                          <a:pt x="84" y="5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sp>
              <p:nvSpPr>
                <p:cNvPr id="529" name="vMap : Germany">
                  <a:extLst>
                    <a:ext uri="{FF2B5EF4-FFF2-40B4-BE49-F238E27FC236}">
                      <a16:creationId xmlns:a16="http://schemas.microsoft.com/office/drawing/2014/main" xmlns="" id="{BEDAF3F4-E402-C548-AE2B-AA7A0561C938}"/>
                    </a:ext>
                  </a:extLst>
                </p:cNvPr>
                <p:cNvSpPr>
                  <a:spLocks noChangeAspect="1"/>
                </p:cNvSpPr>
                <p:nvPr>
                  <p:custDataLst>
                    <p:tags r:id="rId42"/>
                  </p:custDataLst>
                </p:nvPr>
              </p:nvSpPr>
              <p:spPr bwMode="gray">
                <a:xfrm>
                  <a:off x="4228756" y="2797624"/>
                  <a:ext cx="170384" cy="185045"/>
                </a:xfrm>
                <a:custGeom>
                  <a:avLst/>
                  <a:gdLst>
                    <a:gd name="T0" fmla="*/ 52 w 184"/>
                    <a:gd name="T1" fmla="*/ 4 h 196"/>
                    <a:gd name="T2" fmla="*/ 63 w 184"/>
                    <a:gd name="T3" fmla="*/ 10 h 196"/>
                    <a:gd name="T4" fmla="*/ 63 w 184"/>
                    <a:gd name="T5" fmla="*/ 20 h 196"/>
                    <a:gd name="T6" fmla="*/ 68 w 184"/>
                    <a:gd name="T7" fmla="*/ 34 h 196"/>
                    <a:gd name="T8" fmla="*/ 68 w 184"/>
                    <a:gd name="T9" fmla="*/ 38 h 196"/>
                    <a:gd name="T10" fmla="*/ 65 w 184"/>
                    <a:gd name="T11" fmla="*/ 37 h 196"/>
                    <a:gd name="T12" fmla="*/ 48 w 184"/>
                    <a:gd name="T13" fmla="*/ 46 h 196"/>
                    <a:gd name="T14" fmla="*/ 47 w 184"/>
                    <a:gd name="T15" fmla="*/ 44 h 196"/>
                    <a:gd name="T16" fmla="*/ 50 w 184"/>
                    <a:gd name="T17" fmla="*/ 52 h 196"/>
                    <a:gd name="T18" fmla="*/ 61 w 184"/>
                    <a:gd name="T19" fmla="*/ 60 h 196"/>
                    <a:gd name="T20" fmla="*/ 54 w 184"/>
                    <a:gd name="T21" fmla="*/ 66 h 196"/>
                    <a:gd name="T22" fmla="*/ 52 w 184"/>
                    <a:gd name="T23" fmla="*/ 72 h 196"/>
                    <a:gd name="T24" fmla="*/ 26 w 184"/>
                    <a:gd name="T25" fmla="*/ 72 h 196"/>
                    <a:gd name="T26" fmla="*/ 12 w 184"/>
                    <a:gd name="T27" fmla="*/ 71 h 196"/>
                    <a:gd name="T28" fmla="*/ 16 w 184"/>
                    <a:gd name="T29" fmla="*/ 58 h 196"/>
                    <a:gd name="T30" fmla="*/ 1 w 184"/>
                    <a:gd name="T31" fmla="*/ 51 h 196"/>
                    <a:gd name="T32" fmla="*/ 0 w 184"/>
                    <a:gd name="T33" fmla="*/ 46 h 196"/>
                    <a:gd name="T34" fmla="*/ 0 w 184"/>
                    <a:gd name="T35" fmla="*/ 40 h 196"/>
                    <a:gd name="T36" fmla="*/ 0 w 184"/>
                    <a:gd name="T37" fmla="*/ 29 h 196"/>
                    <a:gd name="T38" fmla="*/ 4 w 184"/>
                    <a:gd name="T39" fmla="*/ 30 h 196"/>
                    <a:gd name="T40" fmla="*/ 7 w 184"/>
                    <a:gd name="T41" fmla="*/ 24 h 196"/>
                    <a:gd name="T42" fmla="*/ 4 w 184"/>
                    <a:gd name="T43" fmla="*/ 21 h 196"/>
                    <a:gd name="T44" fmla="*/ 9 w 184"/>
                    <a:gd name="T45" fmla="*/ 16 h 196"/>
                    <a:gd name="T46" fmla="*/ 12 w 184"/>
                    <a:gd name="T47" fmla="*/ 16 h 196"/>
                    <a:gd name="T48" fmla="*/ 9 w 184"/>
                    <a:gd name="T49" fmla="*/ 14 h 196"/>
                    <a:gd name="T50" fmla="*/ 14 w 184"/>
                    <a:gd name="T51" fmla="*/ 12 h 196"/>
                    <a:gd name="T52" fmla="*/ 21 w 184"/>
                    <a:gd name="T53" fmla="*/ 16 h 196"/>
                    <a:gd name="T54" fmla="*/ 20 w 184"/>
                    <a:gd name="T55" fmla="*/ 10 h 196"/>
                    <a:gd name="T56" fmla="*/ 24 w 184"/>
                    <a:gd name="T57" fmla="*/ 10 h 196"/>
                    <a:gd name="T58" fmla="*/ 21 w 184"/>
                    <a:gd name="T59" fmla="*/ 6 h 196"/>
                    <a:gd name="T60" fmla="*/ 23 w 184"/>
                    <a:gd name="T61" fmla="*/ 3 h 196"/>
                    <a:gd name="T62" fmla="*/ 21 w 184"/>
                    <a:gd name="T63" fmla="*/ 0 h 196"/>
                    <a:gd name="T64" fmla="*/ 27 w 184"/>
                    <a:gd name="T65" fmla="*/ 0 h 196"/>
                    <a:gd name="T66" fmla="*/ 31 w 184"/>
                    <a:gd name="T67" fmla="*/ 4 h 196"/>
                    <a:gd name="T68" fmla="*/ 38 w 184"/>
                    <a:gd name="T69" fmla="*/ 6 h 196"/>
                    <a:gd name="T70" fmla="*/ 35 w 184"/>
                    <a:gd name="T71" fmla="*/ 9 h 196"/>
                    <a:gd name="T72" fmla="*/ 50 w 184"/>
                    <a:gd name="T73" fmla="*/ 4 h 196"/>
                    <a:gd name="T74" fmla="*/ 52 w 184"/>
                    <a:gd name="T75" fmla="*/ 4 h 19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84" h="196">
                      <a:moveTo>
                        <a:pt x="142" y="12"/>
                      </a:moveTo>
                      <a:lnTo>
                        <a:pt x="170" y="28"/>
                      </a:lnTo>
                      <a:lnTo>
                        <a:pt x="170" y="54"/>
                      </a:lnTo>
                      <a:lnTo>
                        <a:pt x="184" y="92"/>
                      </a:lnTo>
                      <a:lnTo>
                        <a:pt x="184" y="104"/>
                      </a:lnTo>
                      <a:lnTo>
                        <a:pt x="174" y="100"/>
                      </a:lnTo>
                      <a:lnTo>
                        <a:pt x="130" y="124"/>
                      </a:lnTo>
                      <a:lnTo>
                        <a:pt x="128" y="120"/>
                      </a:lnTo>
                      <a:lnTo>
                        <a:pt x="134" y="142"/>
                      </a:lnTo>
                      <a:lnTo>
                        <a:pt x="166" y="162"/>
                      </a:lnTo>
                      <a:lnTo>
                        <a:pt x="146" y="178"/>
                      </a:lnTo>
                      <a:lnTo>
                        <a:pt x="142" y="196"/>
                      </a:lnTo>
                      <a:lnTo>
                        <a:pt x="70" y="196"/>
                      </a:lnTo>
                      <a:lnTo>
                        <a:pt x="32" y="192"/>
                      </a:lnTo>
                      <a:lnTo>
                        <a:pt x="42" y="158"/>
                      </a:lnTo>
                      <a:lnTo>
                        <a:pt x="4" y="138"/>
                      </a:lnTo>
                      <a:lnTo>
                        <a:pt x="0" y="124"/>
                      </a:lnTo>
                      <a:lnTo>
                        <a:pt x="0" y="108"/>
                      </a:lnTo>
                      <a:lnTo>
                        <a:pt x="0" y="78"/>
                      </a:lnTo>
                      <a:lnTo>
                        <a:pt x="12" y="82"/>
                      </a:lnTo>
                      <a:lnTo>
                        <a:pt x="20" y="66"/>
                      </a:lnTo>
                      <a:lnTo>
                        <a:pt x="12" y="58"/>
                      </a:lnTo>
                      <a:lnTo>
                        <a:pt x="24" y="42"/>
                      </a:lnTo>
                      <a:lnTo>
                        <a:pt x="32" y="42"/>
                      </a:lnTo>
                      <a:lnTo>
                        <a:pt x="24" y="38"/>
                      </a:lnTo>
                      <a:lnTo>
                        <a:pt x="38" y="32"/>
                      </a:lnTo>
                      <a:lnTo>
                        <a:pt x="58" y="42"/>
                      </a:lnTo>
                      <a:lnTo>
                        <a:pt x="54" y="28"/>
                      </a:lnTo>
                      <a:lnTo>
                        <a:pt x="66" y="28"/>
                      </a:lnTo>
                      <a:lnTo>
                        <a:pt x="58" y="16"/>
                      </a:lnTo>
                      <a:lnTo>
                        <a:pt x="62" y="8"/>
                      </a:lnTo>
                      <a:lnTo>
                        <a:pt x="58" y="0"/>
                      </a:lnTo>
                      <a:lnTo>
                        <a:pt x="74" y="0"/>
                      </a:lnTo>
                      <a:lnTo>
                        <a:pt x="84" y="12"/>
                      </a:lnTo>
                      <a:lnTo>
                        <a:pt x="104" y="16"/>
                      </a:lnTo>
                      <a:lnTo>
                        <a:pt x="96" y="24"/>
                      </a:lnTo>
                      <a:lnTo>
                        <a:pt x="134" y="12"/>
                      </a:lnTo>
                      <a:lnTo>
                        <a:pt x="142" y="1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0" name="vMap : Austria">
                  <a:extLst>
                    <a:ext uri="{FF2B5EF4-FFF2-40B4-BE49-F238E27FC236}">
                      <a16:creationId xmlns:a16="http://schemas.microsoft.com/office/drawing/2014/main" xmlns="" id="{332E6B38-26CC-BF4B-95F1-86BF88BE0564}"/>
                    </a:ext>
                  </a:extLst>
                </p:cNvPr>
                <p:cNvSpPr>
                  <a:spLocks noChangeAspect="1"/>
                </p:cNvSpPr>
                <p:nvPr>
                  <p:custDataLst>
                    <p:tags r:id="rId43"/>
                  </p:custDataLst>
                </p:nvPr>
              </p:nvSpPr>
              <p:spPr bwMode="gray">
                <a:xfrm>
                  <a:off x="4292650" y="2951569"/>
                  <a:ext cx="153650" cy="57535"/>
                </a:xfrm>
                <a:custGeom>
                  <a:avLst/>
                  <a:gdLst>
                    <a:gd name="T0" fmla="*/ 61 w 164"/>
                    <a:gd name="T1" fmla="*/ 4 h 62"/>
                    <a:gd name="T2" fmla="*/ 59 w 164"/>
                    <a:gd name="T3" fmla="*/ 0 h 62"/>
                    <a:gd name="T4" fmla="*/ 36 w 164"/>
                    <a:gd name="T5" fmla="*/ 0 h 62"/>
                    <a:gd name="T6" fmla="*/ 29 w 164"/>
                    <a:gd name="T7" fmla="*/ 6 h 62"/>
                    <a:gd name="T8" fmla="*/ 27 w 164"/>
                    <a:gd name="T9" fmla="*/ 12 h 62"/>
                    <a:gd name="T10" fmla="*/ 0 w 164"/>
                    <a:gd name="T11" fmla="*/ 12 h 62"/>
                    <a:gd name="T12" fmla="*/ 3 w 164"/>
                    <a:gd name="T13" fmla="*/ 16 h 62"/>
                    <a:gd name="T14" fmla="*/ 9 w 164"/>
                    <a:gd name="T15" fmla="*/ 19 h 62"/>
                    <a:gd name="T16" fmla="*/ 22 w 164"/>
                    <a:gd name="T17" fmla="*/ 16 h 62"/>
                    <a:gd name="T18" fmla="*/ 35 w 164"/>
                    <a:gd name="T19" fmla="*/ 22 h 62"/>
                    <a:gd name="T20" fmla="*/ 55 w 164"/>
                    <a:gd name="T21" fmla="*/ 18 h 62"/>
                    <a:gd name="T22" fmla="*/ 62 w 164"/>
                    <a:gd name="T23" fmla="*/ 7 h 62"/>
                    <a:gd name="T24" fmla="*/ 61 w 164"/>
                    <a:gd name="T25" fmla="*/ 4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4" h="62">
                      <a:moveTo>
                        <a:pt x="160" y="12"/>
                      </a:moveTo>
                      <a:lnTo>
                        <a:pt x="156" y="0"/>
                      </a:lnTo>
                      <a:lnTo>
                        <a:pt x="96" y="0"/>
                      </a:lnTo>
                      <a:lnTo>
                        <a:pt x="76" y="16"/>
                      </a:lnTo>
                      <a:lnTo>
                        <a:pt x="72" y="34"/>
                      </a:lnTo>
                      <a:lnTo>
                        <a:pt x="0" y="34"/>
                      </a:lnTo>
                      <a:lnTo>
                        <a:pt x="8" y="46"/>
                      </a:lnTo>
                      <a:lnTo>
                        <a:pt x="22" y="54"/>
                      </a:lnTo>
                      <a:lnTo>
                        <a:pt x="58" y="46"/>
                      </a:lnTo>
                      <a:lnTo>
                        <a:pt x="92" y="62"/>
                      </a:lnTo>
                      <a:lnTo>
                        <a:pt x="146" y="50"/>
                      </a:lnTo>
                      <a:lnTo>
                        <a:pt x="164" y="18"/>
                      </a:lnTo>
                      <a:lnTo>
                        <a:pt x="160" y="1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1" name="vMap : Belgium">
                  <a:extLst>
                    <a:ext uri="{FF2B5EF4-FFF2-40B4-BE49-F238E27FC236}">
                      <a16:creationId xmlns:a16="http://schemas.microsoft.com/office/drawing/2014/main" xmlns="" id="{643FA55F-8D95-6B4E-9B62-0CC4CF1C7EF6}"/>
                    </a:ext>
                  </a:extLst>
                </p:cNvPr>
                <p:cNvSpPr>
                  <a:spLocks noChangeAspect="1"/>
                </p:cNvSpPr>
                <p:nvPr>
                  <p:custDataLst>
                    <p:tags r:id="rId44"/>
                  </p:custDataLst>
                </p:nvPr>
              </p:nvSpPr>
              <p:spPr bwMode="gray">
                <a:xfrm>
                  <a:off x="4164862" y="2886259"/>
                  <a:ext cx="63894" cy="40430"/>
                </a:xfrm>
                <a:custGeom>
                  <a:avLst/>
                  <a:gdLst>
                    <a:gd name="T0" fmla="*/ 19 w 67"/>
                    <a:gd name="T1" fmla="*/ 0 h 46"/>
                    <a:gd name="T2" fmla="*/ 6 w 67"/>
                    <a:gd name="T3" fmla="*/ 0 h 46"/>
                    <a:gd name="T4" fmla="*/ 0 w 67"/>
                    <a:gd name="T5" fmla="*/ 3 h 46"/>
                    <a:gd name="T6" fmla="*/ 12 w 67"/>
                    <a:gd name="T7" fmla="*/ 12 h 46"/>
                    <a:gd name="T8" fmla="*/ 18 w 67"/>
                    <a:gd name="T9" fmla="*/ 11 h 46"/>
                    <a:gd name="T10" fmla="*/ 18 w 67"/>
                    <a:gd name="T11" fmla="*/ 14 h 46"/>
                    <a:gd name="T12" fmla="*/ 24 w 67"/>
                    <a:gd name="T13" fmla="*/ 15 h 46"/>
                    <a:gd name="T14" fmla="*/ 24 w 67"/>
                    <a:gd name="T15" fmla="*/ 12 h 46"/>
                    <a:gd name="T16" fmla="*/ 26 w 67"/>
                    <a:gd name="T17" fmla="*/ 10 h 46"/>
                    <a:gd name="T18" fmla="*/ 26 w 67"/>
                    <a:gd name="T19" fmla="*/ 5 h 46"/>
                    <a:gd name="T20" fmla="*/ 19 w 67"/>
                    <a:gd name="T21" fmla="*/ 0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7" h="46">
                      <a:moveTo>
                        <a:pt x="50" y="0"/>
                      </a:moveTo>
                      <a:lnTo>
                        <a:pt x="14" y="0"/>
                      </a:lnTo>
                      <a:lnTo>
                        <a:pt x="0" y="8"/>
                      </a:lnTo>
                      <a:lnTo>
                        <a:pt x="30" y="38"/>
                      </a:lnTo>
                      <a:lnTo>
                        <a:pt x="46" y="36"/>
                      </a:lnTo>
                      <a:lnTo>
                        <a:pt x="46" y="42"/>
                      </a:lnTo>
                      <a:lnTo>
                        <a:pt x="60" y="46"/>
                      </a:lnTo>
                      <a:lnTo>
                        <a:pt x="60" y="38"/>
                      </a:lnTo>
                      <a:lnTo>
                        <a:pt x="67" y="32"/>
                      </a:lnTo>
                      <a:lnTo>
                        <a:pt x="67" y="16"/>
                      </a:lnTo>
                      <a:lnTo>
                        <a:pt x="5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2" name="vMap : Netherlands">
                  <a:extLst>
                    <a:ext uri="{FF2B5EF4-FFF2-40B4-BE49-F238E27FC236}">
                      <a16:creationId xmlns:a16="http://schemas.microsoft.com/office/drawing/2014/main" xmlns="" id="{C7518CB1-E957-DF4A-94C0-D95F5BF9F7DE}"/>
                    </a:ext>
                  </a:extLst>
                </p:cNvPr>
                <p:cNvSpPr>
                  <a:spLocks noChangeAspect="1"/>
                </p:cNvSpPr>
                <p:nvPr>
                  <p:custDataLst>
                    <p:tags r:id="rId45"/>
                  </p:custDataLst>
                </p:nvPr>
              </p:nvSpPr>
              <p:spPr bwMode="gray">
                <a:xfrm>
                  <a:off x="4177032" y="2836499"/>
                  <a:ext cx="73021" cy="63755"/>
                </a:xfrm>
                <a:custGeom>
                  <a:avLst/>
                  <a:gdLst>
                    <a:gd name="T0" fmla="*/ 14 w 77"/>
                    <a:gd name="T1" fmla="*/ 4 h 66"/>
                    <a:gd name="T2" fmla="*/ 14 w 77"/>
                    <a:gd name="T3" fmla="*/ 9 h 66"/>
                    <a:gd name="T4" fmla="*/ 16 w 77"/>
                    <a:gd name="T5" fmla="*/ 11 h 66"/>
                    <a:gd name="T6" fmla="*/ 18 w 77"/>
                    <a:gd name="T7" fmla="*/ 0 h 66"/>
                    <a:gd name="T8" fmla="*/ 30 w 77"/>
                    <a:gd name="T9" fmla="*/ 0 h 66"/>
                    <a:gd name="T10" fmla="*/ 26 w 77"/>
                    <a:gd name="T11" fmla="*/ 6 h 66"/>
                    <a:gd name="T12" fmla="*/ 29 w 77"/>
                    <a:gd name="T13" fmla="*/ 9 h 66"/>
                    <a:gd name="T14" fmla="*/ 26 w 77"/>
                    <a:gd name="T15" fmla="*/ 16 h 66"/>
                    <a:gd name="T16" fmla="*/ 21 w 77"/>
                    <a:gd name="T17" fmla="*/ 14 h 66"/>
                    <a:gd name="T18" fmla="*/ 21 w 77"/>
                    <a:gd name="T19" fmla="*/ 25 h 66"/>
                    <a:gd name="T20" fmla="*/ 14 w 77"/>
                    <a:gd name="T21" fmla="*/ 19 h 66"/>
                    <a:gd name="T22" fmla="*/ 0 w 77"/>
                    <a:gd name="T23" fmla="*/ 19 h 66"/>
                    <a:gd name="T24" fmla="*/ 12 w 77"/>
                    <a:gd name="T25" fmla="*/ 16 h 66"/>
                    <a:gd name="T26" fmla="*/ 6 w 77"/>
                    <a:gd name="T27" fmla="*/ 14 h 66"/>
                    <a:gd name="T28" fmla="*/ 14 w 77"/>
                    <a:gd name="T29" fmla="*/ 4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7" h="66">
                      <a:moveTo>
                        <a:pt x="36" y="12"/>
                      </a:moveTo>
                      <a:lnTo>
                        <a:pt x="36" y="24"/>
                      </a:lnTo>
                      <a:lnTo>
                        <a:pt x="42" y="28"/>
                      </a:lnTo>
                      <a:lnTo>
                        <a:pt x="46" y="0"/>
                      </a:lnTo>
                      <a:lnTo>
                        <a:pt x="77" y="0"/>
                      </a:lnTo>
                      <a:lnTo>
                        <a:pt x="65" y="16"/>
                      </a:lnTo>
                      <a:lnTo>
                        <a:pt x="73" y="24"/>
                      </a:lnTo>
                      <a:lnTo>
                        <a:pt x="65" y="40"/>
                      </a:lnTo>
                      <a:lnTo>
                        <a:pt x="53" y="36"/>
                      </a:lnTo>
                      <a:lnTo>
                        <a:pt x="53" y="66"/>
                      </a:lnTo>
                      <a:lnTo>
                        <a:pt x="36" y="50"/>
                      </a:lnTo>
                      <a:lnTo>
                        <a:pt x="0" y="50"/>
                      </a:lnTo>
                      <a:lnTo>
                        <a:pt x="32" y="40"/>
                      </a:lnTo>
                      <a:lnTo>
                        <a:pt x="16" y="36"/>
                      </a:lnTo>
                      <a:lnTo>
                        <a:pt x="36" y="1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3" name="vMap : Slovakia">
                  <a:extLst>
                    <a:ext uri="{FF2B5EF4-FFF2-40B4-BE49-F238E27FC236}">
                      <a16:creationId xmlns:a16="http://schemas.microsoft.com/office/drawing/2014/main" xmlns="" id="{C6805404-C848-C947-9E37-1AD58FBFB40F}"/>
                    </a:ext>
                  </a:extLst>
                </p:cNvPr>
                <p:cNvSpPr>
                  <a:spLocks noChangeAspect="1"/>
                </p:cNvSpPr>
                <p:nvPr>
                  <p:custDataLst>
                    <p:tags r:id="rId46"/>
                  </p:custDataLst>
                </p:nvPr>
              </p:nvSpPr>
              <p:spPr bwMode="gray">
                <a:xfrm>
                  <a:off x="4443256" y="2926689"/>
                  <a:ext cx="108011" cy="49760"/>
                </a:xfrm>
                <a:custGeom>
                  <a:avLst/>
                  <a:gdLst>
                    <a:gd name="T0" fmla="*/ 0 w 115"/>
                    <a:gd name="T1" fmla="*/ 15 h 50"/>
                    <a:gd name="T2" fmla="*/ 2 w 115"/>
                    <a:gd name="T3" fmla="*/ 12 h 50"/>
                    <a:gd name="T4" fmla="*/ 4 w 115"/>
                    <a:gd name="T5" fmla="*/ 12 h 50"/>
                    <a:gd name="T6" fmla="*/ 7 w 115"/>
                    <a:gd name="T7" fmla="*/ 6 h 50"/>
                    <a:gd name="T8" fmla="*/ 9 w 115"/>
                    <a:gd name="T9" fmla="*/ 5 h 50"/>
                    <a:gd name="T10" fmla="*/ 10 w 115"/>
                    <a:gd name="T11" fmla="*/ 0 h 50"/>
                    <a:gd name="T12" fmla="*/ 12 w 115"/>
                    <a:gd name="T13" fmla="*/ 0 h 50"/>
                    <a:gd name="T14" fmla="*/ 23 w 115"/>
                    <a:gd name="T15" fmla="*/ 5 h 50"/>
                    <a:gd name="T16" fmla="*/ 36 w 115"/>
                    <a:gd name="T17" fmla="*/ 2 h 50"/>
                    <a:gd name="T18" fmla="*/ 44 w 115"/>
                    <a:gd name="T19" fmla="*/ 5 h 50"/>
                    <a:gd name="T20" fmla="*/ 43 w 115"/>
                    <a:gd name="T21" fmla="*/ 13 h 50"/>
                    <a:gd name="T22" fmla="*/ 31 w 115"/>
                    <a:gd name="T23" fmla="*/ 13 h 50"/>
                    <a:gd name="T24" fmla="*/ 14 w 115"/>
                    <a:gd name="T25" fmla="*/ 20 h 50"/>
                    <a:gd name="T26" fmla="*/ 1 w 115"/>
                    <a:gd name="T27" fmla="*/ 17 h 50"/>
                    <a:gd name="T28" fmla="*/ 0 w 115"/>
                    <a:gd name="T29" fmla="*/ 15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5" h="50">
                      <a:moveTo>
                        <a:pt x="0" y="36"/>
                      </a:moveTo>
                      <a:lnTo>
                        <a:pt x="7" y="28"/>
                      </a:lnTo>
                      <a:lnTo>
                        <a:pt x="11" y="28"/>
                      </a:lnTo>
                      <a:lnTo>
                        <a:pt x="19" y="16"/>
                      </a:lnTo>
                      <a:lnTo>
                        <a:pt x="23" y="12"/>
                      </a:lnTo>
                      <a:lnTo>
                        <a:pt x="27" y="0"/>
                      </a:lnTo>
                      <a:lnTo>
                        <a:pt x="31" y="0"/>
                      </a:lnTo>
                      <a:lnTo>
                        <a:pt x="61" y="12"/>
                      </a:lnTo>
                      <a:lnTo>
                        <a:pt x="95" y="4"/>
                      </a:lnTo>
                      <a:lnTo>
                        <a:pt x="115" y="12"/>
                      </a:lnTo>
                      <a:lnTo>
                        <a:pt x="111" y="32"/>
                      </a:lnTo>
                      <a:lnTo>
                        <a:pt x="81" y="32"/>
                      </a:lnTo>
                      <a:lnTo>
                        <a:pt x="35" y="50"/>
                      </a:lnTo>
                      <a:lnTo>
                        <a:pt x="4" y="42"/>
                      </a:lnTo>
                      <a:lnTo>
                        <a:pt x="0" y="3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4" name="vMap : Czech Republic">
                  <a:extLst>
                    <a:ext uri="{FF2B5EF4-FFF2-40B4-BE49-F238E27FC236}">
                      <a16:creationId xmlns:a16="http://schemas.microsoft.com/office/drawing/2014/main" xmlns="" id="{60F087D9-E321-AA41-BDAB-975AE6CF6223}"/>
                    </a:ext>
                  </a:extLst>
                </p:cNvPr>
                <p:cNvSpPr>
                  <a:spLocks noChangeAspect="1"/>
                </p:cNvSpPr>
                <p:nvPr>
                  <p:custDataLst>
                    <p:tags r:id="rId47"/>
                  </p:custDataLst>
                </p:nvPr>
              </p:nvSpPr>
              <p:spPr bwMode="gray">
                <a:xfrm>
                  <a:off x="4347416" y="2892479"/>
                  <a:ext cx="124745" cy="69975"/>
                </a:xfrm>
                <a:custGeom>
                  <a:avLst/>
                  <a:gdLst>
                    <a:gd name="T0" fmla="*/ 39 w 133"/>
                    <a:gd name="T1" fmla="*/ 27 h 74"/>
                    <a:gd name="T2" fmla="*/ 37 w 133"/>
                    <a:gd name="T3" fmla="*/ 23 h 74"/>
                    <a:gd name="T4" fmla="*/ 14 w 133"/>
                    <a:gd name="T5" fmla="*/ 23 h 74"/>
                    <a:gd name="T6" fmla="*/ 2 w 133"/>
                    <a:gd name="T7" fmla="*/ 16 h 74"/>
                    <a:gd name="T8" fmla="*/ 0 w 133"/>
                    <a:gd name="T9" fmla="*/ 7 h 74"/>
                    <a:gd name="T10" fmla="*/ 1 w 133"/>
                    <a:gd name="T11" fmla="*/ 9 h 74"/>
                    <a:gd name="T12" fmla="*/ 17 w 133"/>
                    <a:gd name="T13" fmla="*/ 0 h 74"/>
                    <a:gd name="T14" fmla="*/ 22 w 133"/>
                    <a:gd name="T15" fmla="*/ 1 h 74"/>
                    <a:gd name="T16" fmla="*/ 30 w 133"/>
                    <a:gd name="T17" fmla="*/ 3 h 74"/>
                    <a:gd name="T18" fmla="*/ 37 w 133"/>
                    <a:gd name="T19" fmla="*/ 9 h 74"/>
                    <a:gd name="T20" fmla="*/ 44 w 133"/>
                    <a:gd name="T21" fmla="*/ 7 h 74"/>
                    <a:gd name="T22" fmla="*/ 51 w 133"/>
                    <a:gd name="T23" fmla="*/ 14 h 74"/>
                    <a:gd name="T24" fmla="*/ 49 w 133"/>
                    <a:gd name="T25" fmla="*/ 14 h 74"/>
                    <a:gd name="T26" fmla="*/ 47 w 133"/>
                    <a:gd name="T27" fmla="*/ 18 h 74"/>
                    <a:gd name="T28" fmla="*/ 46 w 133"/>
                    <a:gd name="T29" fmla="*/ 20 h 74"/>
                    <a:gd name="T30" fmla="*/ 43 w 133"/>
                    <a:gd name="T31" fmla="*/ 24 h 74"/>
                    <a:gd name="T32" fmla="*/ 41 w 133"/>
                    <a:gd name="T33" fmla="*/ 24 h 74"/>
                    <a:gd name="T34" fmla="*/ 39 w 133"/>
                    <a:gd name="T35" fmla="*/ 27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3" h="74">
                      <a:moveTo>
                        <a:pt x="102" y="74"/>
                      </a:moveTo>
                      <a:lnTo>
                        <a:pt x="98" y="62"/>
                      </a:lnTo>
                      <a:lnTo>
                        <a:pt x="38" y="62"/>
                      </a:lnTo>
                      <a:lnTo>
                        <a:pt x="6" y="42"/>
                      </a:lnTo>
                      <a:lnTo>
                        <a:pt x="0" y="20"/>
                      </a:lnTo>
                      <a:lnTo>
                        <a:pt x="2" y="24"/>
                      </a:lnTo>
                      <a:lnTo>
                        <a:pt x="46" y="0"/>
                      </a:lnTo>
                      <a:lnTo>
                        <a:pt x="56" y="4"/>
                      </a:lnTo>
                      <a:lnTo>
                        <a:pt x="80" y="8"/>
                      </a:lnTo>
                      <a:lnTo>
                        <a:pt x="98" y="24"/>
                      </a:lnTo>
                      <a:lnTo>
                        <a:pt x="117" y="20"/>
                      </a:lnTo>
                      <a:lnTo>
                        <a:pt x="133" y="38"/>
                      </a:lnTo>
                      <a:lnTo>
                        <a:pt x="129" y="38"/>
                      </a:lnTo>
                      <a:lnTo>
                        <a:pt x="125" y="50"/>
                      </a:lnTo>
                      <a:lnTo>
                        <a:pt x="121" y="54"/>
                      </a:lnTo>
                      <a:lnTo>
                        <a:pt x="113" y="66"/>
                      </a:lnTo>
                      <a:lnTo>
                        <a:pt x="109" y="66"/>
                      </a:lnTo>
                      <a:lnTo>
                        <a:pt x="102" y="7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5" name="vMap : Poland">
                  <a:extLst>
                    <a:ext uri="{FF2B5EF4-FFF2-40B4-BE49-F238E27FC236}">
                      <a16:creationId xmlns:a16="http://schemas.microsoft.com/office/drawing/2014/main" xmlns="" id="{1A1C64E4-308D-C846-9564-0FD8E7D4B8B7}"/>
                    </a:ext>
                  </a:extLst>
                </p:cNvPr>
                <p:cNvSpPr>
                  <a:spLocks noChangeAspect="1"/>
                </p:cNvSpPr>
                <p:nvPr>
                  <p:custDataLst>
                    <p:tags r:id="rId48"/>
                  </p:custDataLst>
                </p:nvPr>
              </p:nvSpPr>
              <p:spPr bwMode="gray">
                <a:xfrm>
                  <a:off x="4388490" y="2800734"/>
                  <a:ext cx="193203" cy="139950"/>
                </a:xfrm>
                <a:custGeom>
                  <a:avLst/>
                  <a:gdLst>
                    <a:gd name="T0" fmla="*/ 0 w 209"/>
                    <a:gd name="T1" fmla="*/ 9 h 146"/>
                    <a:gd name="T2" fmla="*/ 22 w 209"/>
                    <a:gd name="T3" fmla="*/ 0 h 146"/>
                    <a:gd name="T4" fmla="*/ 33 w 209"/>
                    <a:gd name="T5" fmla="*/ 0 h 146"/>
                    <a:gd name="T6" fmla="*/ 35 w 209"/>
                    <a:gd name="T7" fmla="*/ 4 h 146"/>
                    <a:gd name="T8" fmla="*/ 40 w 209"/>
                    <a:gd name="T9" fmla="*/ 3 h 146"/>
                    <a:gd name="T10" fmla="*/ 64 w 209"/>
                    <a:gd name="T11" fmla="*/ 3 h 146"/>
                    <a:gd name="T12" fmla="*/ 70 w 209"/>
                    <a:gd name="T13" fmla="*/ 6 h 146"/>
                    <a:gd name="T14" fmla="*/ 74 w 209"/>
                    <a:gd name="T15" fmla="*/ 19 h 146"/>
                    <a:gd name="T16" fmla="*/ 69 w 209"/>
                    <a:gd name="T17" fmla="*/ 23 h 146"/>
                    <a:gd name="T18" fmla="*/ 72 w 209"/>
                    <a:gd name="T19" fmla="*/ 30 h 146"/>
                    <a:gd name="T20" fmla="*/ 77 w 209"/>
                    <a:gd name="T21" fmla="*/ 41 h 146"/>
                    <a:gd name="T22" fmla="*/ 64 w 209"/>
                    <a:gd name="T23" fmla="*/ 55 h 146"/>
                    <a:gd name="T24" fmla="*/ 57 w 209"/>
                    <a:gd name="T25" fmla="*/ 52 h 146"/>
                    <a:gd name="T26" fmla="*/ 45 w 209"/>
                    <a:gd name="T27" fmla="*/ 55 h 146"/>
                    <a:gd name="T28" fmla="*/ 33 w 209"/>
                    <a:gd name="T29" fmla="*/ 51 h 146"/>
                    <a:gd name="T30" fmla="*/ 28 w 209"/>
                    <a:gd name="T31" fmla="*/ 44 h 146"/>
                    <a:gd name="T32" fmla="*/ 21 w 209"/>
                    <a:gd name="T33" fmla="*/ 46 h 146"/>
                    <a:gd name="T34" fmla="*/ 14 w 209"/>
                    <a:gd name="T35" fmla="*/ 39 h 146"/>
                    <a:gd name="T36" fmla="*/ 5 w 209"/>
                    <a:gd name="T37" fmla="*/ 38 h 146"/>
                    <a:gd name="T38" fmla="*/ 5 w 209"/>
                    <a:gd name="T39" fmla="*/ 33 h 146"/>
                    <a:gd name="T40" fmla="*/ 0 w 209"/>
                    <a:gd name="T41" fmla="*/ 19 h 146"/>
                    <a:gd name="T42" fmla="*/ 0 w 209"/>
                    <a:gd name="T43" fmla="*/ 9 h 1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09" h="146">
                      <a:moveTo>
                        <a:pt x="0" y="24"/>
                      </a:moveTo>
                      <a:lnTo>
                        <a:pt x="60" y="0"/>
                      </a:lnTo>
                      <a:lnTo>
                        <a:pt x="91" y="0"/>
                      </a:lnTo>
                      <a:lnTo>
                        <a:pt x="95" y="12"/>
                      </a:lnTo>
                      <a:lnTo>
                        <a:pt x="109" y="8"/>
                      </a:lnTo>
                      <a:lnTo>
                        <a:pt x="175" y="8"/>
                      </a:lnTo>
                      <a:lnTo>
                        <a:pt x="191" y="16"/>
                      </a:lnTo>
                      <a:lnTo>
                        <a:pt x="201" y="50"/>
                      </a:lnTo>
                      <a:lnTo>
                        <a:pt x="187" y="62"/>
                      </a:lnTo>
                      <a:lnTo>
                        <a:pt x="195" y="78"/>
                      </a:lnTo>
                      <a:lnTo>
                        <a:pt x="209" y="108"/>
                      </a:lnTo>
                      <a:lnTo>
                        <a:pt x="175" y="146"/>
                      </a:lnTo>
                      <a:lnTo>
                        <a:pt x="155" y="138"/>
                      </a:lnTo>
                      <a:lnTo>
                        <a:pt x="121" y="146"/>
                      </a:lnTo>
                      <a:lnTo>
                        <a:pt x="91" y="134"/>
                      </a:lnTo>
                      <a:lnTo>
                        <a:pt x="75" y="116"/>
                      </a:lnTo>
                      <a:lnTo>
                        <a:pt x="56" y="120"/>
                      </a:lnTo>
                      <a:lnTo>
                        <a:pt x="38" y="104"/>
                      </a:lnTo>
                      <a:lnTo>
                        <a:pt x="14" y="100"/>
                      </a:lnTo>
                      <a:lnTo>
                        <a:pt x="14" y="88"/>
                      </a:lnTo>
                      <a:lnTo>
                        <a:pt x="0" y="50"/>
                      </a:lnTo>
                      <a:lnTo>
                        <a:pt x="0" y="2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6" name="vMap : Switzerland">
                  <a:extLst>
                    <a:ext uri="{FF2B5EF4-FFF2-40B4-BE49-F238E27FC236}">
                      <a16:creationId xmlns:a16="http://schemas.microsoft.com/office/drawing/2014/main" xmlns="" id="{869188A2-4615-D743-B696-1C82909E2E30}"/>
                    </a:ext>
                  </a:extLst>
                </p:cNvPr>
                <p:cNvSpPr>
                  <a:spLocks noChangeAspect="1"/>
                </p:cNvSpPr>
                <p:nvPr>
                  <p:custDataLst>
                    <p:tags r:id="rId49"/>
                  </p:custDataLst>
                </p:nvPr>
              </p:nvSpPr>
              <p:spPr bwMode="gray">
                <a:xfrm>
                  <a:off x="4224192" y="2979559"/>
                  <a:ext cx="91277" cy="43541"/>
                </a:xfrm>
                <a:custGeom>
                  <a:avLst/>
                  <a:gdLst>
                    <a:gd name="T0" fmla="*/ 14 w 96"/>
                    <a:gd name="T1" fmla="*/ 0 h 46"/>
                    <a:gd name="T2" fmla="*/ 29 w 96"/>
                    <a:gd name="T3" fmla="*/ 1 h 46"/>
                    <a:gd name="T4" fmla="*/ 32 w 96"/>
                    <a:gd name="T5" fmla="*/ 6 h 46"/>
                    <a:gd name="T6" fmla="*/ 38 w 96"/>
                    <a:gd name="T7" fmla="*/ 9 h 46"/>
                    <a:gd name="T8" fmla="*/ 34 w 96"/>
                    <a:gd name="T9" fmla="*/ 13 h 46"/>
                    <a:gd name="T10" fmla="*/ 29 w 96"/>
                    <a:gd name="T11" fmla="*/ 12 h 46"/>
                    <a:gd name="T12" fmla="*/ 24 w 96"/>
                    <a:gd name="T13" fmla="*/ 17 h 46"/>
                    <a:gd name="T14" fmla="*/ 21 w 96"/>
                    <a:gd name="T15" fmla="*/ 13 h 46"/>
                    <a:gd name="T16" fmla="*/ 15 w 96"/>
                    <a:gd name="T17" fmla="*/ 17 h 46"/>
                    <a:gd name="T18" fmla="*/ 8 w 96"/>
                    <a:gd name="T19" fmla="*/ 17 h 46"/>
                    <a:gd name="T20" fmla="*/ 6 w 96"/>
                    <a:gd name="T21" fmla="*/ 13 h 46"/>
                    <a:gd name="T22" fmla="*/ 0 w 96"/>
                    <a:gd name="T23" fmla="*/ 16 h 46"/>
                    <a:gd name="T24" fmla="*/ 0 w 96"/>
                    <a:gd name="T25" fmla="*/ 13 h 46"/>
                    <a:gd name="T26" fmla="*/ 9 w 96"/>
                    <a:gd name="T27" fmla="*/ 1 h 46"/>
                    <a:gd name="T28" fmla="*/ 14 w 96"/>
                    <a:gd name="T29" fmla="*/ 0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6" h="46">
                      <a:moveTo>
                        <a:pt x="36" y="0"/>
                      </a:moveTo>
                      <a:lnTo>
                        <a:pt x="74" y="4"/>
                      </a:lnTo>
                      <a:lnTo>
                        <a:pt x="82" y="16"/>
                      </a:lnTo>
                      <a:lnTo>
                        <a:pt x="96" y="24"/>
                      </a:lnTo>
                      <a:lnTo>
                        <a:pt x="88" y="34"/>
                      </a:lnTo>
                      <a:lnTo>
                        <a:pt x="74" y="32"/>
                      </a:lnTo>
                      <a:lnTo>
                        <a:pt x="62" y="46"/>
                      </a:lnTo>
                      <a:lnTo>
                        <a:pt x="54" y="34"/>
                      </a:lnTo>
                      <a:lnTo>
                        <a:pt x="38" y="46"/>
                      </a:lnTo>
                      <a:lnTo>
                        <a:pt x="20" y="46"/>
                      </a:lnTo>
                      <a:lnTo>
                        <a:pt x="16" y="34"/>
                      </a:lnTo>
                      <a:lnTo>
                        <a:pt x="0" y="42"/>
                      </a:lnTo>
                      <a:lnTo>
                        <a:pt x="0" y="34"/>
                      </a:lnTo>
                      <a:lnTo>
                        <a:pt x="24" y="4"/>
                      </a:lnTo>
                      <a:lnTo>
                        <a:pt x="36"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37" name="vMap : Kaliningrad (Russia)">
                  <a:extLst>
                    <a:ext uri="{FF2B5EF4-FFF2-40B4-BE49-F238E27FC236}">
                      <a16:creationId xmlns:a16="http://schemas.microsoft.com/office/drawing/2014/main" xmlns="" id="{5EC8417C-F475-5645-8E3F-132BFE76F23D}"/>
                    </a:ext>
                  </a:extLst>
                </p:cNvPr>
                <p:cNvSpPr>
                  <a:spLocks noChangeAspect="1"/>
                </p:cNvSpPr>
                <p:nvPr>
                  <p:custDataLst>
                    <p:tags r:id="rId50"/>
                  </p:custDataLst>
                </p:nvPr>
              </p:nvSpPr>
              <p:spPr bwMode="gray">
                <a:xfrm>
                  <a:off x="4488894" y="2778964"/>
                  <a:ext cx="65416" cy="31100"/>
                </a:xfrm>
                <a:custGeom>
                  <a:avLst/>
                  <a:gdLst>
                    <a:gd name="T0" fmla="*/ 25 w 70"/>
                    <a:gd name="T1" fmla="*/ 12 h 34"/>
                    <a:gd name="T2" fmla="*/ 0 w 70"/>
                    <a:gd name="T3" fmla="*/ 12 h 34"/>
                    <a:gd name="T4" fmla="*/ 9 w 70"/>
                    <a:gd name="T5" fmla="*/ 0 h 34"/>
                    <a:gd name="T6" fmla="*/ 7 w 70"/>
                    <a:gd name="T7" fmla="*/ 6 h 34"/>
                    <a:gd name="T8" fmla="*/ 12 w 70"/>
                    <a:gd name="T9" fmla="*/ 6 h 34"/>
                    <a:gd name="T10" fmla="*/ 12 w 70"/>
                    <a:gd name="T11" fmla="*/ 3 h 34"/>
                    <a:gd name="T12" fmla="*/ 25 w 70"/>
                    <a:gd name="T13" fmla="*/ 4 h 34"/>
                    <a:gd name="T14" fmla="*/ 26 w 70"/>
                    <a:gd name="T15" fmla="*/ 6 h 34"/>
                    <a:gd name="T16" fmla="*/ 25 w 70"/>
                    <a:gd name="T17" fmla="*/ 12 h 3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0" h="34">
                      <a:moveTo>
                        <a:pt x="66" y="34"/>
                      </a:moveTo>
                      <a:lnTo>
                        <a:pt x="0" y="34"/>
                      </a:lnTo>
                      <a:lnTo>
                        <a:pt x="24" y="0"/>
                      </a:lnTo>
                      <a:lnTo>
                        <a:pt x="20" y="18"/>
                      </a:lnTo>
                      <a:lnTo>
                        <a:pt x="32" y="18"/>
                      </a:lnTo>
                      <a:lnTo>
                        <a:pt x="32" y="8"/>
                      </a:lnTo>
                      <a:lnTo>
                        <a:pt x="66" y="10"/>
                      </a:lnTo>
                      <a:lnTo>
                        <a:pt x="70" y="18"/>
                      </a:lnTo>
                      <a:lnTo>
                        <a:pt x="66" y="3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38" name="vMap : Denmark">
                  <a:extLst>
                    <a:ext uri="{FF2B5EF4-FFF2-40B4-BE49-F238E27FC236}">
                      <a16:creationId xmlns:a16="http://schemas.microsoft.com/office/drawing/2014/main" xmlns="" id="{34520409-F197-624A-B7F0-719736C8D2F8}"/>
                    </a:ext>
                  </a:extLst>
                </p:cNvPr>
                <p:cNvGrpSpPr/>
                <p:nvPr/>
              </p:nvGrpSpPr>
              <p:grpSpPr>
                <a:xfrm>
                  <a:off x="4271352" y="2727649"/>
                  <a:ext cx="85192" cy="69975"/>
                  <a:chOff x="5292425" y="1251857"/>
                  <a:chExt cx="139523" cy="114605"/>
                </a:xfrm>
                <a:solidFill>
                  <a:srgbClr val="0F4DBC"/>
                </a:solidFill>
              </p:grpSpPr>
              <p:sp>
                <p:nvSpPr>
                  <p:cNvPr id="829" name="vMap : Denmark (Offshore)">
                    <a:extLst>
                      <a:ext uri="{FF2B5EF4-FFF2-40B4-BE49-F238E27FC236}">
                        <a16:creationId xmlns:a16="http://schemas.microsoft.com/office/drawing/2014/main" xmlns="" id="{82AA31F5-0C6D-CB44-8AB7-154B126E76FC}"/>
                      </a:ext>
                    </a:extLst>
                  </p:cNvPr>
                  <p:cNvSpPr>
                    <a:spLocks noChangeAspect="1"/>
                  </p:cNvSpPr>
                  <p:nvPr>
                    <p:custDataLst>
                      <p:tags r:id="rId324"/>
                    </p:custDataLst>
                  </p:nvPr>
                </p:nvSpPr>
                <p:spPr bwMode="gray">
                  <a:xfrm>
                    <a:off x="5342254" y="1338447"/>
                    <a:ext cx="39864" cy="25467"/>
                  </a:xfrm>
                  <a:custGeom>
                    <a:avLst/>
                    <a:gdLst>
                      <a:gd name="T0" fmla="*/ 2 w 26"/>
                      <a:gd name="T1" fmla="*/ 0 h 14"/>
                      <a:gd name="T2" fmla="*/ 7 w 26"/>
                      <a:gd name="T3" fmla="*/ 0 h 14"/>
                      <a:gd name="T4" fmla="*/ 10 w 26"/>
                      <a:gd name="T5" fmla="*/ 3 h 14"/>
                      <a:gd name="T6" fmla="*/ 4 w 26"/>
                      <a:gd name="T7" fmla="*/ 7 h 14"/>
                      <a:gd name="T8" fmla="*/ 0 w 26"/>
                      <a:gd name="T9" fmla="*/ 2 h 14"/>
                      <a:gd name="T10" fmla="*/ 2 w 26"/>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4">
                        <a:moveTo>
                          <a:pt x="6" y="0"/>
                        </a:moveTo>
                        <a:lnTo>
                          <a:pt x="18" y="0"/>
                        </a:lnTo>
                        <a:lnTo>
                          <a:pt x="26" y="6"/>
                        </a:lnTo>
                        <a:lnTo>
                          <a:pt x="10" y="14"/>
                        </a:lnTo>
                        <a:lnTo>
                          <a:pt x="0" y="4"/>
                        </a:lnTo>
                        <a:lnTo>
                          <a:pt x="6"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30" name="vMap : Denmark (Offshore)">
                    <a:extLst>
                      <a:ext uri="{FF2B5EF4-FFF2-40B4-BE49-F238E27FC236}">
                        <a16:creationId xmlns:a16="http://schemas.microsoft.com/office/drawing/2014/main" xmlns="" id="{FD2A63D4-E4B4-544D-8C31-ED68D8E41114}"/>
                      </a:ext>
                    </a:extLst>
                  </p:cNvPr>
                  <p:cNvSpPr>
                    <a:spLocks noChangeAspect="1"/>
                  </p:cNvSpPr>
                  <p:nvPr>
                    <p:custDataLst>
                      <p:tags r:id="rId325"/>
                    </p:custDataLst>
                  </p:nvPr>
                </p:nvSpPr>
                <p:spPr bwMode="gray">
                  <a:xfrm>
                    <a:off x="5382118" y="1312980"/>
                    <a:ext cx="49830" cy="50936"/>
                  </a:xfrm>
                  <a:custGeom>
                    <a:avLst/>
                    <a:gdLst>
                      <a:gd name="T0" fmla="*/ 4 w 34"/>
                      <a:gd name="T1" fmla="*/ 2 h 29"/>
                      <a:gd name="T2" fmla="*/ 8 w 34"/>
                      <a:gd name="T3" fmla="*/ 6 h 29"/>
                      <a:gd name="T4" fmla="*/ 7 w 34"/>
                      <a:gd name="T5" fmla="*/ 2 h 29"/>
                      <a:gd name="T6" fmla="*/ 11 w 34"/>
                      <a:gd name="T7" fmla="*/ 0 h 29"/>
                      <a:gd name="T8" fmla="*/ 12 w 34"/>
                      <a:gd name="T9" fmla="*/ 6 h 29"/>
                      <a:gd name="T10" fmla="*/ 8 w 34"/>
                      <a:gd name="T11" fmla="*/ 14 h 29"/>
                      <a:gd name="T12" fmla="*/ 5 w 34"/>
                      <a:gd name="T13" fmla="*/ 14 h 29"/>
                      <a:gd name="T14" fmla="*/ 0 w 34"/>
                      <a:gd name="T15" fmla="*/ 6 h 29"/>
                      <a:gd name="T16" fmla="*/ 4 w 34"/>
                      <a:gd name="T17" fmla="*/ 2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29">
                        <a:moveTo>
                          <a:pt x="12" y="4"/>
                        </a:moveTo>
                        <a:lnTo>
                          <a:pt x="24" y="11"/>
                        </a:lnTo>
                        <a:lnTo>
                          <a:pt x="20" y="4"/>
                        </a:lnTo>
                        <a:lnTo>
                          <a:pt x="30" y="0"/>
                        </a:lnTo>
                        <a:lnTo>
                          <a:pt x="34" y="11"/>
                        </a:lnTo>
                        <a:lnTo>
                          <a:pt x="24" y="29"/>
                        </a:lnTo>
                        <a:lnTo>
                          <a:pt x="16" y="29"/>
                        </a:lnTo>
                        <a:lnTo>
                          <a:pt x="0" y="11"/>
                        </a:lnTo>
                        <a:lnTo>
                          <a:pt x="12" y="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31" name="vMap : Denmark (Mainland)">
                    <a:extLst>
                      <a:ext uri="{FF2B5EF4-FFF2-40B4-BE49-F238E27FC236}">
                        <a16:creationId xmlns:a16="http://schemas.microsoft.com/office/drawing/2014/main" xmlns="" id="{9395B701-8E41-DD4B-A68E-B4A4396DD11A}"/>
                      </a:ext>
                    </a:extLst>
                  </p:cNvPr>
                  <p:cNvSpPr>
                    <a:spLocks noChangeAspect="1"/>
                  </p:cNvSpPr>
                  <p:nvPr>
                    <p:custDataLst>
                      <p:tags r:id="rId326"/>
                    </p:custDataLst>
                  </p:nvPr>
                </p:nvSpPr>
                <p:spPr bwMode="gray">
                  <a:xfrm>
                    <a:off x="5292425" y="1251857"/>
                    <a:ext cx="79728" cy="114605"/>
                  </a:xfrm>
                  <a:custGeom>
                    <a:avLst/>
                    <a:gdLst>
                      <a:gd name="T0" fmla="*/ 10 w 54"/>
                      <a:gd name="T1" fmla="*/ 29 h 71"/>
                      <a:gd name="T2" fmla="*/ 4 w 54"/>
                      <a:gd name="T3" fmla="*/ 29 h 71"/>
                      <a:gd name="T4" fmla="*/ 4 w 54"/>
                      <a:gd name="T5" fmla="*/ 23 h 71"/>
                      <a:gd name="T6" fmla="*/ 0 w 54"/>
                      <a:gd name="T7" fmla="*/ 22 h 71"/>
                      <a:gd name="T8" fmla="*/ 1 w 54"/>
                      <a:gd name="T9" fmla="*/ 7 h 71"/>
                      <a:gd name="T10" fmla="*/ 16 w 54"/>
                      <a:gd name="T11" fmla="*/ 0 h 71"/>
                      <a:gd name="T12" fmla="*/ 14 w 54"/>
                      <a:gd name="T13" fmla="*/ 10 h 71"/>
                      <a:gd name="T14" fmla="*/ 19 w 54"/>
                      <a:gd name="T15" fmla="*/ 14 h 71"/>
                      <a:gd name="T16" fmla="*/ 11 w 54"/>
                      <a:gd name="T17" fmla="*/ 20 h 71"/>
                      <a:gd name="T18" fmla="*/ 10 w 54"/>
                      <a:gd name="T19" fmla="*/ 29 h 7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4" h="71">
                        <a:moveTo>
                          <a:pt x="28" y="71"/>
                        </a:moveTo>
                        <a:lnTo>
                          <a:pt x="12" y="71"/>
                        </a:lnTo>
                        <a:lnTo>
                          <a:pt x="12" y="59"/>
                        </a:lnTo>
                        <a:lnTo>
                          <a:pt x="0" y="53"/>
                        </a:lnTo>
                        <a:lnTo>
                          <a:pt x="4" y="18"/>
                        </a:lnTo>
                        <a:lnTo>
                          <a:pt x="46" y="0"/>
                        </a:lnTo>
                        <a:lnTo>
                          <a:pt x="38" y="26"/>
                        </a:lnTo>
                        <a:lnTo>
                          <a:pt x="54" y="34"/>
                        </a:lnTo>
                        <a:lnTo>
                          <a:pt x="32" y="49"/>
                        </a:lnTo>
                        <a:lnTo>
                          <a:pt x="28" y="71"/>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539" name="vMap : Arctic">
                  <a:extLst>
                    <a:ext uri="{FF2B5EF4-FFF2-40B4-BE49-F238E27FC236}">
                      <a16:creationId xmlns:a16="http://schemas.microsoft.com/office/drawing/2014/main" xmlns="" id="{027D0E55-3DB1-5645-8461-4161EB994FFF}"/>
                    </a:ext>
                  </a:extLst>
                </p:cNvPr>
                <p:cNvGrpSpPr/>
                <p:nvPr/>
              </p:nvGrpSpPr>
              <p:grpSpPr>
                <a:xfrm>
                  <a:off x="4318511" y="2214499"/>
                  <a:ext cx="766727" cy="87080"/>
                  <a:chOff x="5774598" y="618619"/>
                  <a:chExt cx="1255711" cy="142620"/>
                </a:xfrm>
                <a:solidFill>
                  <a:srgbClr val="0F4DBC"/>
                </a:solidFill>
              </p:grpSpPr>
              <p:sp>
                <p:nvSpPr>
                  <p:cNvPr id="818" name="vMap : Arctic">
                    <a:extLst>
                      <a:ext uri="{FF2B5EF4-FFF2-40B4-BE49-F238E27FC236}">
                        <a16:creationId xmlns:a16="http://schemas.microsoft.com/office/drawing/2014/main" xmlns="" id="{70382737-4178-BE47-AF48-B5C589081DBD}"/>
                      </a:ext>
                    </a:extLst>
                  </p:cNvPr>
                  <p:cNvSpPr>
                    <a:spLocks noChangeAspect="1"/>
                  </p:cNvSpPr>
                  <p:nvPr>
                    <p:custDataLst>
                      <p:tags r:id="rId313"/>
                    </p:custDataLst>
                  </p:nvPr>
                </p:nvSpPr>
                <p:spPr bwMode="gray">
                  <a:xfrm>
                    <a:off x="6806074" y="618619"/>
                    <a:ext cx="44847" cy="5093"/>
                  </a:xfrm>
                  <a:custGeom>
                    <a:avLst/>
                    <a:gdLst>
                      <a:gd name="T0" fmla="*/ 3 w 30"/>
                      <a:gd name="T1" fmla="*/ 0 h 4"/>
                      <a:gd name="T2" fmla="*/ 0 w 30"/>
                      <a:gd name="T3" fmla="*/ 1 h 4"/>
                      <a:gd name="T4" fmla="*/ 11 w 30"/>
                      <a:gd name="T5" fmla="*/ 0 h 4"/>
                      <a:gd name="T6" fmla="*/ 3 w 30"/>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4">
                        <a:moveTo>
                          <a:pt x="8" y="0"/>
                        </a:moveTo>
                        <a:lnTo>
                          <a:pt x="0" y="4"/>
                        </a:lnTo>
                        <a:lnTo>
                          <a:pt x="30" y="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19" name="vMap : Arctic">
                    <a:extLst>
                      <a:ext uri="{FF2B5EF4-FFF2-40B4-BE49-F238E27FC236}">
                        <a16:creationId xmlns:a16="http://schemas.microsoft.com/office/drawing/2014/main" xmlns="" id="{4BB81649-002A-6742-8CF4-FB616C158FB7}"/>
                      </a:ext>
                    </a:extLst>
                  </p:cNvPr>
                  <p:cNvSpPr>
                    <a:spLocks noChangeAspect="1"/>
                  </p:cNvSpPr>
                  <p:nvPr>
                    <p:custDataLst>
                      <p:tags r:id="rId314"/>
                    </p:custDataLst>
                  </p:nvPr>
                </p:nvSpPr>
                <p:spPr bwMode="gray">
                  <a:xfrm>
                    <a:off x="6958055" y="618619"/>
                    <a:ext cx="72254" cy="17827"/>
                  </a:xfrm>
                  <a:custGeom>
                    <a:avLst/>
                    <a:gdLst>
                      <a:gd name="T0" fmla="*/ 5 w 46"/>
                      <a:gd name="T1" fmla="*/ 0 h 12"/>
                      <a:gd name="T2" fmla="*/ 0 w 46"/>
                      <a:gd name="T3" fmla="*/ 3 h 12"/>
                      <a:gd name="T4" fmla="*/ 6 w 46"/>
                      <a:gd name="T5" fmla="*/ 4 h 12"/>
                      <a:gd name="T6" fmla="*/ 18 w 46"/>
                      <a:gd name="T7" fmla="*/ 3 h 12"/>
                      <a:gd name="T8" fmla="*/ 12 w 46"/>
                      <a:gd name="T9" fmla="*/ 0 h 12"/>
                      <a:gd name="T10" fmla="*/ 5 w 46"/>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12">
                        <a:moveTo>
                          <a:pt x="12" y="0"/>
                        </a:moveTo>
                        <a:lnTo>
                          <a:pt x="0" y="8"/>
                        </a:lnTo>
                        <a:lnTo>
                          <a:pt x="14" y="12"/>
                        </a:lnTo>
                        <a:lnTo>
                          <a:pt x="46" y="8"/>
                        </a:lnTo>
                        <a:lnTo>
                          <a:pt x="30" y="0"/>
                        </a:lnTo>
                        <a:lnTo>
                          <a:pt x="1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0" name="vMap : Arctic">
                    <a:extLst>
                      <a:ext uri="{FF2B5EF4-FFF2-40B4-BE49-F238E27FC236}">
                        <a16:creationId xmlns:a16="http://schemas.microsoft.com/office/drawing/2014/main" xmlns="" id="{580659B8-25CB-964F-AB7D-0CA005C7C35D}"/>
                      </a:ext>
                    </a:extLst>
                  </p:cNvPr>
                  <p:cNvSpPr>
                    <a:spLocks noChangeAspect="1"/>
                  </p:cNvSpPr>
                  <p:nvPr>
                    <p:custDataLst>
                      <p:tags r:id="rId315"/>
                    </p:custDataLst>
                  </p:nvPr>
                </p:nvSpPr>
                <p:spPr bwMode="gray">
                  <a:xfrm>
                    <a:off x="6898259" y="636447"/>
                    <a:ext cx="59796" cy="12734"/>
                  </a:xfrm>
                  <a:custGeom>
                    <a:avLst/>
                    <a:gdLst>
                      <a:gd name="T0" fmla="*/ 5 w 42"/>
                      <a:gd name="T1" fmla="*/ 0 h 8"/>
                      <a:gd name="T2" fmla="*/ 1 w 42"/>
                      <a:gd name="T3" fmla="*/ 0 h 8"/>
                      <a:gd name="T4" fmla="*/ 0 w 42"/>
                      <a:gd name="T5" fmla="*/ 2 h 8"/>
                      <a:gd name="T6" fmla="*/ 3 w 42"/>
                      <a:gd name="T7" fmla="*/ 3 h 8"/>
                      <a:gd name="T8" fmla="*/ 14 w 42"/>
                      <a:gd name="T9" fmla="*/ 0 h 8"/>
                      <a:gd name="T10" fmla="*/ 5 w 42"/>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8">
                        <a:moveTo>
                          <a:pt x="14" y="0"/>
                        </a:moveTo>
                        <a:lnTo>
                          <a:pt x="4" y="0"/>
                        </a:lnTo>
                        <a:lnTo>
                          <a:pt x="0" y="4"/>
                        </a:lnTo>
                        <a:lnTo>
                          <a:pt x="8" y="8"/>
                        </a:lnTo>
                        <a:lnTo>
                          <a:pt x="42" y="0"/>
                        </a:lnTo>
                        <a:lnTo>
                          <a:pt x="1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1" name="vMap : Arctic">
                    <a:extLst>
                      <a:ext uri="{FF2B5EF4-FFF2-40B4-BE49-F238E27FC236}">
                        <a16:creationId xmlns:a16="http://schemas.microsoft.com/office/drawing/2014/main" xmlns="" id="{12C1DC9B-23F0-3D45-BD2E-D4EEB97F5560}"/>
                      </a:ext>
                    </a:extLst>
                  </p:cNvPr>
                  <p:cNvSpPr>
                    <a:spLocks noChangeAspect="1"/>
                  </p:cNvSpPr>
                  <p:nvPr>
                    <p:custDataLst>
                      <p:tags r:id="rId316"/>
                    </p:custDataLst>
                  </p:nvPr>
                </p:nvSpPr>
                <p:spPr bwMode="gray">
                  <a:xfrm>
                    <a:off x="6823515" y="649181"/>
                    <a:ext cx="27407" cy="5093"/>
                  </a:xfrm>
                  <a:custGeom>
                    <a:avLst/>
                    <a:gdLst>
                      <a:gd name="T0" fmla="*/ 6 w 18"/>
                      <a:gd name="T1" fmla="*/ 0 h 4"/>
                      <a:gd name="T2" fmla="*/ 0 w 18"/>
                      <a:gd name="T3" fmla="*/ 1 h 4"/>
                      <a:gd name="T4" fmla="*/ 7 w 18"/>
                      <a:gd name="T5" fmla="*/ 1 h 4"/>
                      <a:gd name="T6" fmla="*/ 7 w 18"/>
                      <a:gd name="T7" fmla="*/ 0 h 4"/>
                      <a:gd name="T8" fmla="*/ 6 w 18"/>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4">
                        <a:moveTo>
                          <a:pt x="14" y="0"/>
                        </a:moveTo>
                        <a:lnTo>
                          <a:pt x="0" y="4"/>
                        </a:lnTo>
                        <a:lnTo>
                          <a:pt x="18" y="4"/>
                        </a:lnTo>
                        <a:lnTo>
                          <a:pt x="18" y="0"/>
                        </a:lnTo>
                        <a:lnTo>
                          <a:pt x="1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2" name="vMap : Arctic">
                    <a:extLst>
                      <a:ext uri="{FF2B5EF4-FFF2-40B4-BE49-F238E27FC236}">
                        <a16:creationId xmlns:a16="http://schemas.microsoft.com/office/drawing/2014/main" xmlns="" id="{895919DE-3039-CC42-B014-44A2296C7A04}"/>
                      </a:ext>
                    </a:extLst>
                  </p:cNvPr>
                  <p:cNvSpPr>
                    <a:spLocks noChangeAspect="1"/>
                  </p:cNvSpPr>
                  <p:nvPr>
                    <p:custDataLst>
                      <p:tags r:id="rId317"/>
                    </p:custDataLst>
                  </p:nvPr>
                </p:nvSpPr>
                <p:spPr bwMode="gray">
                  <a:xfrm>
                    <a:off x="6748770" y="649181"/>
                    <a:ext cx="17441" cy="5093"/>
                  </a:xfrm>
                  <a:custGeom>
                    <a:avLst/>
                    <a:gdLst>
                      <a:gd name="T0" fmla="*/ 2 w 14"/>
                      <a:gd name="T1" fmla="*/ 0 h 4"/>
                      <a:gd name="T2" fmla="*/ 4 w 14"/>
                      <a:gd name="T3" fmla="*/ 1 h 4"/>
                      <a:gd name="T4" fmla="*/ 0 w 14"/>
                      <a:gd name="T5" fmla="*/ 0 h 4"/>
                      <a:gd name="T6" fmla="*/ 2 w 1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4">
                        <a:moveTo>
                          <a:pt x="8" y="0"/>
                        </a:moveTo>
                        <a:lnTo>
                          <a:pt x="14" y="4"/>
                        </a:lnTo>
                        <a:lnTo>
                          <a:pt x="0" y="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3" name="vMap : Arctic">
                    <a:extLst>
                      <a:ext uri="{FF2B5EF4-FFF2-40B4-BE49-F238E27FC236}">
                        <a16:creationId xmlns:a16="http://schemas.microsoft.com/office/drawing/2014/main" xmlns="" id="{C757DA7E-3150-4A4D-92BC-FCADE08432DD}"/>
                      </a:ext>
                    </a:extLst>
                  </p:cNvPr>
                  <p:cNvSpPr>
                    <a:spLocks noChangeAspect="1"/>
                  </p:cNvSpPr>
                  <p:nvPr>
                    <p:custDataLst>
                      <p:tags r:id="rId318"/>
                    </p:custDataLst>
                  </p:nvPr>
                </p:nvSpPr>
                <p:spPr bwMode="gray">
                  <a:xfrm>
                    <a:off x="6604264" y="628807"/>
                    <a:ext cx="112118" cy="25467"/>
                  </a:xfrm>
                  <a:custGeom>
                    <a:avLst/>
                    <a:gdLst>
                      <a:gd name="T0" fmla="*/ 24 w 72"/>
                      <a:gd name="T1" fmla="*/ 0 h 16"/>
                      <a:gd name="T2" fmla="*/ 0 w 72"/>
                      <a:gd name="T3" fmla="*/ 3 h 16"/>
                      <a:gd name="T4" fmla="*/ 6 w 72"/>
                      <a:gd name="T5" fmla="*/ 3 h 16"/>
                      <a:gd name="T6" fmla="*/ 2 w 72"/>
                      <a:gd name="T7" fmla="*/ 5 h 16"/>
                      <a:gd name="T8" fmla="*/ 9 w 72"/>
                      <a:gd name="T9" fmla="*/ 6 h 16"/>
                      <a:gd name="T10" fmla="*/ 15 w 72"/>
                      <a:gd name="T11" fmla="*/ 6 h 16"/>
                      <a:gd name="T12" fmla="*/ 12 w 72"/>
                      <a:gd name="T13" fmla="*/ 5 h 16"/>
                      <a:gd name="T14" fmla="*/ 28 w 72"/>
                      <a:gd name="T15" fmla="*/ 3 h 16"/>
                      <a:gd name="T16" fmla="*/ 21 w 72"/>
                      <a:gd name="T17" fmla="*/ 2 h 16"/>
                      <a:gd name="T18" fmla="*/ 24 w 72"/>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2" h="16">
                        <a:moveTo>
                          <a:pt x="60" y="0"/>
                        </a:moveTo>
                        <a:lnTo>
                          <a:pt x="0" y="8"/>
                        </a:lnTo>
                        <a:lnTo>
                          <a:pt x="14" y="8"/>
                        </a:lnTo>
                        <a:lnTo>
                          <a:pt x="4" y="12"/>
                        </a:lnTo>
                        <a:lnTo>
                          <a:pt x="22" y="16"/>
                        </a:lnTo>
                        <a:lnTo>
                          <a:pt x="38" y="16"/>
                        </a:lnTo>
                        <a:lnTo>
                          <a:pt x="30" y="12"/>
                        </a:lnTo>
                        <a:lnTo>
                          <a:pt x="72" y="8"/>
                        </a:lnTo>
                        <a:lnTo>
                          <a:pt x="54" y="4"/>
                        </a:lnTo>
                        <a:lnTo>
                          <a:pt x="6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4" name="vMap : Arctic">
                    <a:extLst>
                      <a:ext uri="{FF2B5EF4-FFF2-40B4-BE49-F238E27FC236}">
                        <a16:creationId xmlns:a16="http://schemas.microsoft.com/office/drawing/2014/main" xmlns="" id="{270C966B-8EA7-C74A-A33F-811952A85679}"/>
                      </a:ext>
                    </a:extLst>
                  </p:cNvPr>
                  <p:cNvSpPr>
                    <a:spLocks noChangeAspect="1"/>
                  </p:cNvSpPr>
                  <p:nvPr>
                    <p:custDataLst>
                      <p:tags r:id="rId319"/>
                    </p:custDataLst>
                  </p:nvPr>
                </p:nvSpPr>
                <p:spPr bwMode="gray">
                  <a:xfrm>
                    <a:off x="6549451" y="628807"/>
                    <a:ext cx="102152" cy="12734"/>
                  </a:xfrm>
                  <a:custGeom>
                    <a:avLst/>
                    <a:gdLst>
                      <a:gd name="T0" fmla="*/ 12 w 66"/>
                      <a:gd name="T1" fmla="*/ 0 h 8"/>
                      <a:gd name="T2" fmla="*/ 0 w 66"/>
                      <a:gd name="T3" fmla="*/ 3 h 8"/>
                      <a:gd name="T4" fmla="*/ 25 w 66"/>
                      <a:gd name="T5" fmla="*/ 2 h 8"/>
                      <a:gd name="T6" fmla="*/ 12 w 66"/>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6" h="8">
                        <a:moveTo>
                          <a:pt x="32" y="0"/>
                        </a:moveTo>
                        <a:lnTo>
                          <a:pt x="0" y="8"/>
                        </a:lnTo>
                        <a:lnTo>
                          <a:pt x="66" y="4"/>
                        </a:lnTo>
                        <a:lnTo>
                          <a:pt x="32"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5" name="vMap : Arctic">
                    <a:extLst>
                      <a:ext uri="{FF2B5EF4-FFF2-40B4-BE49-F238E27FC236}">
                        <a16:creationId xmlns:a16="http://schemas.microsoft.com/office/drawing/2014/main" xmlns="" id="{B079FFB2-B696-FD4E-AD86-9D61557C94C1}"/>
                      </a:ext>
                    </a:extLst>
                  </p:cNvPr>
                  <p:cNvSpPr>
                    <a:spLocks noChangeAspect="1"/>
                  </p:cNvSpPr>
                  <p:nvPr>
                    <p:custDataLst>
                      <p:tags r:id="rId320"/>
                    </p:custDataLst>
                  </p:nvPr>
                </p:nvSpPr>
                <p:spPr bwMode="gray">
                  <a:xfrm>
                    <a:off x="5951494" y="636447"/>
                    <a:ext cx="204302" cy="40749"/>
                  </a:xfrm>
                  <a:custGeom>
                    <a:avLst/>
                    <a:gdLst>
                      <a:gd name="T0" fmla="*/ 7 w 133"/>
                      <a:gd name="T1" fmla="*/ 0 h 25"/>
                      <a:gd name="T2" fmla="*/ 22 w 133"/>
                      <a:gd name="T3" fmla="*/ 5 h 25"/>
                      <a:gd name="T4" fmla="*/ 25 w 133"/>
                      <a:gd name="T5" fmla="*/ 0 h 25"/>
                      <a:gd name="T6" fmla="*/ 28 w 133"/>
                      <a:gd name="T7" fmla="*/ 2 h 25"/>
                      <a:gd name="T8" fmla="*/ 27 w 133"/>
                      <a:gd name="T9" fmla="*/ 5 h 25"/>
                      <a:gd name="T10" fmla="*/ 38 w 133"/>
                      <a:gd name="T11" fmla="*/ 2 h 25"/>
                      <a:gd name="T12" fmla="*/ 36 w 133"/>
                      <a:gd name="T13" fmla="*/ 5 h 25"/>
                      <a:gd name="T14" fmla="*/ 51 w 133"/>
                      <a:gd name="T15" fmla="*/ 5 h 25"/>
                      <a:gd name="T16" fmla="*/ 43 w 133"/>
                      <a:gd name="T17" fmla="*/ 8 h 25"/>
                      <a:gd name="T18" fmla="*/ 33 w 133"/>
                      <a:gd name="T19" fmla="*/ 10 h 25"/>
                      <a:gd name="T20" fmla="*/ 9 w 133"/>
                      <a:gd name="T21" fmla="*/ 8 h 25"/>
                      <a:gd name="T22" fmla="*/ 4 w 133"/>
                      <a:gd name="T23" fmla="*/ 8 h 25"/>
                      <a:gd name="T24" fmla="*/ 0 w 133"/>
                      <a:gd name="T25" fmla="*/ 6 h 25"/>
                      <a:gd name="T26" fmla="*/ 7 w 1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3" h="25">
                        <a:moveTo>
                          <a:pt x="18" y="0"/>
                        </a:moveTo>
                        <a:lnTo>
                          <a:pt x="59" y="12"/>
                        </a:lnTo>
                        <a:lnTo>
                          <a:pt x="67" y="0"/>
                        </a:lnTo>
                        <a:lnTo>
                          <a:pt x="75" y="4"/>
                        </a:lnTo>
                        <a:lnTo>
                          <a:pt x="71" y="12"/>
                        </a:lnTo>
                        <a:lnTo>
                          <a:pt x="99" y="4"/>
                        </a:lnTo>
                        <a:lnTo>
                          <a:pt x="95" y="12"/>
                        </a:lnTo>
                        <a:lnTo>
                          <a:pt x="133" y="12"/>
                        </a:lnTo>
                        <a:lnTo>
                          <a:pt x="113" y="21"/>
                        </a:lnTo>
                        <a:lnTo>
                          <a:pt x="87" y="25"/>
                        </a:lnTo>
                        <a:lnTo>
                          <a:pt x="22" y="19"/>
                        </a:lnTo>
                        <a:lnTo>
                          <a:pt x="12" y="19"/>
                        </a:lnTo>
                        <a:lnTo>
                          <a:pt x="0" y="15"/>
                        </a:lnTo>
                        <a:lnTo>
                          <a:pt x="1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6" name="vMap : Arctic">
                    <a:extLst>
                      <a:ext uri="{FF2B5EF4-FFF2-40B4-BE49-F238E27FC236}">
                        <a16:creationId xmlns:a16="http://schemas.microsoft.com/office/drawing/2014/main" xmlns="" id="{4ED73316-0DE4-1746-9EA0-C4C83A34510B}"/>
                      </a:ext>
                    </a:extLst>
                  </p:cNvPr>
                  <p:cNvSpPr>
                    <a:spLocks noChangeAspect="1"/>
                  </p:cNvSpPr>
                  <p:nvPr>
                    <p:custDataLst>
                      <p:tags r:id="rId321"/>
                    </p:custDataLst>
                  </p:nvPr>
                </p:nvSpPr>
                <p:spPr bwMode="gray">
                  <a:xfrm>
                    <a:off x="6021256" y="707757"/>
                    <a:ext cx="94677" cy="35655"/>
                  </a:xfrm>
                  <a:custGeom>
                    <a:avLst/>
                    <a:gdLst>
                      <a:gd name="T0" fmla="*/ 11 w 62"/>
                      <a:gd name="T1" fmla="*/ 0 h 22"/>
                      <a:gd name="T2" fmla="*/ 14 w 62"/>
                      <a:gd name="T3" fmla="*/ 2 h 22"/>
                      <a:gd name="T4" fmla="*/ 13 w 62"/>
                      <a:gd name="T5" fmla="*/ 2 h 22"/>
                      <a:gd name="T6" fmla="*/ 23 w 62"/>
                      <a:gd name="T7" fmla="*/ 5 h 22"/>
                      <a:gd name="T8" fmla="*/ 11 w 62"/>
                      <a:gd name="T9" fmla="*/ 9 h 22"/>
                      <a:gd name="T10" fmla="*/ 10 w 62"/>
                      <a:gd name="T11" fmla="*/ 8 h 22"/>
                      <a:gd name="T12" fmla="*/ 11 w 62"/>
                      <a:gd name="T13" fmla="*/ 6 h 22"/>
                      <a:gd name="T14" fmla="*/ 0 w 62"/>
                      <a:gd name="T15" fmla="*/ 6 h 22"/>
                      <a:gd name="T16" fmla="*/ 4 w 62"/>
                      <a:gd name="T17" fmla="*/ 3 h 22"/>
                      <a:gd name="T18" fmla="*/ 0 w 62"/>
                      <a:gd name="T19" fmla="*/ 2 h 22"/>
                      <a:gd name="T20" fmla="*/ 11 w 62"/>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2" h="22">
                        <a:moveTo>
                          <a:pt x="30" y="0"/>
                        </a:moveTo>
                        <a:lnTo>
                          <a:pt x="38" y="4"/>
                        </a:lnTo>
                        <a:lnTo>
                          <a:pt x="34" y="4"/>
                        </a:lnTo>
                        <a:lnTo>
                          <a:pt x="62" y="12"/>
                        </a:lnTo>
                        <a:lnTo>
                          <a:pt x="30" y="22"/>
                        </a:lnTo>
                        <a:lnTo>
                          <a:pt x="26" y="20"/>
                        </a:lnTo>
                        <a:lnTo>
                          <a:pt x="30" y="16"/>
                        </a:lnTo>
                        <a:lnTo>
                          <a:pt x="0" y="16"/>
                        </a:lnTo>
                        <a:lnTo>
                          <a:pt x="12" y="8"/>
                        </a:lnTo>
                        <a:lnTo>
                          <a:pt x="0" y="4"/>
                        </a:lnTo>
                        <a:lnTo>
                          <a:pt x="3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7" name="vMap : Arctic">
                    <a:extLst>
                      <a:ext uri="{FF2B5EF4-FFF2-40B4-BE49-F238E27FC236}">
                        <a16:creationId xmlns:a16="http://schemas.microsoft.com/office/drawing/2014/main" xmlns="" id="{00023128-BF0C-1D4E-AB32-BB1415E14B5A}"/>
                      </a:ext>
                    </a:extLst>
                  </p:cNvPr>
                  <p:cNvSpPr>
                    <a:spLocks noChangeAspect="1"/>
                  </p:cNvSpPr>
                  <p:nvPr>
                    <p:custDataLst>
                      <p:tags r:id="rId322"/>
                    </p:custDataLst>
                  </p:nvPr>
                </p:nvSpPr>
                <p:spPr bwMode="gray">
                  <a:xfrm>
                    <a:off x="5774598" y="654274"/>
                    <a:ext cx="259115" cy="106965"/>
                  </a:xfrm>
                  <a:custGeom>
                    <a:avLst/>
                    <a:gdLst>
                      <a:gd name="T0" fmla="*/ 44 w 169"/>
                      <a:gd name="T1" fmla="*/ 21 h 67"/>
                      <a:gd name="T2" fmla="*/ 39 w 169"/>
                      <a:gd name="T3" fmla="*/ 26 h 67"/>
                      <a:gd name="T4" fmla="*/ 35 w 169"/>
                      <a:gd name="T5" fmla="*/ 26 h 67"/>
                      <a:gd name="T6" fmla="*/ 30 w 169"/>
                      <a:gd name="T7" fmla="*/ 23 h 67"/>
                      <a:gd name="T8" fmla="*/ 35 w 169"/>
                      <a:gd name="T9" fmla="*/ 23 h 67"/>
                      <a:gd name="T10" fmla="*/ 22 w 169"/>
                      <a:gd name="T11" fmla="*/ 21 h 67"/>
                      <a:gd name="T12" fmla="*/ 17 w 169"/>
                      <a:gd name="T13" fmla="*/ 14 h 67"/>
                      <a:gd name="T14" fmla="*/ 39 w 169"/>
                      <a:gd name="T15" fmla="*/ 11 h 67"/>
                      <a:gd name="T16" fmla="*/ 33 w 169"/>
                      <a:gd name="T17" fmla="*/ 11 h 67"/>
                      <a:gd name="T18" fmla="*/ 35 w 169"/>
                      <a:gd name="T19" fmla="*/ 10 h 67"/>
                      <a:gd name="T20" fmla="*/ 30 w 169"/>
                      <a:gd name="T21" fmla="*/ 11 h 67"/>
                      <a:gd name="T22" fmla="*/ 28 w 169"/>
                      <a:gd name="T23" fmla="*/ 8 h 67"/>
                      <a:gd name="T24" fmla="*/ 23 w 169"/>
                      <a:gd name="T25" fmla="*/ 10 h 67"/>
                      <a:gd name="T26" fmla="*/ 22 w 169"/>
                      <a:gd name="T27" fmla="*/ 11 h 67"/>
                      <a:gd name="T28" fmla="*/ 23 w 169"/>
                      <a:gd name="T29" fmla="*/ 11 h 67"/>
                      <a:gd name="T30" fmla="*/ 14 w 169"/>
                      <a:gd name="T31" fmla="*/ 13 h 67"/>
                      <a:gd name="T32" fmla="*/ 10 w 169"/>
                      <a:gd name="T33" fmla="*/ 11 h 67"/>
                      <a:gd name="T34" fmla="*/ 14 w 169"/>
                      <a:gd name="T35" fmla="*/ 10 h 67"/>
                      <a:gd name="T36" fmla="*/ 10 w 169"/>
                      <a:gd name="T37" fmla="*/ 8 h 67"/>
                      <a:gd name="T38" fmla="*/ 6 w 169"/>
                      <a:gd name="T39" fmla="*/ 7 h 67"/>
                      <a:gd name="T40" fmla="*/ 7 w 169"/>
                      <a:gd name="T41" fmla="*/ 5 h 67"/>
                      <a:gd name="T42" fmla="*/ 4 w 169"/>
                      <a:gd name="T43" fmla="*/ 7 h 67"/>
                      <a:gd name="T44" fmla="*/ 0 w 169"/>
                      <a:gd name="T45" fmla="*/ 3 h 67"/>
                      <a:gd name="T46" fmla="*/ 19 w 169"/>
                      <a:gd name="T47" fmla="*/ 1 h 67"/>
                      <a:gd name="T48" fmla="*/ 10 w 169"/>
                      <a:gd name="T49" fmla="*/ 3 h 67"/>
                      <a:gd name="T50" fmla="*/ 20 w 169"/>
                      <a:gd name="T51" fmla="*/ 5 h 67"/>
                      <a:gd name="T52" fmla="*/ 19 w 169"/>
                      <a:gd name="T53" fmla="*/ 3 h 67"/>
                      <a:gd name="T54" fmla="*/ 23 w 169"/>
                      <a:gd name="T55" fmla="*/ 1 h 67"/>
                      <a:gd name="T56" fmla="*/ 33 w 169"/>
                      <a:gd name="T57" fmla="*/ 7 h 67"/>
                      <a:gd name="T58" fmla="*/ 30 w 169"/>
                      <a:gd name="T59" fmla="*/ 1 h 67"/>
                      <a:gd name="T60" fmla="*/ 33 w 169"/>
                      <a:gd name="T61" fmla="*/ 0 h 67"/>
                      <a:gd name="T62" fmla="*/ 42 w 169"/>
                      <a:gd name="T63" fmla="*/ 1 h 67"/>
                      <a:gd name="T64" fmla="*/ 41 w 169"/>
                      <a:gd name="T65" fmla="*/ 4 h 67"/>
                      <a:gd name="T66" fmla="*/ 46 w 169"/>
                      <a:gd name="T67" fmla="*/ 3 h 67"/>
                      <a:gd name="T68" fmla="*/ 49 w 169"/>
                      <a:gd name="T69" fmla="*/ 5 h 67"/>
                      <a:gd name="T70" fmla="*/ 64 w 169"/>
                      <a:gd name="T71" fmla="*/ 8 h 67"/>
                      <a:gd name="T72" fmla="*/ 49 w 169"/>
                      <a:gd name="T73" fmla="*/ 11 h 67"/>
                      <a:gd name="T74" fmla="*/ 49 w 169"/>
                      <a:gd name="T75" fmla="*/ 14 h 67"/>
                      <a:gd name="T76" fmla="*/ 47 w 169"/>
                      <a:gd name="T77" fmla="*/ 14 h 67"/>
                      <a:gd name="T78" fmla="*/ 46 w 169"/>
                      <a:gd name="T79" fmla="*/ 19 h 67"/>
                      <a:gd name="T80" fmla="*/ 44 w 169"/>
                      <a:gd name="T81" fmla="*/ 21 h 6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69" h="67">
                        <a:moveTo>
                          <a:pt x="116" y="53"/>
                        </a:moveTo>
                        <a:lnTo>
                          <a:pt x="104" y="67"/>
                        </a:lnTo>
                        <a:lnTo>
                          <a:pt x="92" y="67"/>
                        </a:lnTo>
                        <a:lnTo>
                          <a:pt x="78" y="59"/>
                        </a:lnTo>
                        <a:lnTo>
                          <a:pt x="92" y="59"/>
                        </a:lnTo>
                        <a:lnTo>
                          <a:pt x="58" y="55"/>
                        </a:lnTo>
                        <a:lnTo>
                          <a:pt x="46" y="37"/>
                        </a:lnTo>
                        <a:lnTo>
                          <a:pt x="104" y="29"/>
                        </a:lnTo>
                        <a:lnTo>
                          <a:pt x="88" y="29"/>
                        </a:lnTo>
                        <a:lnTo>
                          <a:pt x="92" y="25"/>
                        </a:lnTo>
                        <a:lnTo>
                          <a:pt x="78" y="29"/>
                        </a:lnTo>
                        <a:lnTo>
                          <a:pt x="74" y="21"/>
                        </a:lnTo>
                        <a:lnTo>
                          <a:pt x="62" y="25"/>
                        </a:lnTo>
                        <a:lnTo>
                          <a:pt x="58" y="29"/>
                        </a:lnTo>
                        <a:lnTo>
                          <a:pt x="62" y="29"/>
                        </a:lnTo>
                        <a:lnTo>
                          <a:pt x="38" y="33"/>
                        </a:lnTo>
                        <a:lnTo>
                          <a:pt x="28" y="29"/>
                        </a:lnTo>
                        <a:lnTo>
                          <a:pt x="38" y="25"/>
                        </a:lnTo>
                        <a:lnTo>
                          <a:pt x="28" y="21"/>
                        </a:lnTo>
                        <a:lnTo>
                          <a:pt x="16" y="17"/>
                        </a:lnTo>
                        <a:lnTo>
                          <a:pt x="20" y="13"/>
                        </a:lnTo>
                        <a:lnTo>
                          <a:pt x="12" y="17"/>
                        </a:lnTo>
                        <a:lnTo>
                          <a:pt x="0" y="7"/>
                        </a:lnTo>
                        <a:lnTo>
                          <a:pt x="50" y="3"/>
                        </a:lnTo>
                        <a:lnTo>
                          <a:pt x="28" y="7"/>
                        </a:lnTo>
                        <a:lnTo>
                          <a:pt x="54" y="13"/>
                        </a:lnTo>
                        <a:lnTo>
                          <a:pt x="50" y="7"/>
                        </a:lnTo>
                        <a:lnTo>
                          <a:pt x="62" y="3"/>
                        </a:lnTo>
                        <a:lnTo>
                          <a:pt x="88" y="17"/>
                        </a:lnTo>
                        <a:lnTo>
                          <a:pt x="78" y="3"/>
                        </a:lnTo>
                        <a:lnTo>
                          <a:pt x="88" y="0"/>
                        </a:lnTo>
                        <a:lnTo>
                          <a:pt x="112" y="3"/>
                        </a:lnTo>
                        <a:lnTo>
                          <a:pt x="108" y="9"/>
                        </a:lnTo>
                        <a:lnTo>
                          <a:pt x="120" y="7"/>
                        </a:lnTo>
                        <a:lnTo>
                          <a:pt x="128" y="13"/>
                        </a:lnTo>
                        <a:lnTo>
                          <a:pt x="169" y="21"/>
                        </a:lnTo>
                        <a:lnTo>
                          <a:pt x="130" y="29"/>
                        </a:lnTo>
                        <a:lnTo>
                          <a:pt x="130" y="37"/>
                        </a:lnTo>
                        <a:lnTo>
                          <a:pt x="124" y="37"/>
                        </a:lnTo>
                        <a:lnTo>
                          <a:pt x="120" y="49"/>
                        </a:lnTo>
                        <a:lnTo>
                          <a:pt x="116" y="53"/>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28" name="vMap : Arctic">
                    <a:extLst>
                      <a:ext uri="{FF2B5EF4-FFF2-40B4-BE49-F238E27FC236}">
                        <a16:creationId xmlns:a16="http://schemas.microsoft.com/office/drawing/2014/main" xmlns="" id="{299A8035-98AF-FB48-AA36-97AF1F06DD15}"/>
                      </a:ext>
                    </a:extLst>
                  </p:cNvPr>
                  <p:cNvSpPr>
                    <a:spLocks noChangeAspect="1"/>
                  </p:cNvSpPr>
                  <p:nvPr>
                    <p:custDataLst>
                      <p:tags r:id="rId323"/>
                    </p:custDataLst>
                  </p:nvPr>
                </p:nvSpPr>
                <p:spPr bwMode="gray">
                  <a:xfrm>
                    <a:off x="6003815" y="697570"/>
                    <a:ext cx="49830" cy="10187"/>
                  </a:xfrm>
                  <a:custGeom>
                    <a:avLst/>
                    <a:gdLst>
                      <a:gd name="T0" fmla="*/ 5 w 34"/>
                      <a:gd name="T1" fmla="*/ 0 h 8"/>
                      <a:gd name="T2" fmla="*/ 12 w 34"/>
                      <a:gd name="T3" fmla="*/ 1 h 8"/>
                      <a:gd name="T4" fmla="*/ 11 w 34"/>
                      <a:gd name="T5" fmla="*/ 2 h 8"/>
                      <a:gd name="T6" fmla="*/ 0 w 34"/>
                      <a:gd name="T7" fmla="*/ 1 h 8"/>
                      <a:gd name="T8" fmla="*/ 5 w 34"/>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8">
                        <a:moveTo>
                          <a:pt x="16" y="0"/>
                        </a:moveTo>
                        <a:lnTo>
                          <a:pt x="34" y="4"/>
                        </a:lnTo>
                        <a:lnTo>
                          <a:pt x="30" y="8"/>
                        </a:lnTo>
                        <a:lnTo>
                          <a:pt x="0" y="4"/>
                        </a:lnTo>
                        <a:lnTo>
                          <a:pt x="16"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40" name="vMap : Iraq">
                  <a:extLst>
                    <a:ext uri="{FF2B5EF4-FFF2-40B4-BE49-F238E27FC236}">
                      <a16:creationId xmlns:a16="http://schemas.microsoft.com/office/drawing/2014/main" xmlns="" id="{BB4EFA7A-8974-504F-88E3-5F825C174329}"/>
                    </a:ext>
                  </a:extLst>
                </p:cNvPr>
                <p:cNvSpPr>
                  <a:spLocks noChangeAspect="1"/>
                </p:cNvSpPr>
                <p:nvPr>
                  <p:custDataLst>
                    <p:tags r:id="rId51"/>
                  </p:custDataLst>
                </p:nvPr>
              </p:nvSpPr>
              <p:spPr bwMode="gray">
                <a:xfrm>
                  <a:off x="4923981" y="3242354"/>
                  <a:ext cx="222107" cy="220811"/>
                </a:xfrm>
                <a:custGeom>
                  <a:avLst/>
                  <a:gdLst>
                    <a:gd name="T0" fmla="*/ 4 w 237"/>
                    <a:gd name="T1" fmla="*/ 55 h 233"/>
                    <a:gd name="T2" fmla="*/ 19 w 237"/>
                    <a:gd name="T3" fmla="*/ 59 h 233"/>
                    <a:gd name="T4" fmla="*/ 46 w 237"/>
                    <a:gd name="T5" fmla="*/ 74 h 233"/>
                    <a:gd name="T6" fmla="*/ 47 w 237"/>
                    <a:gd name="T7" fmla="*/ 81 h 233"/>
                    <a:gd name="T8" fmla="*/ 59 w 237"/>
                    <a:gd name="T9" fmla="*/ 86 h 233"/>
                    <a:gd name="T10" fmla="*/ 65 w 237"/>
                    <a:gd name="T11" fmla="*/ 83 h 233"/>
                    <a:gd name="T12" fmla="*/ 75 w 237"/>
                    <a:gd name="T13" fmla="*/ 87 h 233"/>
                    <a:gd name="T14" fmla="*/ 79 w 237"/>
                    <a:gd name="T15" fmla="*/ 79 h 233"/>
                    <a:gd name="T16" fmla="*/ 86 w 237"/>
                    <a:gd name="T17" fmla="*/ 79 h 233"/>
                    <a:gd name="T18" fmla="*/ 90 w 237"/>
                    <a:gd name="T19" fmla="*/ 77 h 233"/>
                    <a:gd name="T20" fmla="*/ 82 w 237"/>
                    <a:gd name="T21" fmla="*/ 67 h 233"/>
                    <a:gd name="T22" fmla="*/ 82 w 237"/>
                    <a:gd name="T23" fmla="*/ 60 h 233"/>
                    <a:gd name="T24" fmla="*/ 78 w 237"/>
                    <a:gd name="T25" fmla="*/ 52 h 233"/>
                    <a:gd name="T26" fmla="*/ 65 w 237"/>
                    <a:gd name="T27" fmla="*/ 46 h 233"/>
                    <a:gd name="T28" fmla="*/ 59 w 237"/>
                    <a:gd name="T29" fmla="*/ 35 h 233"/>
                    <a:gd name="T30" fmla="*/ 63 w 237"/>
                    <a:gd name="T31" fmla="*/ 17 h 233"/>
                    <a:gd name="T32" fmla="*/ 55 w 237"/>
                    <a:gd name="T33" fmla="*/ 15 h 233"/>
                    <a:gd name="T34" fmla="*/ 49 w 237"/>
                    <a:gd name="T35" fmla="*/ 3 h 233"/>
                    <a:gd name="T36" fmla="*/ 33 w 237"/>
                    <a:gd name="T37" fmla="*/ 0 h 233"/>
                    <a:gd name="T38" fmla="*/ 30 w 237"/>
                    <a:gd name="T39" fmla="*/ 3 h 233"/>
                    <a:gd name="T40" fmla="*/ 19 w 237"/>
                    <a:gd name="T41" fmla="*/ 12 h 233"/>
                    <a:gd name="T42" fmla="*/ 19 w 237"/>
                    <a:gd name="T43" fmla="*/ 32 h 233"/>
                    <a:gd name="T44" fmla="*/ 0 w 237"/>
                    <a:gd name="T45" fmla="*/ 43 h 233"/>
                    <a:gd name="T46" fmla="*/ 4 w 237"/>
                    <a:gd name="T47" fmla="*/ 55 h 23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37" h="233">
                      <a:moveTo>
                        <a:pt x="12" y="149"/>
                      </a:moveTo>
                      <a:lnTo>
                        <a:pt x="50" y="157"/>
                      </a:lnTo>
                      <a:lnTo>
                        <a:pt x="120" y="199"/>
                      </a:lnTo>
                      <a:lnTo>
                        <a:pt x="124" y="219"/>
                      </a:lnTo>
                      <a:lnTo>
                        <a:pt x="154" y="231"/>
                      </a:lnTo>
                      <a:lnTo>
                        <a:pt x="170" y="223"/>
                      </a:lnTo>
                      <a:lnTo>
                        <a:pt x="196" y="233"/>
                      </a:lnTo>
                      <a:lnTo>
                        <a:pt x="208" y="211"/>
                      </a:lnTo>
                      <a:lnTo>
                        <a:pt x="227" y="211"/>
                      </a:lnTo>
                      <a:lnTo>
                        <a:pt x="237" y="207"/>
                      </a:lnTo>
                      <a:lnTo>
                        <a:pt x="216" y="181"/>
                      </a:lnTo>
                      <a:lnTo>
                        <a:pt x="216" y="161"/>
                      </a:lnTo>
                      <a:lnTo>
                        <a:pt x="204" y="141"/>
                      </a:lnTo>
                      <a:lnTo>
                        <a:pt x="170" y="123"/>
                      </a:lnTo>
                      <a:lnTo>
                        <a:pt x="154" y="95"/>
                      </a:lnTo>
                      <a:lnTo>
                        <a:pt x="166" y="46"/>
                      </a:lnTo>
                      <a:lnTo>
                        <a:pt x="146" y="40"/>
                      </a:lnTo>
                      <a:lnTo>
                        <a:pt x="128" y="8"/>
                      </a:lnTo>
                      <a:lnTo>
                        <a:pt x="86" y="0"/>
                      </a:lnTo>
                      <a:lnTo>
                        <a:pt x="78" y="8"/>
                      </a:lnTo>
                      <a:lnTo>
                        <a:pt x="50" y="32"/>
                      </a:lnTo>
                      <a:lnTo>
                        <a:pt x="50" y="85"/>
                      </a:lnTo>
                      <a:lnTo>
                        <a:pt x="0" y="115"/>
                      </a:lnTo>
                      <a:lnTo>
                        <a:pt x="12" y="14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1" name="vMap : Jordan">
                  <a:extLst>
                    <a:ext uri="{FF2B5EF4-FFF2-40B4-BE49-F238E27FC236}">
                      <a16:creationId xmlns:a16="http://schemas.microsoft.com/office/drawing/2014/main" xmlns="" id="{788CB506-B3A4-AC42-A502-D28DDF0E7F8E}"/>
                    </a:ext>
                  </a:extLst>
                </p:cNvPr>
                <p:cNvSpPr>
                  <a:spLocks noChangeAspect="1"/>
                </p:cNvSpPr>
                <p:nvPr>
                  <p:custDataLst>
                    <p:tags r:id="rId52"/>
                  </p:custDataLst>
                </p:nvPr>
              </p:nvSpPr>
              <p:spPr bwMode="gray">
                <a:xfrm>
                  <a:off x="4841832" y="3352759"/>
                  <a:ext cx="94319" cy="108850"/>
                </a:xfrm>
                <a:custGeom>
                  <a:avLst/>
                  <a:gdLst>
                    <a:gd name="T0" fmla="*/ 34 w 99"/>
                    <a:gd name="T1" fmla="*/ 0 h 116"/>
                    <a:gd name="T2" fmla="*/ 16 w 99"/>
                    <a:gd name="T3" fmla="*/ 11 h 116"/>
                    <a:gd name="T4" fmla="*/ 6 w 99"/>
                    <a:gd name="T5" fmla="*/ 7 h 116"/>
                    <a:gd name="T6" fmla="*/ 6 w 99"/>
                    <a:gd name="T7" fmla="*/ 10 h 116"/>
                    <a:gd name="T8" fmla="*/ 2 w 99"/>
                    <a:gd name="T9" fmla="*/ 8 h 116"/>
                    <a:gd name="T10" fmla="*/ 0 w 99"/>
                    <a:gd name="T11" fmla="*/ 11 h 116"/>
                    <a:gd name="T12" fmla="*/ 3 w 99"/>
                    <a:gd name="T13" fmla="*/ 17 h 116"/>
                    <a:gd name="T14" fmla="*/ 0 w 99"/>
                    <a:gd name="T15" fmla="*/ 21 h 116"/>
                    <a:gd name="T16" fmla="*/ 6 w 99"/>
                    <a:gd name="T17" fmla="*/ 20 h 116"/>
                    <a:gd name="T18" fmla="*/ 3 w 99"/>
                    <a:gd name="T19" fmla="*/ 41 h 116"/>
                    <a:gd name="T20" fmla="*/ 14 w 99"/>
                    <a:gd name="T21" fmla="*/ 42 h 116"/>
                    <a:gd name="T22" fmla="*/ 18 w 99"/>
                    <a:gd name="T23" fmla="*/ 35 h 116"/>
                    <a:gd name="T24" fmla="*/ 26 w 99"/>
                    <a:gd name="T25" fmla="*/ 35 h 116"/>
                    <a:gd name="T26" fmla="*/ 30 w 99"/>
                    <a:gd name="T27" fmla="*/ 28 h 116"/>
                    <a:gd name="T28" fmla="*/ 19 w 99"/>
                    <a:gd name="T29" fmla="*/ 18 h 116"/>
                    <a:gd name="T30" fmla="*/ 39 w 99"/>
                    <a:gd name="T31" fmla="*/ 13 h 116"/>
                    <a:gd name="T32" fmla="*/ 34 w 99"/>
                    <a:gd name="T33" fmla="*/ 0 h 1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9" h="116">
                      <a:moveTo>
                        <a:pt x="87" y="0"/>
                      </a:moveTo>
                      <a:lnTo>
                        <a:pt x="40" y="30"/>
                      </a:lnTo>
                      <a:lnTo>
                        <a:pt x="16" y="20"/>
                      </a:lnTo>
                      <a:lnTo>
                        <a:pt x="16" y="26"/>
                      </a:lnTo>
                      <a:lnTo>
                        <a:pt x="4" y="22"/>
                      </a:lnTo>
                      <a:lnTo>
                        <a:pt x="0" y="30"/>
                      </a:lnTo>
                      <a:lnTo>
                        <a:pt x="8" y="46"/>
                      </a:lnTo>
                      <a:lnTo>
                        <a:pt x="0" y="58"/>
                      </a:lnTo>
                      <a:lnTo>
                        <a:pt x="16" y="54"/>
                      </a:lnTo>
                      <a:lnTo>
                        <a:pt x="8" y="112"/>
                      </a:lnTo>
                      <a:lnTo>
                        <a:pt x="36" y="116"/>
                      </a:lnTo>
                      <a:lnTo>
                        <a:pt x="46" y="96"/>
                      </a:lnTo>
                      <a:lnTo>
                        <a:pt x="66" y="96"/>
                      </a:lnTo>
                      <a:lnTo>
                        <a:pt x="77" y="76"/>
                      </a:lnTo>
                      <a:lnTo>
                        <a:pt x="50" y="50"/>
                      </a:lnTo>
                      <a:lnTo>
                        <a:pt x="99" y="34"/>
                      </a:lnTo>
                      <a:lnTo>
                        <a:pt x="87"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2" name="vMap : Saudi Arabia">
                  <a:extLst>
                    <a:ext uri="{FF2B5EF4-FFF2-40B4-BE49-F238E27FC236}">
                      <a16:creationId xmlns:a16="http://schemas.microsoft.com/office/drawing/2014/main" xmlns="" id="{32FDD32F-EBD2-7B41-83D4-C922FF3011F2}"/>
                    </a:ext>
                  </a:extLst>
                </p:cNvPr>
                <p:cNvSpPr>
                  <a:spLocks noChangeAspect="1"/>
                </p:cNvSpPr>
                <p:nvPr>
                  <p:custDataLst>
                    <p:tags r:id="rId53"/>
                  </p:custDataLst>
                </p:nvPr>
              </p:nvSpPr>
              <p:spPr bwMode="gray">
                <a:xfrm>
                  <a:off x="4844874" y="3386969"/>
                  <a:ext cx="477683" cy="435400"/>
                </a:xfrm>
                <a:custGeom>
                  <a:avLst/>
                  <a:gdLst>
                    <a:gd name="T0" fmla="*/ 78 w 510"/>
                    <a:gd name="T1" fmla="*/ 164 h 457"/>
                    <a:gd name="T2" fmla="*/ 61 w 510"/>
                    <a:gd name="T3" fmla="*/ 131 h 457"/>
                    <a:gd name="T4" fmla="*/ 45 w 510"/>
                    <a:gd name="T5" fmla="*/ 119 h 457"/>
                    <a:gd name="T6" fmla="*/ 42 w 510"/>
                    <a:gd name="T7" fmla="*/ 101 h 457"/>
                    <a:gd name="T8" fmla="*/ 36 w 510"/>
                    <a:gd name="T9" fmla="*/ 86 h 457"/>
                    <a:gd name="T10" fmla="*/ 26 w 510"/>
                    <a:gd name="T11" fmla="*/ 81 h 457"/>
                    <a:gd name="T12" fmla="*/ 4 w 510"/>
                    <a:gd name="T13" fmla="*/ 42 h 457"/>
                    <a:gd name="T14" fmla="*/ 0 w 510"/>
                    <a:gd name="T15" fmla="*/ 42 h 457"/>
                    <a:gd name="T16" fmla="*/ 1 w 510"/>
                    <a:gd name="T17" fmla="*/ 29 h 457"/>
                    <a:gd name="T18" fmla="*/ 12 w 510"/>
                    <a:gd name="T19" fmla="*/ 31 h 457"/>
                    <a:gd name="T20" fmla="*/ 16 w 510"/>
                    <a:gd name="T21" fmla="*/ 23 h 457"/>
                    <a:gd name="T22" fmla="*/ 23 w 510"/>
                    <a:gd name="T23" fmla="*/ 23 h 457"/>
                    <a:gd name="T24" fmla="*/ 28 w 510"/>
                    <a:gd name="T25" fmla="*/ 16 h 457"/>
                    <a:gd name="T26" fmla="*/ 17 w 510"/>
                    <a:gd name="T27" fmla="*/ 6 h 457"/>
                    <a:gd name="T28" fmla="*/ 36 w 510"/>
                    <a:gd name="T29" fmla="*/ 0 h 457"/>
                    <a:gd name="T30" fmla="*/ 50 w 510"/>
                    <a:gd name="T31" fmla="*/ 3 h 457"/>
                    <a:gd name="T32" fmla="*/ 77 w 510"/>
                    <a:gd name="T33" fmla="*/ 19 h 457"/>
                    <a:gd name="T34" fmla="*/ 78 w 510"/>
                    <a:gd name="T35" fmla="*/ 26 h 457"/>
                    <a:gd name="T36" fmla="*/ 90 w 510"/>
                    <a:gd name="T37" fmla="*/ 31 h 457"/>
                    <a:gd name="T38" fmla="*/ 97 w 510"/>
                    <a:gd name="T39" fmla="*/ 34 h 457"/>
                    <a:gd name="T40" fmla="*/ 106 w 510"/>
                    <a:gd name="T41" fmla="*/ 31 h 457"/>
                    <a:gd name="T42" fmla="*/ 121 w 510"/>
                    <a:gd name="T43" fmla="*/ 37 h 457"/>
                    <a:gd name="T44" fmla="*/ 138 w 510"/>
                    <a:gd name="T45" fmla="*/ 56 h 457"/>
                    <a:gd name="T46" fmla="*/ 139 w 510"/>
                    <a:gd name="T47" fmla="*/ 66 h 457"/>
                    <a:gd name="T48" fmla="*/ 147 w 510"/>
                    <a:gd name="T49" fmla="*/ 76 h 457"/>
                    <a:gd name="T50" fmla="*/ 150 w 510"/>
                    <a:gd name="T51" fmla="*/ 79 h 457"/>
                    <a:gd name="T52" fmla="*/ 159 w 510"/>
                    <a:gd name="T53" fmla="*/ 95 h 457"/>
                    <a:gd name="T54" fmla="*/ 189 w 510"/>
                    <a:gd name="T55" fmla="*/ 98 h 457"/>
                    <a:gd name="T56" fmla="*/ 193 w 510"/>
                    <a:gd name="T57" fmla="*/ 105 h 457"/>
                    <a:gd name="T58" fmla="*/ 189 w 510"/>
                    <a:gd name="T59" fmla="*/ 126 h 457"/>
                    <a:gd name="T60" fmla="*/ 161 w 510"/>
                    <a:gd name="T61" fmla="*/ 137 h 457"/>
                    <a:gd name="T62" fmla="*/ 134 w 510"/>
                    <a:gd name="T63" fmla="*/ 144 h 457"/>
                    <a:gd name="T64" fmla="*/ 112 w 510"/>
                    <a:gd name="T65" fmla="*/ 172 h 457"/>
                    <a:gd name="T66" fmla="*/ 110 w 510"/>
                    <a:gd name="T67" fmla="*/ 159 h 457"/>
                    <a:gd name="T68" fmla="*/ 94 w 510"/>
                    <a:gd name="T69" fmla="*/ 154 h 457"/>
                    <a:gd name="T70" fmla="*/ 84 w 510"/>
                    <a:gd name="T71" fmla="*/ 156 h 457"/>
                    <a:gd name="T72" fmla="*/ 78 w 510"/>
                    <a:gd name="T73" fmla="*/ 164 h 4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10" h="457">
                      <a:moveTo>
                        <a:pt x="207" y="437"/>
                      </a:moveTo>
                      <a:lnTo>
                        <a:pt x="161" y="349"/>
                      </a:lnTo>
                      <a:lnTo>
                        <a:pt x="119" y="319"/>
                      </a:lnTo>
                      <a:lnTo>
                        <a:pt x="111" y="269"/>
                      </a:lnTo>
                      <a:lnTo>
                        <a:pt x="95" y="229"/>
                      </a:lnTo>
                      <a:lnTo>
                        <a:pt x="69" y="215"/>
                      </a:lnTo>
                      <a:lnTo>
                        <a:pt x="12" y="112"/>
                      </a:lnTo>
                      <a:lnTo>
                        <a:pt x="0" y="112"/>
                      </a:lnTo>
                      <a:lnTo>
                        <a:pt x="4" y="78"/>
                      </a:lnTo>
                      <a:lnTo>
                        <a:pt x="32" y="82"/>
                      </a:lnTo>
                      <a:lnTo>
                        <a:pt x="42" y="62"/>
                      </a:lnTo>
                      <a:lnTo>
                        <a:pt x="62" y="62"/>
                      </a:lnTo>
                      <a:lnTo>
                        <a:pt x="73" y="42"/>
                      </a:lnTo>
                      <a:lnTo>
                        <a:pt x="46" y="16"/>
                      </a:lnTo>
                      <a:lnTo>
                        <a:pt x="95" y="0"/>
                      </a:lnTo>
                      <a:lnTo>
                        <a:pt x="133" y="8"/>
                      </a:lnTo>
                      <a:lnTo>
                        <a:pt x="203" y="50"/>
                      </a:lnTo>
                      <a:lnTo>
                        <a:pt x="207" y="70"/>
                      </a:lnTo>
                      <a:lnTo>
                        <a:pt x="237" y="82"/>
                      </a:lnTo>
                      <a:lnTo>
                        <a:pt x="257" y="92"/>
                      </a:lnTo>
                      <a:lnTo>
                        <a:pt x="279" y="84"/>
                      </a:lnTo>
                      <a:lnTo>
                        <a:pt x="320" y="100"/>
                      </a:lnTo>
                      <a:lnTo>
                        <a:pt x="364" y="150"/>
                      </a:lnTo>
                      <a:lnTo>
                        <a:pt x="366" y="176"/>
                      </a:lnTo>
                      <a:lnTo>
                        <a:pt x="386" y="203"/>
                      </a:lnTo>
                      <a:lnTo>
                        <a:pt x="394" y="211"/>
                      </a:lnTo>
                      <a:lnTo>
                        <a:pt x="420" y="253"/>
                      </a:lnTo>
                      <a:lnTo>
                        <a:pt x="498" y="261"/>
                      </a:lnTo>
                      <a:lnTo>
                        <a:pt x="510" y="279"/>
                      </a:lnTo>
                      <a:lnTo>
                        <a:pt x="498" y="337"/>
                      </a:lnTo>
                      <a:lnTo>
                        <a:pt x="424" y="365"/>
                      </a:lnTo>
                      <a:lnTo>
                        <a:pt x="352" y="383"/>
                      </a:lnTo>
                      <a:lnTo>
                        <a:pt x="295" y="457"/>
                      </a:lnTo>
                      <a:lnTo>
                        <a:pt x="291" y="425"/>
                      </a:lnTo>
                      <a:lnTo>
                        <a:pt x="249" y="411"/>
                      </a:lnTo>
                      <a:lnTo>
                        <a:pt x="223" y="417"/>
                      </a:lnTo>
                      <a:lnTo>
                        <a:pt x="207" y="437"/>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3" name="vMap : Syria">
                  <a:extLst>
                    <a:ext uri="{FF2B5EF4-FFF2-40B4-BE49-F238E27FC236}">
                      <a16:creationId xmlns:a16="http://schemas.microsoft.com/office/drawing/2014/main" xmlns="" id="{8FC1C1D4-12ED-5D48-8212-D2265738E1EA}"/>
                    </a:ext>
                  </a:extLst>
                </p:cNvPr>
                <p:cNvSpPr>
                  <a:spLocks noChangeAspect="1"/>
                </p:cNvSpPr>
                <p:nvPr>
                  <p:custDataLst>
                    <p:tags r:id="rId54"/>
                  </p:custDataLst>
                </p:nvPr>
              </p:nvSpPr>
              <p:spPr bwMode="gray">
                <a:xfrm>
                  <a:off x="4858567" y="3251684"/>
                  <a:ext cx="138437" cy="130620"/>
                </a:xfrm>
                <a:custGeom>
                  <a:avLst/>
                  <a:gdLst>
                    <a:gd name="T0" fmla="*/ 26 w 149"/>
                    <a:gd name="T1" fmla="*/ 40 h 137"/>
                    <a:gd name="T2" fmla="*/ 9 w 149"/>
                    <a:gd name="T3" fmla="*/ 52 h 137"/>
                    <a:gd name="T4" fmla="*/ 0 w 149"/>
                    <a:gd name="T5" fmla="*/ 48 h 137"/>
                    <a:gd name="T6" fmla="*/ 0 w 149"/>
                    <a:gd name="T7" fmla="*/ 42 h 137"/>
                    <a:gd name="T8" fmla="*/ 9 w 149"/>
                    <a:gd name="T9" fmla="*/ 31 h 137"/>
                    <a:gd name="T10" fmla="*/ 7 w 149"/>
                    <a:gd name="T11" fmla="*/ 26 h 137"/>
                    <a:gd name="T12" fmla="*/ 3 w 149"/>
                    <a:gd name="T13" fmla="*/ 26 h 137"/>
                    <a:gd name="T14" fmla="*/ 1 w 149"/>
                    <a:gd name="T15" fmla="*/ 14 h 137"/>
                    <a:gd name="T16" fmla="*/ 7 w 149"/>
                    <a:gd name="T17" fmla="*/ 10 h 137"/>
                    <a:gd name="T18" fmla="*/ 7 w 149"/>
                    <a:gd name="T19" fmla="*/ 4 h 137"/>
                    <a:gd name="T20" fmla="*/ 28 w 149"/>
                    <a:gd name="T21" fmla="*/ 6 h 137"/>
                    <a:gd name="T22" fmla="*/ 56 w 149"/>
                    <a:gd name="T23" fmla="*/ 0 h 137"/>
                    <a:gd name="T24" fmla="*/ 45 w 149"/>
                    <a:gd name="T25" fmla="*/ 9 h 137"/>
                    <a:gd name="T26" fmla="*/ 45 w 149"/>
                    <a:gd name="T27" fmla="*/ 29 h 137"/>
                    <a:gd name="T28" fmla="*/ 26 w 149"/>
                    <a:gd name="T29" fmla="*/ 40 h 1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9" h="137">
                      <a:moveTo>
                        <a:pt x="71" y="107"/>
                      </a:moveTo>
                      <a:lnTo>
                        <a:pt x="24" y="137"/>
                      </a:lnTo>
                      <a:lnTo>
                        <a:pt x="0" y="127"/>
                      </a:lnTo>
                      <a:lnTo>
                        <a:pt x="0" y="111"/>
                      </a:lnTo>
                      <a:lnTo>
                        <a:pt x="24" y="83"/>
                      </a:lnTo>
                      <a:lnTo>
                        <a:pt x="20" y="69"/>
                      </a:lnTo>
                      <a:lnTo>
                        <a:pt x="8" y="69"/>
                      </a:lnTo>
                      <a:lnTo>
                        <a:pt x="4" y="38"/>
                      </a:lnTo>
                      <a:lnTo>
                        <a:pt x="20" y="28"/>
                      </a:lnTo>
                      <a:lnTo>
                        <a:pt x="20" y="12"/>
                      </a:lnTo>
                      <a:lnTo>
                        <a:pt x="75" y="16"/>
                      </a:lnTo>
                      <a:lnTo>
                        <a:pt x="149" y="0"/>
                      </a:lnTo>
                      <a:lnTo>
                        <a:pt x="121" y="24"/>
                      </a:lnTo>
                      <a:lnTo>
                        <a:pt x="121" y="77"/>
                      </a:lnTo>
                      <a:lnTo>
                        <a:pt x="71" y="107"/>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4" name="vMap : Corsica (France)">
                  <a:extLst>
                    <a:ext uri="{FF2B5EF4-FFF2-40B4-BE49-F238E27FC236}">
                      <a16:creationId xmlns:a16="http://schemas.microsoft.com/office/drawing/2014/main" xmlns="" id="{27A3488C-3943-D34D-B779-5C6E1A2BE5C9}"/>
                    </a:ext>
                  </a:extLst>
                </p:cNvPr>
                <p:cNvSpPr>
                  <a:spLocks noChangeAspect="1"/>
                </p:cNvSpPr>
                <p:nvPr>
                  <p:custDataLst>
                    <p:tags r:id="rId55"/>
                  </p:custDataLst>
                </p:nvPr>
              </p:nvSpPr>
              <p:spPr bwMode="gray">
                <a:xfrm>
                  <a:off x="4274395" y="3100849"/>
                  <a:ext cx="24341" cy="41985"/>
                </a:xfrm>
                <a:custGeom>
                  <a:avLst/>
                  <a:gdLst>
                    <a:gd name="T0" fmla="*/ 9 w 24"/>
                    <a:gd name="T1" fmla="*/ 0 h 42"/>
                    <a:gd name="T2" fmla="*/ 11 w 24"/>
                    <a:gd name="T3" fmla="*/ 9 h 42"/>
                    <a:gd name="T4" fmla="*/ 7 w 24"/>
                    <a:gd name="T5" fmla="*/ 17 h 42"/>
                    <a:gd name="T6" fmla="*/ 0 w 24"/>
                    <a:gd name="T7" fmla="*/ 6 h 42"/>
                    <a:gd name="T8" fmla="*/ 9 w 24"/>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42">
                      <a:moveTo>
                        <a:pt x="20" y="0"/>
                      </a:moveTo>
                      <a:lnTo>
                        <a:pt x="24" y="22"/>
                      </a:lnTo>
                      <a:lnTo>
                        <a:pt x="16" y="42"/>
                      </a:lnTo>
                      <a:lnTo>
                        <a:pt x="0" y="14"/>
                      </a:lnTo>
                      <a:lnTo>
                        <a:pt x="2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5" name="vMap : Sardinia (Italy)">
                  <a:extLst>
                    <a:ext uri="{FF2B5EF4-FFF2-40B4-BE49-F238E27FC236}">
                      <a16:creationId xmlns:a16="http://schemas.microsoft.com/office/drawing/2014/main" xmlns="" id="{5AA98843-43C0-4048-B9FA-FE016003F736}"/>
                    </a:ext>
                  </a:extLst>
                </p:cNvPr>
                <p:cNvSpPr>
                  <a:spLocks noChangeAspect="1"/>
                </p:cNvSpPr>
                <p:nvPr>
                  <p:custDataLst>
                    <p:tags r:id="rId56"/>
                  </p:custDataLst>
                </p:nvPr>
              </p:nvSpPr>
              <p:spPr bwMode="gray">
                <a:xfrm>
                  <a:off x="4266787" y="3145944"/>
                  <a:ext cx="34990" cy="60645"/>
                </a:xfrm>
                <a:custGeom>
                  <a:avLst/>
                  <a:gdLst>
                    <a:gd name="T0" fmla="*/ 8 w 36"/>
                    <a:gd name="T1" fmla="*/ 0 h 64"/>
                    <a:gd name="T2" fmla="*/ 15 w 36"/>
                    <a:gd name="T3" fmla="*/ 5 h 64"/>
                    <a:gd name="T4" fmla="*/ 13 w 36"/>
                    <a:gd name="T5" fmla="*/ 20 h 64"/>
                    <a:gd name="T6" fmla="*/ 5 w 36"/>
                    <a:gd name="T7" fmla="*/ 24 h 64"/>
                    <a:gd name="T8" fmla="*/ 0 w 36"/>
                    <a:gd name="T9" fmla="*/ 2 h 64"/>
                    <a:gd name="T10" fmla="*/ 8 w 36"/>
                    <a:gd name="T11" fmla="*/ 0 h 6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64">
                      <a:moveTo>
                        <a:pt x="20" y="0"/>
                      </a:moveTo>
                      <a:lnTo>
                        <a:pt x="36" y="14"/>
                      </a:lnTo>
                      <a:lnTo>
                        <a:pt x="32" y="52"/>
                      </a:lnTo>
                      <a:lnTo>
                        <a:pt x="12" y="64"/>
                      </a:lnTo>
                      <a:lnTo>
                        <a:pt x="0" y="6"/>
                      </a:lnTo>
                      <a:lnTo>
                        <a:pt x="2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6" name="vMap : Sicily (Italy)">
                  <a:extLst>
                    <a:ext uri="{FF2B5EF4-FFF2-40B4-BE49-F238E27FC236}">
                      <a16:creationId xmlns:a16="http://schemas.microsoft.com/office/drawing/2014/main" xmlns="" id="{0A186F10-8569-294B-A41E-13FB97763F15}"/>
                    </a:ext>
                  </a:extLst>
                </p:cNvPr>
                <p:cNvSpPr>
                  <a:spLocks noChangeAspect="1"/>
                </p:cNvSpPr>
                <p:nvPr>
                  <p:custDataLst>
                    <p:tags r:id="rId57"/>
                  </p:custDataLst>
                </p:nvPr>
              </p:nvSpPr>
              <p:spPr bwMode="gray">
                <a:xfrm>
                  <a:off x="4356544" y="3225250"/>
                  <a:ext cx="69979" cy="41985"/>
                </a:xfrm>
                <a:custGeom>
                  <a:avLst/>
                  <a:gdLst>
                    <a:gd name="T0" fmla="*/ 29 w 74"/>
                    <a:gd name="T1" fmla="*/ 0 h 42"/>
                    <a:gd name="T2" fmla="*/ 24 w 74"/>
                    <a:gd name="T3" fmla="*/ 9 h 42"/>
                    <a:gd name="T4" fmla="*/ 24 w 74"/>
                    <a:gd name="T5" fmla="*/ 17 h 42"/>
                    <a:gd name="T6" fmla="*/ 0 w 74"/>
                    <a:gd name="T7" fmla="*/ 3 h 42"/>
                    <a:gd name="T8" fmla="*/ 1 w 74"/>
                    <a:gd name="T9" fmla="*/ 0 h 42"/>
                    <a:gd name="T10" fmla="*/ 11 w 74"/>
                    <a:gd name="T11" fmla="*/ 3 h 42"/>
                    <a:gd name="T12" fmla="*/ 29 w 74"/>
                    <a:gd name="T13" fmla="*/ 0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4" h="42">
                      <a:moveTo>
                        <a:pt x="74" y="0"/>
                      </a:moveTo>
                      <a:lnTo>
                        <a:pt x="62" y="22"/>
                      </a:lnTo>
                      <a:lnTo>
                        <a:pt x="62" y="42"/>
                      </a:lnTo>
                      <a:lnTo>
                        <a:pt x="0" y="8"/>
                      </a:lnTo>
                      <a:lnTo>
                        <a:pt x="4" y="0"/>
                      </a:lnTo>
                      <a:lnTo>
                        <a:pt x="28" y="8"/>
                      </a:lnTo>
                      <a:lnTo>
                        <a:pt x="74"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7" name="vMap : Palma">
                  <a:extLst>
                    <a:ext uri="{FF2B5EF4-FFF2-40B4-BE49-F238E27FC236}">
                      <a16:creationId xmlns:a16="http://schemas.microsoft.com/office/drawing/2014/main" xmlns="" id="{87369846-4A06-1047-BB6A-F242005090A9}"/>
                    </a:ext>
                  </a:extLst>
                </p:cNvPr>
                <p:cNvSpPr>
                  <a:spLocks noChangeAspect="1"/>
                </p:cNvSpPr>
                <p:nvPr>
                  <p:custDataLst>
                    <p:tags r:id="rId58"/>
                  </p:custDataLst>
                </p:nvPr>
              </p:nvSpPr>
              <p:spPr bwMode="gray">
                <a:xfrm>
                  <a:off x="4146607" y="3181709"/>
                  <a:ext cx="21298" cy="13996"/>
                </a:xfrm>
                <a:custGeom>
                  <a:avLst/>
                  <a:gdLst>
                    <a:gd name="T0" fmla="*/ 7 w 24"/>
                    <a:gd name="T1" fmla="*/ 0 h 14"/>
                    <a:gd name="T2" fmla="*/ 8 w 24"/>
                    <a:gd name="T3" fmla="*/ 3 h 14"/>
                    <a:gd name="T4" fmla="*/ 5 w 24"/>
                    <a:gd name="T5" fmla="*/ 6 h 14"/>
                    <a:gd name="T6" fmla="*/ 0 w 24"/>
                    <a:gd name="T7" fmla="*/ 3 h 14"/>
                    <a:gd name="T8" fmla="*/ 7 w 24"/>
                    <a:gd name="T9" fmla="*/ 0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4">
                      <a:moveTo>
                        <a:pt x="20" y="0"/>
                      </a:moveTo>
                      <a:lnTo>
                        <a:pt x="24" y="8"/>
                      </a:lnTo>
                      <a:lnTo>
                        <a:pt x="16" y="14"/>
                      </a:lnTo>
                      <a:lnTo>
                        <a:pt x="0" y="8"/>
                      </a:lnTo>
                      <a:lnTo>
                        <a:pt x="2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8" name="vMap : Algeria">
                  <a:extLst>
                    <a:ext uri="{FF2B5EF4-FFF2-40B4-BE49-F238E27FC236}">
                      <a16:creationId xmlns:a16="http://schemas.microsoft.com/office/drawing/2014/main" xmlns="" id="{B94928C5-BC54-304B-AA4F-39F1C5C6BDB1}"/>
                    </a:ext>
                  </a:extLst>
                </p:cNvPr>
                <p:cNvSpPr>
                  <a:spLocks noChangeAspect="1"/>
                </p:cNvSpPr>
                <p:nvPr>
                  <p:custDataLst>
                    <p:tags r:id="rId59"/>
                  </p:custDataLst>
                </p:nvPr>
              </p:nvSpPr>
              <p:spPr bwMode="gray">
                <a:xfrm>
                  <a:off x="3894074" y="3257904"/>
                  <a:ext cx="444214" cy="472720"/>
                </a:xfrm>
                <a:custGeom>
                  <a:avLst/>
                  <a:gdLst>
                    <a:gd name="T0" fmla="*/ 61 w 478"/>
                    <a:gd name="T1" fmla="*/ 19 h 494"/>
                    <a:gd name="T2" fmla="*/ 90 w 478"/>
                    <a:gd name="T3" fmla="*/ 4 h 494"/>
                    <a:gd name="T4" fmla="*/ 122 w 478"/>
                    <a:gd name="T5" fmla="*/ 0 h 494"/>
                    <a:gd name="T6" fmla="*/ 152 w 478"/>
                    <a:gd name="T7" fmla="*/ 0 h 494"/>
                    <a:gd name="T8" fmla="*/ 148 w 478"/>
                    <a:gd name="T9" fmla="*/ 4 h 494"/>
                    <a:gd name="T10" fmla="*/ 148 w 478"/>
                    <a:gd name="T11" fmla="*/ 25 h 494"/>
                    <a:gd name="T12" fmla="*/ 141 w 478"/>
                    <a:gd name="T13" fmla="*/ 30 h 494"/>
                    <a:gd name="T14" fmla="*/ 148 w 478"/>
                    <a:gd name="T15" fmla="*/ 46 h 494"/>
                    <a:gd name="T16" fmla="*/ 155 w 478"/>
                    <a:gd name="T17" fmla="*/ 50 h 494"/>
                    <a:gd name="T18" fmla="*/ 158 w 478"/>
                    <a:gd name="T19" fmla="*/ 70 h 494"/>
                    <a:gd name="T20" fmla="*/ 155 w 478"/>
                    <a:gd name="T21" fmla="*/ 74 h 494"/>
                    <a:gd name="T22" fmla="*/ 159 w 478"/>
                    <a:gd name="T23" fmla="*/ 80 h 494"/>
                    <a:gd name="T24" fmla="*/ 161 w 478"/>
                    <a:gd name="T25" fmla="*/ 96 h 494"/>
                    <a:gd name="T26" fmla="*/ 159 w 478"/>
                    <a:gd name="T27" fmla="*/ 109 h 494"/>
                    <a:gd name="T28" fmla="*/ 157 w 478"/>
                    <a:gd name="T29" fmla="*/ 112 h 494"/>
                    <a:gd name="T30" fmla="*/ 162 w 478"/>
                    <a:gd name="T31" fmla="*/ 126 h 494"/>
                    <a:gd name="T32" fmla="*/ 174 w 478"/>
                    <a:gd name="T33" fmla="*/ 132 h 494"/>
                    <a:gd name="T34" fmla="*/ 178 w 478"/>
                    <a:gd name="T35" fmla="*/ 140 h 494"/>
                    <a:gd name="T36" fmla="*/ 124 w 478"/>
                    <a:gd name="T37" fmla="*/ 183 h 494"/>
                    <a:gd name="T38" fmla="*/ 110 w 478"/>
                    <a:gd name="T39" fmla="*/ 186 h 494"/>
                    <a:gd name="T40" fmla="*/ 103 w 478"/>
                    <a:gd name="T41" fmla="*/ 187 h 494"/>
                    <a:gd name="T42" fmla="*/ 101 w 478"/>
                    <a:gd name="T43" fmla="*/ 178 h 494"/>
                    <a:gd name="T44" fmla="*/ 90 w 478"/>
                    <a:gd name="T45" fmla="*/ 172 h 494"/>
                    <a:gd name="T46" fmla="*/ 84 w 478"/>
                    <a:gd name="T47" fmla="*/ 165 h 494"/>
                    <a:gd name="T48" fmla="*/ 31 w 478"/>
                    <a:gd name="T49" fmla="*/ 124 h 494"/>
                    <a:gd name="T50" fmla="*/ 0 w 478"/>
                    <a:gd name="T51" fmla="*/ 101 h 494"/>
                    <a:gd name="T52" fmla="*/ 0 w 478"/>
                    <a:gd name="T53" fmla="*/ 96 h 494"/>
                    <a:gd name="T54" fmla="*/ 1 w 478"/>
                    <a:gd name="T55" fmla="*/ 84 h 494"/>
                    <a:gd name="T56" fmla="*/ 5 w 478"/>
                    <a:gd name="T57" fmla="*/ 81 h 494"/>
                    <a:gd name="T58" fmla="*/ 27 w 478"/>
                    <a:gd name="T59" fmla="*/ 73 h 494"/>
                    <a:gd name="T60" fmla="*/ 45 w 478"/>
                    <a:gd name="T61" fmla="*/ 63 h 494"/>
                    <a:gd name="T62" fmla="*/ 43 w 478"/>
                    <a:gd name="T63" fmla="*/ 55 h 494"/>
                    <a:gd name="T64" fmla="*/ 51 w 478"/>
                    <a:gd name="T65" fmla="*/ 49 h 494"/>
                    <a:gd name="T66" fmla="*/ 67 w 478"/>
                    <a:gd name="T67" fmla="*/ 49 h 494"/>
                    <a:gd name="T68" fmla="*/ 68 w 478"/>
                    <a:gd name="T69" fmla="*/ 45 h 494"/>
                    <a:gd name="T70" fmla="*/ 64 w 478"/>
                    <a:gd name="T71" fmla="*/ 41 h 494"/>
                    <a:gd name="T72" fmla="*/ 61 w 478"/>
                    <a:gd name="T73" fmla="*/ 19 h 49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8" h="494">
                      <a:moveTo>
                        <a:pt x="163" y="50"/>
                      </a:moveTo>
                      <a:lnTo>
                        <a:pt x="241" y="12"/>
                      </a:lnTo>
                      <a:lnTo>
                        <a:pt x="325" y="0"/>
                      </a:lnTo>
                      <a:lnTo>
                        <a:pt x="408" y="0"/>
                      </a:lnTo>
                      <a:lnTo>
                        <a:pt x="396" y="12"/>
                      </a:lnTo>
                      <a:lnTo>
                        <a:pt x="396" y="65"/>
                      </a:lnTo>
                      <a:lnTo>
                        <a:pt x="378" y="79"/>
                      </a:lnTo>
                      <a:lnTo>
                        <a:pt x="396" y="121"/>
                      </a:lnTo>
                      <a:lnTo>
                        <a:pt x="416" y="133"/>
                      </a:lnTo>
                      <a:lnTo>
                        <a:pt x="424" y="183"/>
                      </a:lnTo>
                      <a:lnTo>
                        <a:pt x="416" y="195"/>
                      </a:lnTo>
                      <a:lnTo>
                        <a:pt x="428" y="211"/>
                      </a:lnTo>
                      <a:lnTo>
                        <a:pt x="432" y="253"/>
                      </a:lnTo>
                      <a:lnTo>
                        <a:pt x="428" y="287"/>
                      </a:lnTo>
                      <a:lnTo>
                        <a:pt x="420" y="295"/>
                      </a:lnTo>
                      <a:lnTo>
                        <a:pt x="436" y="332"/>
                      </a:lnTo>
                      <a:lnTo>
                        <a:pt x="466" y="348"/>
                      </a:lnTo>
                      <a:lnTo>
                        <a:pt x="478" y="370"/>
                      </a:lnTo>
                      <a:lnTo>
                        <a:pt x="333" y="482"/>
                      </a:lnTo>
                      <a:lnTo>
                        <a:pt x="295" y="490"/>
                      </a:lnTo>
                      <a:lnTo>
                        <a:pt x="275" y="494"/>
                      </a:lnTo>
                      <a:lnTo>
                        <a:pt x="271" y="470"/>
                      </a:lnTo>
                      <a:lnTo>
                        <a:pt x="241" y="454"/>
                      </a:lnTo>
                      <a:lnTo>
                        <a:pt x="225" y="436"/>
                      </a:lnTo>
                      <a:lnTo>
                        <a:pt x="84" y="329"/>
                      </a:lnTo>
                      <a:lnTo>
                        <a:pt x="0" y="267"/>
                      </a:lnTo>
                      <a:lnTo>
                        <a:pt x="0" y="253"/>
                      </a:lnTo>
                      <a:lnTo>
                        <a:pt x="4" y="221"/>
                      </a:lnTo>
                      <a:lnTo>
                        <a:pt x="14" y="215"/>
                      </a:lnTo>
                      <a:lnTo>
                        <a:pt x="72" y="191"/>
                      </a:lnTo>
                      <a:lnTo>
                        <a:pt x="121" y="165"/>
                      </a:lnTo>
                      <a:lnTo>
                        <a:pt x="117" y="145"/>
                      </a:lnTo>
                      <a:lnTo>
                        <a:pt x="137" y="129"/>
                      </a:lnTo>
                      <a:lnTo>
                        <a:pt x="179" y="129"/>
                      </a:lnTo>
                      <a:lnTo>
                        <a:pt x="183" y="119"/>
                      </a:lnTo>
                      <a:lnTo>
                        <a:pt x="171" y="107"/>
                      </a:lnTo>
                      <a:lnTo>
                        <a:pt x="163" y="5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49" name="vMap : Libya">
                  <a:extLst>
                    <a:ext uri="{FF2B5EF4-FFF2-40B4-BE49-F238E27FC236}">
                      <a16:creationId xmlns:a16="http://schemas.microsoft.com/office/drawing/2014/main" xmlns="" id="{82E63735-FA57-D545-996C-88FD9F52BD5E}"/>
                    </a:ext>
                  </a:extLst>
                </p:cNvPr>
                <p:cNvSpPr>
                  <a:spLocks noChangeAspect="1"/>
                </p:cNvSpPr>
                <p:nvPr>
                  <p:custDataLst>
                    <p:tags r:id="rId60"/>
                  </p:custDataLst>
                </p:nvPr>
              </p:nvSpPr>
              <p:spPr bwMode="gray">
                <a:xfrm>
                  <a:off x="4283522" y="3357424"/>
                  <a:ext cx="352937" cy="359205"/>
                </a:xfrm>
                <a:custGeom>
                  <a:avLst/>
                  <a:gdLst>
                    <a:gd name="T0" fmla="*/ 139 w 379"/>
                    <a:gd name="T1" fmla="*/ 16 h 379"/>
                    <a:gd name="T2" fmla="*/ 136 w 379"/>
                    <a:gd name="T3" fmla="*/ 31 h 379"/>
                    <a:gd name="T4" fmla="*/ 141 w 379"/>
                    <a:gd name="T5" fmla="*/ 42 h 379"/>
                    <a:gd name="T6" fmla="*/ 142 w 379"/>
                    <a:gd name="T7" fmla="*/ 115 h 379"/>
                    <a:gd name="T8" fmla="*/ 142 w 379"/>
                    <a:gd name="T9" fmla="*/ 133 h 379"/>
                    <a:gd name="T10" fmla="*/ 133 w 379"/>
                    <a:gd name="T11" fmla="*/ 133 h 379"/>
                    <a:gd name="T12" fmla="*/ 133 w 379"/>
                    <a:gd name="T13" fmla="*/ 141 h 379"/>
                    <a:gd name="T14" fmla="*/ 62 w 379"/>
                    <a:gd name="T15" fmla="*/ 101 h 379"/>
                    <a:gd name="T16" fmla="*/ 53 w 379"/>
                    <a:gd name="T17" fmla="*/ 104 h 379"/>
                    <a:gd name="T18" fmla="*/ 43 w 379"/>
                    <a:gd name="T19" fmla="*/ 99 h 379"/>
                    <a:gd name="T20" fmla="*/ 23 w 379"/>
                    <a:gd name="T21" fmla="*/ 99 h 379"/>
                    <a:gd name="T22" fmla="*/ 19 w 379"/>
                    <a:gd name="T23" fmla="*/ 91 h 379"/>
                    <a:gd name="T24" fmla="*/ 7 w 379"/>
                    <a:gd name="T25" fmla="*/ 85 h 379"/>
                    <a:gd name="T26" fmla="*/ 1 w 379"/>
                    <a:gd name="T27" fmla="*/ 71 h 379"/>
                    <a:gd name="T28" fmla="*/ 4 w 379"/>
                    <a:gd name="T29" fmla="*/ 68 h 379"/>
                    <a:gd name="T30" fmla="*/ 6 w 379"/>
                    <a:gd name="T31" fmla="*/ 55 h 379"/>
                    <a:gd name="T32" fmla="*/ 4 w 379"/>
                    <a:gd name="T33" fmla="*/ 40 h 379"/>
                    <a:gd name="T34" fmla="*/ 0 w 379"/>
                    <a:gd name="T35" fmla="*/ 34 h 379"/>
                    <a:gd name="T36" fmla="*/ 3 w 379"/>
                    <a:gd name="T37" fmla="*/ 30 h 379"/>
                    <a:gd name="T38" fmla="*/ 9 w 379"/>
                    <a:gd name="T39" fmla="*/ 24 h 379"/>
                    <a:gd name="T40" fmla="*/ 9 w 379"/>
                    <a:gd name="T41" fmla="*/ 16 h 379"/>
                    <a:gd name="T42" fmla="*/ 19 w 379"/>
                    <a:gd name="T43" fmla="*/ 8 h 379"/>
                    <a:gd name="T44" fmla="*/ 19 w 379"/>
                    <a:gd name="T45" fmla="*/ 0 h 379"/>
                    <a:gd name="T46" fmla="*/ 51 w 379"/>
                    <a:gd name="T47" fmla="*/ 8 h 379"/>
                    <a:gd name="T48" fmla="*/ 58 w 379"/>
                    <a:gd name="T49" fmla="*/ 18 h 379"/>
                    <a:gd name="T50" fmla="*/ 73 w 379"/>
                    <a:gd name="T51" fmla="*/ 23 h 379"/>
                    <a:gd name="T52" fmla="*/ 84 w 379"/>
                    <a:gd name="T53" fmla="*/ 30 h 379"/>
                    <a:gd name="T54" fmla="*/ 93 w 379"/>
                    <a:gd name="T55" fmla="*/ 25 h 379"/>
                    <a:gd name="T56" fmla="*/ 93 w 379"/>
                    <a:gd name="T57" fmla="*/ 11 h 379"/>
                    <a:gd name="T58" fmla="*/ 102 w 379"/>
                    <a:gd name="T59" fmla="*/ 4 h 379"/>
                    <a:gd name="T60" fmla="*/ 119 w 379"/>
                    <a:gd name="T61" fmla="*/ 6 h 379"/>
                    <a:gd name="T62" fmla="*/ 122 w 379"/>
                    <a:gd name="T63" fmla="*/ 10 h 379"/>
                    <a:gd name="T64" fmla="*/ 139 w 379"/>
                    <a:gd name="T65" fmla="*/ 16 h 3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79" h="379">
                      <a:moveTo>
                        <a:pt x="371" y="42"/>
                      </a:moveTo>
                      <a:lnTo>
                        <a:pt x="363" y="84"/>
                      </a:lnTo>
                      <a:lnTo>
                        <a:pt x="375" y="114"/>
                      </a:lnTo>
                      <a:lnTo>
                        <a:pt x="379" y="309"/>
                      </a:lnTo>
                      <a:lnTo>
                        <a:pt x="379" y="359"/>
                      </a:lnTo>
                      <a:lnTo>
                        <a:pt x="355" y="359"/>
                      </a:lnTo>
                      <a:lnTo>
                        <a:pt x="355" y="379"/>
                      </a:lnTo>
                      <a:lnTo>
                        <a:pt x="166" y="271"/>
                      </a:lnTo>
                      <a:lnTo>
                        <a:pt x="142" y="279"/>
                      </a:lnTo>
                      <a:lnTo>
                        <a:pt x="116" y="267"/>
                      </a:lnTo>
                      <a:lnTo>
                        <a:pt x="62" y="267"/>
                      </a:lnTo>
                      <a:lnTo>
                        <a:pt x="50" y="245"/>
                      </a:lnTo>
                      <a:lnTo>
                        <a:pt x="20" y="229"/>
                      </a:lnTo>
                      <a:lnTo>
                        <a:pt x="4" y="192"/>
                      </a:lnTo>
                      <a:lnTo>
                        <a:pt x="12" y="184"/>
                      </a:lnTo>
                      <a:lnTo>
                        <a:pt x="16" y="150"/>
                      </a:lnTo>
                      <a:lnTo>
                        <a:pt x="12" y="108"/>
                      </a:lnTo>
                      <a:lnTo>
                        <a:pt x="0" y="92"/>
                      </a:lnTo>
                      <a:lnTo>
                        <a:pt x="8" y="80"/>
                      </a:lnTo>
                      <a:lnTo>
                        <a:pt x="24" y="64"/>
                      </a:lnTo>
                      <a:lnTo>
                        <a:pt x="24" y="42"/>
                      </a:lnTo>
                      <a:lnTo>
                        <a:pt x="50" y="22"/>
                      </a:lnTo>
                      <a:lnTo>
                        <a:pt x="50" y="0"/>
                      </a:lnTo>
                      <a:lnTo>
                        <a:pt x="138" y="22"/>
                      </a:lnTo>
                      <a:lnTo>
                        <a:pt x="154" y="50"/>
                      </a:lnTo>
                      <a:lnTo>
                        <a:pt x="195" y="62"/>
                      </a:lnTo>
                      <a:lnTo>
                        <a:pt x="225" y="80"/>
                      </a:lnTo>
                      <a:lnTo>
                        <a:pt x="249" y="68"/>
                      </a:lnTo>
                      <a:lnTo>
                        <a:pt x="249" y="30"/>
                      </a:lnTo>
                      <a:lnTo>
                        <a:pt x="271" y="12"/>
                      </a:lnTo>
                      <a:lnTo>
                        <a:pt x="317" y="16"/>
                      </a:lnTo>
                      <a:lnTo>
                        <a:pt x="325" y="26"/>
                      </a:lnTo>
                      <a:lnTo>
                        <a:pt x="371" y="42"/>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0" name="vMap : Morocco">
                  <a:extLst>
                    <a:ext uri="{FF2B5EF4-FFF2-40B4-BE49-F238E27FC236}">
                      <a16:creationId xmlns:a16="http://schemas.microsoft.com/office/drawing/2014/main" xmlns="" id="{A31DF4E9-719C-C147-AC47-3D815EBD86B9}"/>
                    </a:ext>
                  </a:extLst>
                </p:cNvPr>
                <p:cNvSpPr>
                  <a:spLocks noChangeAspect="1"/>
                </p:cNvSpPr>
                <p:nvPr>
                  <p:custDataLst>
                    <p:tags r:id="rId61"/>
                  </p:custDataLst>
                </p:nvPr>
              </p:nvSpPr>
              <p:spPr bwMode="gray">
                <a:xfrm>
                  <a:off x="3796712" y="3282784"/>
                  <a:ext cx="270788" cy="214590"/>
                </a:xfrm>
                <a:custGeom>
                  <a:avLst/>
                  <a:gdLst>
                    <a:gd name="T0" fmla="*/ 0 w 287"/>
                    <a:gd name="T1" fmla="*/ 84 h 227"/>
                    <a:gd name="T2" fmla="*/ 25 w 287"/>
                    <a:gd name="T3" fmla="*/ 70 h 227"/>
                    <a:gd name="T4" fmla="*/ 28 w 287"/>
                    <a:gd name="T5" fmla="*/ 66 h 227"/>
                    <a:gd name="T6" fmla="*/ 32 w 287"/>
                    <a:gd name="T7" fmla="*/ 60 h 227"/>
                    <a:gd name="T8" fmla="*/ 31 w 287"/>
                    <a:gd name="T9" fmla="*/ 47 h 227"/>
                    <a:gd name="T10" fmla="*/ 38 w 287"/>
                    <a:gd name="T11" fmla="*/ 35 h 227"/>
                    <a:gd name="T12" fmla="*/ 61 w 287"/>
                    <a:gd name="T13" fmla="*/ 18 h 227"/>
                    <a:gd name="T14" fmla="*/ 69 w 287"/>
                    <a:gd name="T15" fmla="*/ 1 h 227"/>
                    <a:gd name="T16" fmla="*/ 74 w 287"/>
                    <a:gd name="T17" fmla="*/ 0 h 227"/>
                    <a:gd name="T18" fmla="*/ 82 w 287"/>
                    <a:gd name="T19" fmla="*/ 9 h 227"/>
                    <a:gd name="T20" fmla="*/ 103 w 287"/>
                    <a:gd name="T21" fmla="*/ 9 h 227"/>
                    <a:gd name="T22" fmla="*/ 106 w 287"/>
                    <a:gd name="T23" fmla="*/ 30 h 227"/>
                    <a:gd name="T24" fmla="*/ 110 w 287"/>
                    <a:gd name="T25" fmla="*/ 35 h 227"/>
                    <a:gd name="T26" fmla="*/ 109 w 287"/>
                    <a:gd name="T27" fmla="*/ 38 h 227"/>
                    <a:gd name="T28" fmla="*/ 92 w 287"/>
                    <a:gd name="T29" fmla="*/ 38 h 227"/>
                    <a:gd name="T30" fmla="*/ 85 w 287"/>
                    <a:gd name="T31" fmla="*/ 44 h 227"/>
                    <a:gd name="T32" fmla="*/ 87 w 287"/>
                    <a:gd name="T33" fmla="*/ 52 h 227"/>
                    <a:gd name="T34" fmla="*/ 68 w 287"/>
                    <a:gd name="T35" fmla="*/ 61 h 227"/>
                    <a:gd name="T36" fmla="*/ 45 w 287"/>
                    <a:gd name="T37" fmla="*/ 70 h 227"/>
                    <a:gd name="T38" fmla="*/ 42 w 287"/>
                    <a:gd name="T39" fmla="*/ 72 h 227"/>
                    <a:gd name="T40" fmla="*/ 40 w 287"/>
                    <a:gd name="T41" fmla="*/ 84 h 227"/>
                    <a:gd name="T42" fmla="*/ 0 w 287"/>
                    <a:gd name="T43" fmla="*/ 84 h 2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87" h="227">
                      <a:moveTo>
                        <a:pt x="0" y="227"/>
                      </a:moveTo>
                      <a:lnTo>
                        <a:pt x="66" y="189"/>
                      </a:lnTo>
                      <a:lnTo>
                        <a:pt x="72" y="177"/>
                      </a:lnTo>
                      <a:lnTo>
                        <a:pt x="84" y="161"/>
                      </a:lnTo>
                      <a:lnTo>
                        <a:pt x="80" y="127"/>
                      </a:lnTo>
                      <a:lnTo>
                        <a:pt x="100" y="95"/>
                      </a:lnTo>
                      <a:lnTo>
                        <a:pt x="158" y="49"/>
                      </a:lnTo>
                      <a:lnTo>
                        <a:pt x="180" y="4"/>
                      </a:lnTo>
                      <a:lnTo>
                        <a:pt x="192" y="0"/>
                      </a:lnTo>
                      <a:lnTo>
                        <a:pt x="213" y="24"/>
                      </a:lnTo>
                      <a:lnTo>
                        <a:pt x="267" y="24"/>
                      </a:lnTo>
                      <a:lnTo>
                        <a:pt x="275" y="81"/>
                      </a:lnTo>
                      <a:lnTo>
                        <a:pt x="287" y="93"/>
                      </a:lnTo>
                      <a:lnTo>
                        <a:pt x="283" y="103"/>
                      </a:lnTo>
                      <a:lnTo>
                        <a:pt x="241" y="103"/>
                      </a:lnTo>
                      <a:lnTo>
                        <a:pt x="221" y="119"/>
                      </a:lnTo>
                      <a:lnTo>
                        <a:pt x="225" y="139"/>
                      </a:lnTo>
                      <a:lnTo>
                        <a:pt x="176" y="165"/>
                      </a:lnTo>
                      <a:lnTo>
                        <a:pt x="118" y="189"/>
                      </a:lnTo>
                      <a:lnTo>
                        <a:pt x="108" y="195"/>
                      </a:lnTo>
                      <a:lnTo>
                        <a:pt x="104" y="227"/>
                      </a:lnTo>
                      <a:lnTo>
                        <a:pt x="0" y="227"/>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1" name="vMap : Tunisia">
                  <a:extLst>
                    <a:ext uri="{FF2B5EF4-FFF2-40B4-BE49-F238E27FC236}">
                      <a16:creationId xmlns:a16="http://schemas.microsoft.com/office/drawing/2014/main" xmlns="" id="{3C02CF21-AF9D-6644-9764-38854100152B}"/>
                    </a:ext>
                  </a:extLst>
                </p:cNvPr>
                <p:cNvSpPr>
                  <a:spLocks noChangeAspect="1"/>
                </p:cNvSpPr>
                <p:nvPr>
                  <p:custDataLst>
                    <p:tags r:id="rId62"/>
                  </p:custDataLst>
                </p:nvPr>
              </p:nvSpPr>
              <p:spPr bwMode="gray">
                <a:xfrm>
                  <a:off x="4247012" y="3245464"/>
                  <a:ext cx="82149" cy="188155"/>
                </a:xfrm>
                <a:custGeom>
                  <a:avLst/>
                  <a:gdLst>
                    <a:gd name="T0" fmla="*/ 11 w 88"/>
                    <a:gd name="T1" fmla="*/ 4 h 195"/>
                    <a:gd name="T2" fmla="*/ 20 w 88"/>
                    <a:gd name="T3" fmla="*/ 0 h 195"/>
                    <a:gd name="T4" fmla="*/ 26 w 88"/>
                    <a:gd name="T5" fmla="*/ 6 h 195"/>
                    <a:gd name="T6" fmla="*/ 32 w 88"/>
                    <a:gd name="T7" fmla="*/ 3 h 195"/>
                    <a:gd name="T8" fmla="*/ 27 w 88"/>
                    <a:gd name="T9" fmla="*/ 14 h 195"/>
                    <a:gd name="T10" fmla="*/ 33 w 88"/>
                    <a:gd name="T11" fmla="*/ 22 h 195"/>
                    <a:gd name="T12" fmla="*/ 22 w 88"/>
                    <a:gd name="T13" fmla="*/ 35 h 195"/>
                    <a:gd name="T14" fmla="*/ 33 w 88"/>
                    <a:gd name="T15" fmla="*/ 44 h 195"/>
                    <a:gd name="T16" fmla="*/ 33 w 88"/>
                    <a:gd name="T17" fmla="*/ 53 h 195"/>
                    <a:gd name="T18" fmla="*/ 23 w 88"/>
                    <a:gd name="T19" fmla="*/ 60 h 195"/>
                    <a:gd name="T20" fmla="*/ 23 w 88"/>
                    <a:gd name="T21" fmla="*/ 69 h 195"/>
                    <a:gd name="T22" fmla="*/ 17 w 88"/>
                    <a:gd name="T23" fmla="*/ 75 h 195"/>
                    <a:gd name="T24" fmla="*/ 14 w 88"/>
                    <a:gd name="T25" fmla="*/ 56 h 195"/>
                    <a:gd name="T26" fmla="*/ 7 w 88"/>
                    <a:gd name="T27" fmla="*/ 52 h 195"/>
                    <a:gd name="T28" fmla="*/ 0 w 88"/>
                    <a:gd name="T29" fmla="*/ 35 h 195"/>
                    <a:gd name="T30" fmla="*/ 7 w 88"/>
                    <a:gd name="T31" fmla="*/ 30 h 195"/>
                    <a:gd name="T32" fmla="*/ 7 w 88"/>
                    <a:gd name="T33" fmla="*/ 9 h 195"/>
                    <a:gd name="T34" fmla="*/ 11 w 88"/>
                    <a:gd name="T35" fmla="*/ 4 h 19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8" h="195">
                      <a:moveTo>
                        <a:pt x="30" y="12"/>
                      </a:moveTo>
                      <a:lnTo>
                        <a:pt x="54" y="0"/>
                      </a:lnTo>
                      <a:lnTo>
                        <a:pt x="68" y="16"/>
                      </a:lnTo>
                      <a:lnTo>
                        <a:pt x="84" y="8"/>
                      </a:lnTo>
                      <a:lnTo>
                        <a:pt x="72" y="36"/>
                      </a:lnTo>
                      <a:lnTo>
                        <a:pt x="88" y="58"/>
                      </a:lnTo>
                      <a:lnTo>
                        <a:pt x="58" y="91"/>
                      </a:lnTo>
                      <a:lnTo>
                        <a:pt x="88" y="115"/>
                      </a:lnTo>
                      <a:lnTo>
                        <a:pt x="88" y="137"/>
                      </a:lnTo>
                      <a:lnTo>
                        <a:pt x="62" y="157"/>
                      </a:lnTo>
                      <a:lnTo>
                        <a:pt x="62" y="179"/>
                      </a:lnTo>
                      <a:lnTo>
                        <a:pt x="46" y="195"/>
                      </a:lnTo>
                      <a:lnTo>
                        <a:pt x="38" y="145"/>
                      </a:lnTo>
                      <a:lnTo>
                        <a:pt x="18" y="133"/>
                      </a:lnTo>
                      <a:lnTo>
                        <a:pt x="0" y="91"/>
                      </a:lnTo>
                      <a:lnTo>
                        <a:pt x="18" y="77"/>
                      </a:lnTo>
                      <a:lnTo>
                        <a:pt x="18" y="24"/>
                      </a:lnTo>
                      <a:lnTo>
                        <a:pt x="30" y="12"/>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2" name="vMap : Egypt">
                  <a:extLst>
                    <a:ext uri="{FF2B5EF4-FFF2-40B4-BE49-F238E27FC236}">
                      <a16:creationId xmlns:a16="http://schemas.microsoft.com/office/drawing/2014/main" xmlns="" id="{4A7C5A0E-E4ED-B544-AA12-864C0396A72D}"/>
                    </a:ext>
                  </a:extLst>
                </p:cNvPr>
                <p:cNvSpPr>
                  <a:spLocks noChangeAspect="1"/>
                </p:cNvSpPr>
                <p:nvPr>
                  <p:custDataLst>
                    <p:tags r:id="rId63"/>
                  </p:custDataLst>
                </p:nvPr>
              </p:nvSpPr>
              <p:spPr bwMode="gray">
                <a:xfrm>
                  <a:off x="4621247" y="3397854"/>
                  <a:ext cx="251012" cy="256576"/>
                </a:xfrm>
                <a:custGeom>
                  <a:avLst/>
                  <a:gdLst>
                    <a:gd name="T0" fmla="*/ 65 w 269"/>
                    <a:gd name="T1" fmla="*/ 4 h 271"/>
                    <a:gd name="T2" fmla="*/ 74 w 269"/>
                    <a:gd name="T3" fmla="*/ 7 h 271"/>
                    <a:gd name="T4" fmla="*/ 84 w 269"/>
                    <a:gd name="T5" fmla="*/ 4 h 271"/>
                    <a:gd name="T6" fmla="*/ 91 w 269"/>
                    <a:gd name="T7" fmla="*/ 24 h 271"/>
                    <a:gd name="T8" fmla="*/ 86 w 269"/>
                    <a:gd name="T9" fmla="*/ 38 h 271"/>
                    <a:gd name="T10" fmla="*/ 84 w 269"/>
                    <a:gd name="T11" fmla="*/ 40 h 271"/>
                    <a:gd name="T12" fmla="*/ 69 w 269"/>
                    <a:gd name="T13" fmla="*/ 17 h 271"/>
                    <a:gd name="T14" fmla="*/ 72 w 269"/>
                    <a:gd name="T15" fmla="*/ 28 h 271"/>
                    <a:gd name="T16" fmla="*/ 79 w 269"/>
                    <a:gd name="T17" fmla="*/ 38 h 271"/>
                    <a:gd name="T18" fmla="*/ 95 w 269"/>
                    <a:gd name="T19" fmla="*/ 74 h 271"/>
                    <a:gd name="T20" fmla="*/ 101 w 269"/>
                    <a:gd name="T21" fmla="*/ 79 h 271"/>
                    <a:gd name="T22" fmla="*/ 98 w 269"/>
                    <a:gd name="T23" fmla="*/ 79 h 271"/>
                    <a:gd name="T24" fmla="*/ 101 w 269"/>
                    <a:gd name="T25" fmla="*/ 88 h 271"/>
                    <a:gd name="T26" fmla="*/ 88 w 269"/>
                    <a:gd name="T27" fmla="*/ 96 h 271"/>
                    <a:gd name="T28" fmla="*/ 86 w 269"/>
                    <a:gd name="T29" fmla="*/ 100 h 271"/>
                    <a:gd name="T30" fmla="*/ 79 w 269"/>
                    <a:gd name="T31" fmla="*/ 99 h 271"/>
                    <a:gd name="T32" fmla="*/ 6 w 269"/>
                    <a:gd name="T33" fmla="*/ 99 h 271"/>
                    <a:gd name="T34" fmla="*/ 4 w 269"/>
                    <a:gd name="T35" fmla="*/ 27 h 271"/>
                    <a:gd name="T36" fmla="*/ 0 w 269"/>
                    <a:gd name="T37" fmla="*/ 16 h 271"/>
                    <a:gd name="T38" fmla="*/ 3 w 269"/>
                    <a:gd name="T39" fmla="*/ 0 h 271"/>
                    <a:gd name="T40" fmla="*/ 37 w 269"/>
                    <a:gd name="T41" fmla="*/ 8 h 271"/>
                    <a:gd name="T42" fmla="*/ 52 w 269"/>
                    <a:gd name="T43" fmla="*/ 1 h 271"/>
                    <a:gd name="T44" fmla="*/ 62 w 269"/>
                    <a:gd name="T45" fmla="*/ 1 h 271"/>
                    <a:gd name="T46" fmla="*/ 65 w 269"/>
                    <a:gd name="T47" fmla="*/ 4 h 2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9" h="271">
                      <a:moveTo>
                        <a:pt x="173" y="12"/>
                      </a:moveTo>
                      <a:lnTo>
                        <a:pt x="195" y="20"/>
                      </a:lnTo>
                      <a:lnTo>
                        <a:pt x="223" y="12"/>
                      </a:lnTo>
                      <a:lnTo>
                        <a:pt x="241" y="66"/>
                      </a:lnTo>
                      <a:lnTo>
                        <a:pt x="229" y="104"/>
                      </a:lnTo>
                      <a:lnTo>
                        <a:pt x="223" y="108"/>
                      </a:lnTo>
                      <a:lnTo>
                        <a:pt x="183" y="46"/>
                      </a:lnTo>
                      <a:lnTo>
                        <a:pt x="191" y="76"/>
                      </a:lnTo>
                      <a:lnTo>
                        <a:pt x="211" y="104"/>
                      </a:lnTo>
                      <a:lnTo>
                        <a:pt x="253" y="199"/>
                      </a:lnTo>
                      <a:lnTo>
                        <a:pt x="269" y="213"/>
                      </a:lnTo>
                      <a:lnTo>
                        <a:pt x="261" y="213"/>
                      </a:lnTo>
                      <a:lnTo>
                        <a:pt x="269" y="237"/>
                      </a:lnTo>
                      <a:lnTo>
                        <a:pt x="233" y="259"/>
                      </a:lnTo>
                      <a:lnTo>
                        <a:pt x="229" y="271"/>
                      </a:lnTo>
                      <a:lnTo>
                        <a:pt x="211" y="267"/>
                      </a:lnTo>
                      <a:lnTo>
                        <a:pt x="16" y="267"/>
                      </a:lnTo>
                      <a:lnTo>
                        <a:pt x="12" y="72"/>
                      </a:lnTo>
                      <a:lnTo>
                        <a:pt x="0" y="42"/>
                      </a:lnTo>
                      <a:lnTo>
                        <a:pt x="8" y="0"/>
                      </a:lnTo>
                      <a:lnTo>
                        <a:pt x="99" y="22"/>
                      </a:lnTo>
                      <a:lnTo>
                        <a:pt x="137" y="4"/>
                      </a:lnTo>
                      <a:lnTo>
                        <a:pt x="165" y="4"/>
                      </a:lnTo>
                      <a:lnTo>
                        <a:pt x="173" y="12"/>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3" name="vMap : Portugal">
                  <a:extLst>
                    <a:ext uri="{FF2B5EF4-FFF2-40B4-BE49-F238E27FC236}">
                      <a16:creationId xmlns:a16="http://schemas.microsoft.com/office/drawing/2014/main" xmlns="" id="{333B030A-7367-844F-90ED-61C57757A044}"/>
                    </a:ext>
                  </a:extLst>
                </p:cNvPr>
                <p:cNvSpPr>
                  <a:spLocks noChangeAspect="1"/>
                </p:cNvSpPr>
                <p:nvPr>
                  <p:custDataLst>
                    <p:tags r:id="rId64"/>
                  </p:custDataLst>
                </p:nvPr>
              </p:nvSpPr>
              <p:spPr bwMode="gray">
                <a:xfrm>
                  <a:off x="3898637" y="3122619"/>
                  <a:ext cx="74544" cy="135285"/>
                </a:xfrm>
                <a:custGeom>
                  <a:avLst/>
                  <a:gdLst>
                    <a:gd name="T0" fmla="*/ 8 w 80"/>
                    <a:gd name="T1" fmla="*/ 4 h 142"/>
                    <a:gd name="T2" fmla="*/ 8 w 80"/>
                    <a:gd name="T3" fmla="*/ 13 h 142"/>
                    <a:gd name="T4" fmla="*/ 0 w 80"/>
                    <a:gd name="T5" fmla="*/ 34 h 142"/>
                    <a:gd name="T6" fmla="*/ 7 w 80"/>
                    <a:gd name="T7" fmla="*/ 37 h 142"/>
                    <a:gd name="T8" fmla="*/ 4 w 80"/>
                    <a:gd name="T9" fmla="*/ 53 h 142"/>
                    <a:gd name="T10" fmla="*/ 17 w 80"/>
                    <a:gd name="T11" fmla="*/ 50 h 142"/>
                    <a:gd name="T12" fmla="*/ 16 w 80"/>
                    <a:gd name="T13" fmla="*/ 47 h 142"/>
                    <a:gd name="T14" fmla="*/ 22 w 80"/>
                    <a:gd name="T15" fmla="*/ 42 h 142"/>
                    <a:gd name="T16" fmla="*/ 19 w 80"/>
                    <a:gd name="T17" fmla="*/ 26 h 142"/>
                    <a:gd name="T18" fmla="*/ 23 w 80"/>
                    <a:gd name="T19" fmla="*/ 23 h 142"/>
                    <a:gd name="T20" fmla="*/ 26 w 80"/>
                    <a:gd name="T21" fmla="*/ 11 h 142"/>
                    <a:gd name="T22" fmla="*/ 30 w 80"/>
                    <a:gd name="T23" fmla="*/ 6 h 142"/>
                    <a:gd name="T24" fmla="*/ 14 w 80"/>
                    <a:gd name="T25" fmla="*/ 0 h 142"/>
                    <a:gd name="T26" fmla="*/ 8 w 80"/>
                    <a:gd name="T27" fmla="*/ 4 h 1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0" h="142">
                      <a:moveTo>
                        <a:pt x="22" y="12"/>
                      </a:moveTo>
                      <a:lnTo>
                        <a:pt x="22" y="34"/>
                      </a:lnTo>
                      <a:lnTo>
                        <a:pt x="0" y="92"/>
                      </a:lnTo>
                      <a:lnTo>
                        <a:pt x="18" y="100"/>
                      </a:lnTo>
                      <a:lnTo>
                        <a:pt x="10" y="142"/>
                      </a:lnTo>
                      <a:lnTo>
                        <a:pt x="46" y="134"/>
                      </a:lnTo>
                      <a:lnTo>
                        <a:pt x="42" y="126"/>
                      </a:lnTo>
                      <a:lnTo>
                        <a:pt x="58" y="112"/>
                      </a:lnTo>
                      <a:lnTo>
                        <a:pt x="50" y="70"/>
                      </a:lnTo>
                      <a:lnTo>
                        <a:pt x="60" y="62"/>
                      </a:lnTo>
                      <a:lnTo>
                        <a:pt x="68" y="30"/>
                      </a:lnTo>
                      <a:lnTo>
                        <a:pt x="80" y="16"/>
                      </a:lnTo>
                      <a:lnTo>
                        <a:pt x="38" y="0"/>
                      </a:lnTo>
                      <a:lnTo>
                        <a:pt x="22" y="1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4" name="vMap : Spain">
                  <a:extLst>
                    <a:ext uri="{FF2B5EF4-FFF2-40B4-BE49-F238E27FC236}">
                      <a16:creationId xmlns:a16="http://schemas.microsoft.com/office/drawing/2014/main" xmlns="" id="{EC8FD81A-EFC9-FB4D-B9E4-8A8C4E675C8F}"/>
                    </a:ext>
                  </a:extLst>
                </p:cNvPr>
                <p:cNvSpPr>
                  <a:spLocks noChangeAspect="1"/>
                </p:cNvSpPr>
                <p:nvPr>
                  <p:custDataLst>
                    <p:tags r:id="rId65"/>
                  </p:custDataLst>
                </p:nvPr>
              </p:nvSpPr>
              <p:spPr bwMode="gray">
                <a:xfrm>
                  <a:off x="3910807" y="3082190"/>
                  <a:ext cx="254054" cy="199040"/>
                </a:xfrm>
                <a:custGeom>
                  <a:avLst/>
                  <a:gdLst>
                    <a:gd name="T0" fmla="*/ 62 w 273"/>
                    <a:gd name="T1" fmla="*/ 3 h 208"/>
                    <a:gd name="T2" fmla="*/ 70 w 273"/>
                    <a:gd name="T3" fmla="*/ 9 h 208"/>
                    <a:gd name="T4" fmla="*/ 87 w 273"/>
                    <a:gd name="T5" fmla="*/ 11 h 208"/>
                    <a:gd name="T6" fmla="*/ 90 w 273"/>
                    <a:gd name="T7" fmla="*/ 13 h 208"/>
                    <a:gd name="T8" fmla="*/ 102 w 273"/>
                    <a:gd name="T9" fmla="*/ 13 h 208"/>
                    <a:gd name="T10" fmla="*/ 102 w 273"/>
                    <a:gd name="T11" fmla="*/ 20 h 208"/>
                    <a:gd name="T12" fmla="*/ 82 w 273"/>
                    <a:gd name="T13" fmla="*/ 30 h 208"/>
                    <a:gd name="T14" fmla="*/ 72 w 273"/>
                    <a:gd name="T15" fmla="*/ 45 h 208"/>
                    <a:gd name="T16" fmla="*/ 75 w 273"/>
                    <a:gd name="T17" fmla="*/ 52 h 208"/>
                    <a:gd name="T18" fmla="*/ 56 w 273"/>
                    <a:gd name="T19" fmla="*/ 71 h 208"/>
                    <a:gd name="T20" fmla="*/ 37 w 273"/>
                    <a:gd name="T21" fmla="*/ 73 h 208"/>
                    <a:gd name="T22" fmla="*/ 28 w 273"/>
                    <a:gd name="T23" fmla="*/ 79 h 208"/>
                    <a:gd name="T24" fmla="*/ 17 w 273"/>
                    <a:gd name="T25" fmla="*/ 68 h 208"/>
                    <a:gd name="T26" fmla="*/ 12 w 273"/>
                    <a:gd name="T27" fmla="*/ 66 h 208"/>
                    <a:gd name="T28" fmla="*/ 10 w 273"/>
                    <a:gd name="T29" fmla="*/ 63 h 208"/>
                    <a:gd name="T30" fmla="*/ 17 w 273"/>
                    <a:gd name="T31" fmla="*/ 58 h 208"/>
                    <a:gd name="T32" fmla="*/ 13 w 273"/>
                    <a:gd name="T33" fmla="*/ 42 h 208"/>
                    <a:gd name="T34" fmla="*/ 17 w 273"/>
                    <a:gd name="T35" fmla="*/ 39 h 208"/>
                    <a:gd name="T36" fmla="*/ 20 w 273"/>
                    <a:gd name="T37" fmla="*/ 27 h 208"/>
                    <a:gd name="T38" fmla="*/ 24 w 273"/>
                    <a:gd name="T39" fmla="*/ 22 h 208"/>
                    <a:gd name="T40" fmla="*/ 9 w 273"/>
                    <a:gd name="T41" fmla="*/ 16 h 208"/>
                    <a:gd name="T42" fmla="*/ 3 w 273"/>
                    <a:gd name="T43" fmla="*/ 20 h 208"/>
                    <a:gd name="T44" fmla="*/ 4 w 273"/>
                    <a:gd name="T45" fmla="*/ 14 h 208"/>
                    <a:gd name="T46" fmla="*/ 0 w 273"/>
                    <a:gd name="T47" fmla="*/ 7 h 208"/>
                    <a:gd name="T48" fmla="*/ 10 w 273"/>
                    <a:gd name="T49" fmla="*/ 0 h 208"/>
                    <a:gd name="T50" fmla="*/ 62 w 273"/>
                    <a:gd name="T51" fmla="*/ 3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73" h="208">
                      <a:moveTo>
                        <a:pt x="165" y="8"/>
                      </a:moveTo>
                      <a:lnTo>
                        <a:pt x="187" y="22"/>
                      </a:lnTo>
                      <a:lnTo>
                        <a:pt x="233" y="30"/>
                      </a:lnTo>
                      <a:lnTo>
                        <a:pt x="241" y="34"/>
                      </a:lnTo>
                      <a:lnTo>
                        <a:pt x="273" y="34"/>
                      </a:lnTo>
                      <a:lnTo>
                        <a:pt x="273" y="54"/>
                      </a:lnTo>
                      <a:lnTo>
                        <a:pt x="219" y="80"/>
                      </a:lnTo>
                      <a:lnTo>
                        <a:pt x="191" y="118"/>
                      </a:lnTo>
                      <a:lnTo>
                        <a:pt x="199" y="138"/>
                      </a:lnTo>
                      <a:lnTo>
                        <a:pt x="149" y="188"/>
                      </a:lnTo>
                      <a:lnTo>
                        <a:pt x="99" y="192"/>
                      </a:lnTo>
                      <a:lnTo>
                        <a:pt x="74" y="208"/>
                      </a:lnTo>
                      <a:lnTo>
                        <a:pt x="46" y="180"/>
                      </a:lnTo>
                      <a:lnTo>
                        <a:pt x="32" y="176"/>
                      </a:lnTo>
                      <a:lnTo>
                        <a:pt x="28" y="168"/>
                      </a:lnTo>
                      <a:lnTo>
                        <a:pt x="44" y="154"/>
                      </a:lnTo>
                      <a:lnTo>
                        <a:pt x="36" y="112"/>
                      </a:lnTo>
                      <a:lnTo>
                        <a:pt x="46" y="104"/>
                      </a:lnTo>
                      <a:lnTo>
                        <a:pt x="54" y="72"/>
                      </a:lnTo>
                      <a:lnTo>
                        <a:pt x="66" y="58"/>
                      </a:lnTo>
                      <a:lnTo>
                        <a:pt x="24" y="42"/>
                      </a:lnTo>
                      <a:lnTo>
                        <a:pt x="8" y="54"/>
                      </a:lnTo>
                      <a:lnTo>
                        <a:pt x="12" y="38"/>
                      </a:lnTo>
                      <a:lnTo>
                        <a:pt x="0" y="20"/>
                      </a:lnTo>
                      <a:lnTo>
                        <a:pt x="28" y="0"/>
                      </a:lnTo>
                      <a:lnTo>
                        <a:pt x="165"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5" name="vMap : France">
                  <a:extLst>
                    <a:ext uri="{FF2B5EF4-FFF2-40B4-BE49-F238E27FC236}">
                      <a16:creationId xmlns:a16="http://schemas.microsoft.com/office/drawing/2014/main" xmlns="" id="{2B5AE550-FC2F-F944-8F66-F277A3EBCAB5}"/>
                    </a:ext>
                  </a:extLst>
                </p:cNvPr>
                <p:cNvSpPr>
                  <a:spLocks noChangeAspect="1"/>
                </p:cNvSpPr>
                <p:nvPr>
                  <p:custDataLst>
                    <p:tags r:id="rId66"/>
                  </p:custDataLst>
                </p:nvPr>
              </p:nvSpPr>
              <p:spPr bwMode="gray">
                <a:xfrm>
                  <a:off x="4014255" y="2892479"/>
                  <a:ext cx="252533" cy="222365"/>
                </a:xfrm>
                <a:custGeom>
                  <a:avLst/>
                  <a:gdLst>
                    <a:gd name="T0" fmla="*/ 61 w 271"/>
                    <a:gd name="T1" fmla="*/ 0 h 233"/>
                    <a:gd name="T2" fmla="*/ 72 w 271"/>
                    <a:gd name="T3" fmla="*/ 11 h 233"/>
                    <a:gd name="T4" fmla="*/ 78 w 271"/>
                    <a:gd name="T5" fmla="*/ 10 h 233"/>
                    <a:gd name="T6" fmla="*/ 78 w 271"/>
                    <a:gd name="T7" fmla="*/ 13 h 233"/>
                    <a:gd name="T8" fmla="*/ 83 w 271"/>
                    <a:gd name="T9" fmla="*/ 14 h 233"/>
                    <a:gd name="T10" fmla="*/ 88 w 271"/>
                    <a:gd name="T11" fmla="*/ 14 h 233"/>
                    <a:gd name="T12" fmla="*/ 102 w 271"/>
                    <a:gd name="T13" fmla="*/ 22 h 233"/>
                    <a:gd name="T14" fmla="*/ 98 w 271"/>
                    <a:gd name="T15" fmla="*/ 34 h 233"/>
                    <a:gd name="T16" fmla="*/ 94 w 271"/>
                    <a:gd name="T17" fmla="*/ 36 h 233"/>
                    <a:gd name="T18" fmla="*/ 85 w 271"/>
                    <a:gd name="T19" fmla="*/ 47 h 233"/>
                    <a:gd name="T20" fmla="*/ 85 w 271"/>
                    <a:gd name="T21" fmla="*/ 50 h 233"/>
                    <a:gd name="T22" fmla="*/ 91 w 271"/>
                    <a:gd name="T23" fmla="*/ 47 h 233"/>
                    <a:gd name="T24" fmla="*/ 92 w 271"/>
                    <a:gd name="T25" fmla="*/ 52 h 233"/>
                    <a:gd name="T26" fmla="*/ 91 w 271"/>
                    <a:gd name="T27" fmla="*/ 62 h 233"/>
                    <a:gd name="T28" fmla="*/ 98 w 271"/>
                    <a:gd name="T29" fmla="*/ 74 h 233"/>
                    <a:gd name="T30" fmla="*/ 86 w 271"/>
                    <a:gd name="T31" fmla="*/ 81 h 233"/>
                    <a:gd name="T32" fmla="*/ 77 w 271"/>
                    <a:gd name="T33" fmla="*/ 78 h 233"/>
                    <a:gd name="T34" fmla="*/ 67 w 271"/>
                    <a:gd name="T35" fmla="*/ 77 h 233"/>
                    <a:gd name="T36" fmla="*/ 61 w 271"/>
                    <a:gd name="T37" fmla="*/ 81 h 233"/>
                    <a:gd name="T38" fmla="*/ 61 w 271"/>
                    <a:gd name="T39" fmla="*/ 88 h 233"/>
                    <a:gd name="T40" fmla="*/ 49 w 271"/>
                    <a:gd name="T41" fmla="*/ 88 h 233"/>
                    <a:gd name="T42" fmla="*/ 46 w 271"/>
                    <a:gd name="T43" fmla="*/ 87 h 233"/>
                    <a:gd name="T44" fmla="*/ 29 w 271"/>
                    <a:gd name="T45" fmla="*/ 83 h 233"/>
                    <a:gd name="T46" fmla="*/ 20 w 271"/>
                    <a:gd name="T47" fmla="*/ 78 h 233"/>
                    <a:gd name="T48" fmla="*/ 25 w 271"/>
                    <a:gd name="T49" fmla="*/ 77 h 233"/>
                    <a:gd name="T50" fmla="*/ 29 w 271"/>
                    <a:gd name="T51" fmla="*/ 56 h 233"/>
                    <a:gd name="T52" fmla="*/ 30 w 271"/>
                    <a:gd name="T53" fmla="*/ 59 h 233"/>
                    <a:gd name="T54" fmla="*/ 28 w 271"/>
                    <a:gd name="T55" fmla="*/ 47 h 233"/>
                    <a:gd name="T56" fmla="*/ 20 w 271"/>
                    <a:gd name="T57" fmla="*/ 44 h 233"/>
                    <a:gd name="T58" fmla="*/ 20 w 271"/>
                    <a:gd name="T59" fmla="*/ 39 h 233"/>
                    <a:gd name="T60" fmla="*/ 23 w 271"/>
                    <a:gd name="T61" fmla="*/ 39 h 233"/>
                    <a:gd name="T62" fmla="*/ 3 w 271"/>
                    <a:gd name="T63" fmla="*/ 33 h 233"/>
                    <a:gd name="T64" fmla="*/ 0 w 271"/>
                    <a:gd name="T65" fmla="*/ 26 h 233"/>
                    <a:gd name="T66" fmla="*/ 10 w 271"/>
                    <a:gd name="T67" fmla="*/ 23 h 233"/>
                    <a:gd name="T68" fmla="*/ 26 w 271"/>
                    <a:gd name="T69" fmla="*/ 25 h 233"/>
                    <a:gd name="T70" fmla="*/ 23 w 271"/>
                    <a:gd name="T71" fmla="*/ 14 h 233"/>
                    <a:gd name="T72" fmla="*/ 30 w 271"/>
                    <a:gd name="T73" fmla="*/ 17 h 233"/>
                    <a:gd name="T74" fmla="*/ 43 w 271"/>
                    <a:gd name="T75" fmla="*/ 17 h 233"/>
                    <a:gd name="T76" fmla="*/ 40 w 271"/>
                    <a:gd name="T77" fmla="*/ 14 h 233"/>
                    <a:gd name="T78" fmla="*/ 52 w 271"/>
                    <a:gd name="T79" fmla="*/ 9 h 233"/>
                    <a:gd name="T80" fmla="*/ 53 w 271"/>
                    <a:gd name="T81" fmla="*/ 1 h 233"/>
                    <a:gd name="T82" fmla="*/ 61 w 271"/>
                    <a:gd name="T83" fmla="*/ 0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71" h="233">
                      <a:moveTo>
                        <a:pt x="162" y="0"/>
                      </a:moveTo>
                      <a:lnTo>
                        <a:pt x="192" y="30"/>
                      </a:lnTo>
                      <a:lnTo>
                        <a:pt x="208" y="28"/>
                      </a:lnTo>
                      <a:lnTo>
                        <a:pt x="208" y="34"/>
                      </a:lnTo>
                      <a:lnTo>
                        <a:pt x="222" y="38"/>
                      </a:lnTo>
                      <a:lnTo>
                        <a:pt x="233" y="38"/>
                      </a:lnTo>
                      <a:lnTo>
                        <a:pt x="271" y="58"/>
                      </a:lnTo>
                      <a:lnTo>
                        <a:pt x="261" y="92"/>
                      </a:lnTo>
                      <a:lnTo>
                        <a:pt x="249" y="96"/>
                      </a:lnTo>
                      <a:lnTo>
                        <a:pt x="225" y="126"/>
                      </a:lnTo>
                      <a:lnTo>
                        <a:pt x="225" y="134"/>
                      </a:lnTo>
                      <a:lnTo>
                        <a:pt x="241" y="126"/>
                      </a:lnTo>
                      <a:lnTo>
                        <a:pt x="245" y="138"/>
                      </a:lnTo>
                      <a:lnTo>
                        <a:pt x="241" y="165"/>
                      </a:lnTo>
                      <a:lnTo>
                        <a:pt x="261" y="195"/>
                      </a:lnTo>
                      <a:lnTo>
                        <a:pt x="229" y="215"/>
                      </a:lnTo>
                      <a:lnTo>
                        <a:pt x="204" y="207"/>
                      </a:lnTo>
                      <a:lnTo>
                        <a:pt x="180" y="203"/>
                      </a:lnTo>
                      <a:lnTo>
                        <a:pt x="162" y="215"/>
                      </a:lnTo>
                      <a:lnTo>
                        <a:pt x="162" y="233"/>
                      </a:lnTo>
                      <a:lnTo>
                        <a:pt x="130" y="233"/>
                      </a:lnTo>
                      <a:lnTo>
                        <a:pt x="122" y="229"/>
                      </a:lnTo>
                      <a:lnTo>
                        <a:pt x="76" y="221"/>
                      </a:lnTo>
                      <a:lnTo>
                        <a:pt x="54" y="207"/>
                      </a:lnTo>
                      <a:lnTo>
                        <a:pt x="66" y="203"/>
                      </a:lnTo>
                      <a:lnTo>
                        <a:pt x="76" y="150"/>
                      </a:lnTo>
                      <a:lnTo>
                        <a:pt x="80" y="157"/>
                      </a:lnTo>
                      <a:lnTo>
                        <a:pt x="74" y="126"/>
                      </a:lnTo>
                      <a:lnTo>
                        <a:pt x="54" y="116"/>
                      </a:lnTo>
                      <a:lnTo>
                        <a:pt x="54" y="104"/>
                      </a:lnTo>
                      <a:lnTo>
                        <a:pt x="62" y="104"/>
                      </a:lnTo>
                      <a:lnTo>
                        <a:pt x="8" y="88"/>
                      </a:lnTo>
                      <a:lnTo>
                        <a:pt x="0" y="70"/>
                      </a:lnTo>
                      <a:lnTo>
                        <a:pt x="28" y="62"/>
                      </a:lnTo>
                      <a:lnTo>
                        <a:pt x="70" y="66"/>
                      </a:lnTo>
                      <a:lnTo>
                        <a:pt x="62" y="38"/>
                      </a:lnTo>
                      <a:lnTo>
                        <a:pt x="80" y="46"/>
                      </a:lnTo>
                      <a:lnTo>
                        <a:pt x="116" y="46"/>
                      </a:lnTo>
                      <a:lnTo>
                        <a:pt x="108" y="38"/>
                      </a:lnTo>
                      <a:lnTo>
                        <a:pt x="138" y="24"/>
                      </a:lnTo>
                      <a:lnTo>
                        <a:pt x="142" y="4"/>
                      </a:lnTo>
                      <a:lnTo>
                        <a:pt x="162" y="0"/>
                      </a:lnTo>
                    </a:path>
                  </a:pathLst>
                </a:custGeom>
                <a:solidFill>
                  <a:srgbClr val="0F4DBC"/>
                </a:solid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6" name="vMap : Italy">
                  <a:extLst>
                    <a:ext uri="{FF2B5EF4-FFF2-40B4-BE49-F238E27FC236}">
                      <a16:creationId xmlns:a16="http://schemas.microsoft.com/office/drawing/2014/main" xmlns="" id="{9DE8762B-CD75-444E-9892-2FB37FE8766E}"/>
                    </a:ext>
                  </a:extLst>
                </p:cNvPr>
                <p:cNvSpPr>
                  <a:spLocks noChangeAspect="1"/>
                </p:cNvSpPr>
                <p:nvPr>
                  <p:custDataLst>
                    <p:tags r:id="rId67"/>
                  </p:custDataLst>
                </p:nvPr>
              </p:nvSpPr>
              <p:spPr bwMode="gray">
                <a:xfrm>
                  <a:off x="4239405" y="2995110"/>
                  <a:ext cx="241884" cy="239470"/>
                </a:xfrm>
                <a:custGeom>
                  <a:avLst/>
                  <a:gdLst>
                    <a:gd name="T0" fmla="*/ 56 w 259"/>
                    <a:gd name="T1" fmla="*/ 16 h 249"/>
                    <a:gd name="T2" fmla="*/ 60 w 259"/>
                    <a:gd name="T3" fmla="*/ 15 h 249"/>
                    <a:gd name="T4" fmla="*/ 55 w 259"/>
                    <a:gd name="T5" fmla="*/ 9 h 249"/>
                    <a:gd name="T6" fmla="*/ 56 w 259"/>
                    <a:gd name="T7" fmla="*/ 6 h 249"/>
                    <a:gd name="T8" fmla="*/ 44 w 259"/>
                    <a:gd name="T9" fmla="*/ 0 h 249"/>
                    <a:gd name="T10" fmla="*/ 30 w 259"/>
                    <a:gd name="T11" fmla="*/ 3 h 249"/>
                    <a:gd name="T12" fmla="*/ 27 w 259"/>
                    <a:gd name="T13" fmla="*/ 7 h 249"/>
                    <a:gd name="T14" fmla="*/ 22 w 259"/>
                    <a:gd name="T15" fmla="*/ 6 h 249"/>
                    <a:gd name="T16" fmla="*/ 17 w 259"/>
                    <a:gd name="T17" fmla="*/ 12 h 249"/>
                    <a:gd name="T18" fmla="*/ 14 w 259"/>
                    <a:gd name="T19" fmla="*/ 7 h 249"/>
                    <a:gd name="T20" fmla="*/ 9 w 259"/>
                    <a:gd name="T21" fmla="*/ 12 h 249"/>
                    <a:gd name="T22" fmla="*/ 1 w 259"/>
                    <a:gd name="T23" fmla="*/ 12 h 249"/>
                    <a:gd name="T24" fmla="*/ 0 w 259"/>
                    <a:gd name="T25" fmla="*/ 22 h 249"/>
                    <a:gd name="T26" fmla="*/ 7 w 259"/>
                    <a:gd name="T27" fmla="*/ 33 h 249"/>
                    <a:gd name="T28" fmla="*/ 17 w 259"/>
                    <a:gd name="T29" fmla="*/ 27 h 249"/>
                    <a:gd name="T30" fmla="*/ 29 w 259"/>
                    <a:gd name="T31" fmla="*/ 32 h 249"/>
                    <a:gd name="T32" fmla="*/ 36 w 259"/>
                    <a:gd name="T33" fmla="*/ 48 h 249"/>
                    <a:gd name="T34" fmla="*/ 74 w 259"/>
                    <a:gd name="T35" fmla="*/ 73 h 249"/>
                    <a:gd name="T36" fmla="*/ 80 w 259"/>
                    <a:gd name="T37" fmla="*/ 86 h 249"/>
                    <a:gd name="T38" fmla="*/ 76 w 259"/>
                    <a:gd name="T39" fmla="*/ 92 h 249"/>
                    <a:gd name="T40" fmla="*/ 79 w 259"/>
                    <a:gd name="T41" fmla="*/ 95 h 249"/>
                    <a:gd name="T42" fmla="*/ 87 w 259"/>
                    <a:gd name="T43" fmla="*/ 83 h 249"/>
                    <a:gd name="T44" fmla="*/ 87 w 259"/>
                    <a:gd name="T45" fmla="*/ 79 h 249"/>
                    <a:gd name="T46" fmla="*/ 82 w 259"/>
                    <a:gd name="T47" fmla="*/ 76 h 249"/>
                    <a:gd name="T48" fmla="*/ 83 w 259"/>
                    <a:gd name="T49" fmla="*/ 70 h 249"/>
                    <a:gd name="T50" fmla="*/ 87 w 259"/>
                    <a:gd name="T51" fmla="*/ 67 h 249"/>
                    <a:gd name="T52" fmla="*/ 97 w 259"/>
                    <a:gd name="T53" fmla="*/ 75 h 249"/>
                    <a:gd name="T54" fmla="*/ 98 w 259"/>
                    <a:gd name="T55" fmla="*/ 73 h 249"/>
                    <a:gd name="T56" fmla="*/ 94 w 259"/>
                    <a:gd name="T57" fmla="*/ 66 h 249"/>
                    <a:gd name="T58" fmla="*/ 77 w 259"/>
                    <a:gd name="T59" fmla="*/ 59 h 249"/>
                    <a:gd name="T60" fmla="*/ 77 w 259"/>
                    <a:gd name="T61" fmla="*/ 53 h 249"/>
                    <a:gd name="T62" fmla="*/ 71 w 259"/>
                    <a:gd name="T63" fmla="*/ 54 h 249"/>
                    <a:gd name="T64" fmla="*/ 66 w 259"/>
                    <a:gd name="T65" fmla="*/ 51 h 249"/>
                    <a:gd name="T66" fmla="*/ 56 w 259"/>
                    <a:gd name="T67" fmla="*/ 36 h 249"/>
                    <a:gd name="T68" fmla="*/ 46 w 259"/>
                    <a:gd name="T69" fmla="*/ 30 h 249"/>
                    <a:gd name="T70" fmla="*/ 44 w 259"/>
                    <a:gd name="T71" fmla="*/ 17 h 249"/>
                    <a:gd name="T72" fmla="*/ 56 w 259"/>
                    <a:gd name="T73" fmla="*/ 16 h 2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59" h="249">
                      <a:moveTo>
                        <a:pt x="150" y="42"/>
                      </a:moveTo>
                      <a:lnTo>
                        <a:pt x="158" y="38"/>
                      </a:lnTo>
                      <a:lnTo>
                        <a:pt x="146" y="22"/>
                      </a:lnTo>
                      <a:lnTo>
                        <a:pt x="150" y="16"/>
                      </a:lnTo>
                      <a:lnTo>
                        <a:pt x="116" y="0"/>
                      </a:lnTo>
                      <a:lnTo>
                        <a:pt x="80" y="8"/>
                      </a:lnTo>
                      <a:lnTo>
                        <a:pt x="72" y="18"/>
                      </a:lnTo>
                      <a:lnTo>
                        <a:pt x="58" y="16"/>
                      </a:lnTo>
                      <a:lnTo>
                        <a:pt x="46" y="30"/>
                      </a:lnTo>
                      <a:lnTo>
                        <a:pt x="38" y="18"/>
                      </a:lnTo>
                      <a:lnTo>
                        <a:pt x="22" y="30"/>
                      </a:lnTo>
                      <a:lnTo>
                        <a:pt x="4" y="30"/>
                      </a:lnTo>
                      <a:lnTo>
                        <a:pt x="0" y="57"/>
                      </a:lnTo>
                      <a:lnTo>
                        <a:pt x="20" y="87"/>
                      </a:lnTo>
                      <a:lnTo>
                        <a:pt x="46" y="71"/>
                      </a:lnTo>
                      <a:lnTo>
                        <a:pt x="76" y="83"/>
                      </a:lnTo>
                      <a:lnTo>
                        <a:pt x="96" y="125"/>
                      </a:lnTo>
                      <a:lnTo>
                        <a:pt x="196" y="191"/>
                      </a:lnTo>
                      <a:lnTo>
                        <a:pt x="212" y="225"/>
                      </a:lnTo>
                      <a:lnTo>
                        <a:pt x="200" y="241"/>
                      </a:lnTo>
                      <a:lnTo>
                        <a:pt x="208" y="249"/>
                      </a:lnTo>
                      <a:lnTo>
                        <a:pt x="229" y="217"/>
                      </a:lnTo>
                      <a:lnTo>
                        <a:pt x="229" y="207"/>
                      </a:lnTo>
                      <a:lnTo>
                        <a:pt x="218" y="199"/>
                      </a:lnTo>
                      <a:lnTo>
                        <a:pt x="222" y="183"/>
                      </a:lnTo>
                      <a:lnTo>
                        <a:pt x="229" y="175"/>
                      </a:lnTo>
                      <a:lnTo>
                        <a:pt x="257" y="195"/>
                      </a:lnTo>
                      <a:lnTo>
                        <a:pt x="259" y="191"/>
                      </a:lnTo>
                      <a:lnTo>
                        <a:pt x="249" y="171"/>
                      </a:lnTo>
                      <a:lnTo>
                        <a:pt x="204" y="153"/>
                      </a:lnTo>
                      <a:lnTo>
                        <a:pt x="204" y="137"/>
                      </a:lnTo>
                      <a:lnTo>
                        <a:pt x="188" y="141"/>
                      </a:lnTo>
                      <a:lnTo>
                        <a:pt x="176" y="133"/>
                      </a:lnTo>
                      <a:lnTo>
                        <a:pt x="150" y="95"/>
                      </a:lnTo>
                      <a:lnTo>
                        <a:pt x="122" y="79"/>
                      </a:lnTo>
                      <a:lnTo>
                        <a:pt x="118" y="46"/>
                      </a:lnTo>
                      <a:lnTo>
                        <a:pt x="150" y="4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7" name="vMap : Slovenia">
                  <a:extLst>
                    <a:ext uri="{FF2B5EF4-FFF2-40B4-BE49-F238E27FC236}">
                      <a16:creationId xmlns:a16="http://schemas.microsoft.com/office/drawing/2014/main" xmlns="" id="{EE281D8C-FC8C-D546-AA95-50FBEB034C0F}"/>
                    </a:ext>
                  </a:extLst>
                </p:cNvPr>
                <p:cNvSpPr>
                  <a:spLocks noChangeAspect="1"/>
                </p:cNvSpPr>
                <p:nvPr>
                  <p:custDataLst>
                    <p:tags r:id="rId68"/>
                  </p:custDataLst>
                </p:nvPr>
              </p:nvSpPr>
              <p:spPr bwMode="gray">
                <a:xfrm>
                  <a:off x="4374799" y="2999774"/>
                  <a:ext cx="59331" cy="37320"/>
                </a:xfrm>
                <a:custGeom>
                  <a:avLst/>
                  <a:gdLst>
                    <a:gd name="T0" fmla="*/ 3 w 62"/>
                    <a:gd name="T1" fmla="*/ 14 h 42"/>
                    <a:gd name="T2" fmla="*/ 9 w 62"/>
                    <a:gd name="T3" fmla="*/ 13 h 42"/>
                    <a:gd name="T4" fmla="*/ 15 w 62"/>
                    <a:gd name="T5" fmla="*/ 14 h 42"/>
                    <a:gd name="T6" fmla="*/ 16 w 62"/>
                    <a:gd name="T7" fmla="*/ 6 h 42"/>
                    <a:gd name="T8" fmla="*/ 25 w 62"/>
                    <a:gd name="T9" fmla="*/ 1 h 42"/>
                    <a:gd name="T10" fmla="*/ 23 w 62"/>
                    <a:gd name="T11" fmla="*/ 0 h 42"/>
                    <a:gd name="T12" fmla="*/ 2 w 62"/>
                    <a:gd name="T13" fmla="*/ 4 h 42"/>
                    <a:gd name="T14" fmla="*/ 0 w 62"/>
                    <a:gd name="T15" fmla="*/ 6 h 42"/>
                    <a:gd name="T16" fmla="*/ 5 w 62"/>
                    <a:gd name="T17" fmla="*/ 11 h 42"/>
                    <a:gd name="T18" fmla="*/ 2 w 62"/>
                    <a:gd name="T19" fmla="*/ 13 h 42"/>
                    <a:gd name="T20" fmla="*/ 3 w 62"/>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2" h="42">
                      <a:moveTo>
                        <a:pt x="8" y="42"/>
                      </a:moveTo>
                      <a:lnTo>
                        <a:pt x="22" y="38"/>
                      </a:lnTo>
                      <a:lnTo>
                        <a:pt x="38" y="42"/>
                      </a:lnTo>
                      <a:lnTo>
                        <a:pt x="42" y="18"/>
                      </a:lnTo>
                      <a:lnTo>
                        <a:pt x="62" y="4"/>
                      </a:lnTo>
                      <a:lnTo>
                        <a:pt x="58" y="0"/>
                      </a:lnTo>
                      <a:lnTo>
                        <a:pt x="4" y="12"/>
                      </a:lnTo>
                      <a:lnTo>
                        <a:pt x="0" y="18"/>
                      </a:lnTo>
                      <a:lnTo>
                        <a:pt x="12" y="34"/>
                      </a:lnTo>
                      <a:lnTo>
                        <a:pt x="4" y="38"/>
                      </a:lnTo>
                      <a:lnTo>
                        <a:pt x="8" y="4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8" name="vMap : Croatia">
                  <a:extLst>
                    <a:ext uri="{FF2B5EF4-FFF2-40B4-BE49-F238E27FC236}">
                      <a16:creationId xmlns:a16="http://schemas.microsoft.com/office/drawing/2014/main" xmlns="" id="{D2DBA3DB-45E0-0644-BE3F-59C6AEC85336}"/>
                    </a:ext>
                  </a:extLst>
                </p:cNvPr>
                <p:cNvSpPr>
                  <a:spLocks noChangeAspect="1"/>
                </p:cNvSpPr>
                <p:nvPr>
                  <p:custDataLst>
                    <p:tags r:id="rId69"/>
                  </p:custDataLst>
                </p:nvPr>
              </p:nvSpPr>
              <p:spPr bwMode="gray">
                <a:xfrm>
                  <a:off x="4382405" y="3001330"/>
                  <a:ext cx="115617" cy="113515"/>
                </a:xfrm>
                <a:custGeom>
                  <a:avLst/>
                  <a:gdLst>
                    <a:gd name="T0" fmla="*/ 0 w 121"/>
                    <a:gd name="T1" fmla="*/ 15 h 117"/>
                    <a:gd name="T2" fmla="*/ 6 w 121"/>
                    <a:gd name="T3" fmla="*/ 13 h 117"/>
                    <a:gd name="T4" fmla="*/ 12 w 121"/>
                    <a:gd name="T5" fmla="*/ 15 h 117"/>
                    <a:gd name="T6" fmla="*/ 13 w 121"/>
                    <a:gd name="T7" fmla="*/ 6 h 117"/>
                    <a:gd name="T8" fmla="*/ 21 w 121"/>
                    <a:gd name="T9" fmla="*/ 0 h 117"/>
                    <a:gd name="T10" fmla="*/ 35 w 121"/>
                    <a:gd name="T11" fmla="*/ 10 h 117"/>
                    <a:gd name="T12" fmla="*/ 41 w 121"/>
                    <a:gd name="T13" fmla="*/ 9 h 117"/>
                    <a:gd name="T14" fmla="*/ 48 w 121"/>
                    <a:gd name="T15" fmla="*/ 16 h 117"/>
                    <a:gd name="T16" fmla="*/ 45 w 121"/>
                    <a:gd name="T17" fmla="*/ 19 h 117"/>
                    <a:gd name="T18" fmla="*/ 43 w 121"/>
                    <a:gd name="T19" fmla="*/ 19 h 117"/>
                    <a:gd name="T20" fmla="*/ 41 w 121"/>
                    <a:gd name="T21" fmla="*/ 16 h 117"/>
                    <a:gd name="T22" fmla="*/ 27 w 121"/>
                    <a:gd name="T23" fmla="*/ 15 h 117"/>
                    <a:gd name="T24" fmla="*/ 23 w 121"/>
                    <a:gd name="T25" fmla="*/ 17 h 117"/>
                    <a:gd name="T26" fmla="*/ 18 w 121"/>
                    <a:gd name="T27" fmla="*/ 15 h 117"/>
                    <a:gd name="T28" fmla="*/ 16 w 121"/>
                    <a:gd name="T29" fmla="*/ 19 h 117"/>
                    <a:gd name="T30" fmla="*/ 19 w 121"/>
                    <a:gd name="T31" fmla="*/ 21 h 117"/>
                    <a:gd name="T32" fmla="*/ 23 w 121"/>
                    <a:gd name="T33" fmla="*/ 26 h 117"/>
                    <a:gd name="T34" fmla="*/ 31 w 121"/>
                    <a:gd name="T35" fmla="*/ 36 h 117"/>
                    <a:gd name="T36" fmla="*/ 36 w 121"/>
                    <a:gd name="T37" fmla="*/ 40 h 117"/>
                    <a:gd name="T38" fmla="*/ 41 w 121"/>
                    <a:gd name="T39" fmla="*/ 46 h 117"/>
                    <a:gd name="T40" fmla="*/ 28 w 121"/>
                    <a:gd name="T41" fmla="*/ 40 h 117"/>
                    <a:gd name="T42" fmla="*/ 33 w 121"/>
                    <a:gd name="T43" fmla="*/ 40 h 117"/>
                    <a:gd name="T44" fmla="*/ 27 w 121"/>
                    <a:gd name="T45" fmla="*/ 36 h 117"/>
                    <a:gd name="T46" fmla="*/ 19 w 121"/>
                    <a:gd name="T47" fmla="*/ 34 h 117"/>
                    <a:gd name="T48" fmla="*/ 7 w 121"/>
                    <a:gd name="T49" fmla="*/ 16 h 117"/>
                    <a:gd name="T50" fmla="*/ 0 w 121"/>
                    <a:gd name="T51" fmla="*/ 19 h 117"/>
                    <a:gd name="T52" fmla="*/ 0 w 121"/>
                    <a:gd name="T53" fmla="*/ 15 h 1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21" h="117">
                      <a:moveTo>
                        <a:pt x="0" y="38"/>
                      </a:moveTo>
                      <a:lnTo>
                        <a:pt x="14" y="34"/>
                      </a:lnTo>
                      <a:lnTo>
                        <a:pt x="30" y="38"/>
                      </a:lnTo>
                      <a:lnTo>
                        <a:pt x="34" y="14"/>
                      </a:lnTo>
                      <a:lnTo>
                        <a:pt x="54" y="0"/>
                      </a:lnTo>
                      <a:lnTo>
                        <a:pt x="87" y="26"/>
                      </a:lnTo>
                      <a:lnTo>
                        <a:pt x="105" y="22"/>
                      </a:lnTo>
                      <a:lnTo>
                        <a:pt x="121" y="41"/>
                      </a:lnTo>
                      <a:lnTo>
                        <a:pt x="113" y="49"/>
                      </a:lnTo>
                      <a:lnTo>
                        <a:pt x="109" y="49"/>
                      </a:lnTo>
                      <a:lnTo>
                        <a:pt x="105" y="41"/>
                      </a:lnTo>
                      <a:lnTo>
                        <a:pt x="68" y="38"/>
                      </a:lnTo>
                      <a:lnTo>
                        <a:pt x="58" y="45"/>
                      </a:lnTo>
                      <a:lnTo>
                        <a:pt x="46" y="38"/>
                      </a:lnTo>
                      <a:lnTo>
                        <a:pt x="42" y="49"/>
                      </a:lnTo>
                      <a:lnTo>
                        <a:pt x="50" y="55"/>
                      </a:lnTo>
                      <a:lnTo>
                        <a:pt x="58" y="67"/>
                      </a:lnTo>
                      <a:lnTo>
                        <a:pt x="79" y="91"/>
                      </a:lnTo>
                      <a:lnTo>
                        <a:pt x="91" y="103"/>
                      </a:lnTo>
                      <a:lnTo>
                        <a:pt x="103" y="117"/>
                      </a:lnTo>
                      <a:lnTo>
                        <a:pt x="71" y="103"/>
                      </a:lnTo>
                      <a:lnTo>
                        <a:pt x="83" y="103"/>
                      </a:lnTo>
                      <a:lnTo>
                        <a:pt x="68" y="91"/>
                      </a:lnTo>
                      <a:lnTo>
                        <a:pt x="50" y="87"/>
                      </a:lnTo>
                      <a:lnTo>
                        <a:pt x="18" y="41"/>
                      </a:lnTo>
                      <a:lnTo>
                        <a:pt x="0" y="49"/>
                      </a:lnTo>
                      <a:lnTo>
                        <a:pt x="0" y="3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59" name="vMap : Bosnia &amp; Herzegovina">
                  <a:extLst>
                    <a:ext uri="{FF2B5EF4-FFF2-40B4-BE49-F238E27FC236}">
                      <a16:creationId xmlns:a16="http://schemas.microsoft.com/office/drawing/2014/main" xmlns="" id="{D2A29FB6-5653-E944-8EC0-C41B2D73A247}"/>
                    </a:ext>
                  </a:extLst>
                </p:cNvPr>
                <p:cNvSpPr>
                  <a:spLocks noChangeAspect="1"/>
                </p:cNvSpPr>
                <p:nvPr>
                  <p:custDataLst>
                    <p:tags r:id="rId70"/>
                  </p:custDataLst>
                </p:nvPr>
              </p:nvSpPr>
              <p:spPr bwMode="gray">
                <a:xfrm>
                  <a:off x="4423480" y="3037094"/>
                  <a:ext cx="77586" cy="77750"/>
                </a:xfrm>
                <a:custGeom>
                  <a:avLst/>
                  <a:gdLst>
                    <a:gd name="T0" fmla="*/ 23 w 83"/>
                    <a:gd name="T1" fmla="*/ 32 h 79"/>
                    <a:gd name="T2" fmla="*/ 18 w 83"/>
                    <a:gd name="T3" fmla="*/ 26 h 79"/>
                    <a:gd name="T4" fmla="*/ 14 w 83"/>
                    <a:gd name="T5" fmla="*/ 22 h 79"/>
                    <a:gd name="T6" fmla="*/ 6 w 83"/>
                    <a:gd name="T7" fmla="*/ 11 h 79"/>
                    <a:gd name="T8" fmla="*/ 3 w 83"/>
                    <a:gd name="T9" fmla="*/ 7 h 79"/>
                    <a:gd name="T10" fmla="*/ 0 w 83"/>
                    <a:gd name="T11" fmla="*/ 4 h 79"/>
                    <a:gd name="T12" fmla="*/ 1 w 83"/>
                    <a:gd name="T13" fmla="*/ 0 h 79"/>
                    <a:gd name="T14" fmla="*/ 6 w 83"/>
                    <a:gd name="T15" fmla="*/ 3 h 79"/>
                    <a:gd name="T16" fmla="*/ 10 w 83"/>
                    <a:gd name="T17" fmla="*/ 0 h 79"/>
                    <a:gd name="T18" fmla="*/ 24 w 83"/>
                    <a:gd name="T19" fmla="*/ 1 h 79"/>
                    <a:gd name="T20" fmla="*/ 25 w 83"/>
                    <a:gd name="T21" fmla="*/ 4 h 79"/>
                    <a:gd name="T22" fmla="*/ 27 w 83"/>
                    <a:gd name="T23" fmla="*/ 4 h 79"/>
                    <a:gd name="T24" fmla="*/ 30 w 83"/>
                    <a:gd name="T25" fmla="*/ 4 h 79"/>
                    <a:gd name="T26" fmla="*/ 28 w 83"/>
                    <a:gd name="T27" fmla="*/ 11 h 79"/>
                    <a:gd name="T28" fmla="*/ 31 w 83"/>
                    <a:gd name="T29" fmla="*/ 13 h 79"/>
                    <a:gd name="T30" fmla="*/ 28 w 83"/>
                    <a:gd name="T31" fmla="*/ 20 h 79"/>
                    <a:gd name="T32" fmla="*/ 27 w 83"/>
                    <a:gd name="T33" fmla="*/ 20 h 79"/>
                    <a:gd name="T34" fmla="*/ 24 w 83"/>
                    <a:gd name="T35" fmla="*/ 20 h 79"/>
                    <a:gd name="T36" fmla="*/ 25 w 83"/>
                    <a:gd name="T37" fmla="*/ 25 h 79"/>
                    <a:gd name="T38" fmla="*/ 23 w 83"/>
                    <a:gd name="T39" fmla="*/ 32 h 7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3" h="79">
                      <a:moveTo>
                        <a:pt x="61" y="79"/>
                      </a:moveTo>
                      <a:lnTo>
                        <a:pt x="49" y="65"/>
                      </a:lnTo>
                      <a:lnTo>
                        <a:pt x="37" y="53"/>
                      </a:lnTo>
                      <a:lnTo>
                        <a:pt x="16" y="29"/>
                      </a:lnTo>
                      <a:lnTo>
                        <a:pt x="8" y="17"/>
                      </a:lnTo>
                      <a:lnTo>
                        <a:pt x="0" y="11"/>
                      </a:lnTo>
                      <a:lnTo>
                        <a:pt x="4" y="0"/>
                      </a:lnTo>
                      <a:lnTo>
                        <a:pt x="16" y="7"/>
                      </a:lnTo>
                      <a:lnTo>
                        <a:pt x="26" y="0"/>
                      </a:lnTo>
                      <a:lnTo>
                        <a:pt x="63" y="3"/>
                      </a:lnTo>
                      <a:lnTo>
                        <a:pt x="67" y="11"/>
                      </a:lnTo>
                      <a:lnTo>
                        <a:pt x="71" y="11"/>
                      </a:lnTo>
                      <a:lnTo>
                        <a:pt x="79" y="11"/>
                      </a:lnTo>
                      <a:lnTo>
                        <a:pt x="75" y="29"/>
                      </a:lnTo>
                      <a:lnTo>
                        <a:pt x="83" y="33"/>
                      </a:lnTo>
                      <a:lnTo>
                        <a:pt x="75" y="49"/>
                      </a:lnTo>
                      <a:lnTo>
                        <a:pt x="71" y="49"/>
                      </a:lnTo>
                      <a:lnTo>
                        <a:pt x="63" y="49"/>
                      </a:lnTo>
                      <a:lnTo>
                        <a:pt x="67" y="61"/>
                      </a:lnTo>
                      <a:lnTo>
                        <a:pt x="61" y="7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0" name="vMap : Albania">
                  <a:extLst>
                    <a:ext uri="{FF2B5EF4-FFF2-40B4-BE49-F238E27FC236}">
                      <a16:creationId xmlns:a16="http://schemas.microsoft.com/office/drawing/2014/main" xmlns="" id="{32D86615-F39C-764E-BDED-23807391E619}"/>
                    </a:ext>
                  </a:extLst>
                </p:cNvPr>
                <p:cNvSpPr>
                  <a:spLocks noChangeAspect="1"/>
                </p:cNvSpPr>
                <p:nvPr>
                  <p:custDataLst>
                    <p:tags r:id="rId71"/>
                  </p:custDataLst>
                </p:nvPr>
              </p:nvSpPr>
              <p:spPr bwMode="gray">
                <a:xfrm>
                  <a:off x="4498022" y="3107070"/>
                  <a:ext cx="38033" cy="82415"/>
                </a:xfrm>
                <a:custGeom>
                  <a:avLst/>
                  <a:gdLst>
                    <a:gd name="T0" fmla="*/ 15 w 42"/>
                    <a:gd name="T1" fmla="*/ 19 h 86"/>
                    <a:gd name="T2" fmla="*/ 8 w 42"/>
                    <a:gd name="T3" fmla="*/ 33 h 86"/>
                    <a:gd name="T4" fmla="*/ 1 w 42"/>
                    <a:gd name="T5" fmla="*/ 23 h 86"/>
                    <a:gd name="T6" fmla="*/ 3 w 42"/>
                    <a:gd name="T7" fmla="*/ 10 h 86"/>
                    <a:gd name="T8" fmla="*/ 0 w 42"/>
                    <a:gd name="T9" fmla="*/ 9 h 86"/>
                    <a:gd name="T10" fmla="*/ 4 w 42"/>
                    <a:gd name="T11" fmla="*/ 0 h 86"/>
                    <a:gd name="T12" fmla="*/ 7 w 42"/>
                    <a:gd name="T13" fmla="*/ 1 h 86"/>
                    <a:gd name="T14" fmla="*/ 11 w 42"/>
                    <a:gd name="T15" fmla="*/ 6 h 86"/>
                    <a:gd name="T16" fmla="*/ 11 w 42"/>
                    <a:gd name="T17" fmla="*/ 14 h 86"/>
                    <a:gd name="T18" fmla="*/ 15 w 42"/>
                    <a:gd name="T19" fmla="*/ 19 h 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86">
                      <a:moveTo>
                        <a:pt x="42" y="50"/>
                      </a:moveTo>
                      <a:lnTo>
                        <a:pt x="24" y="86"/>
                      </a:lnTo>
                      <a:lnTo>
                        <a:pt x="4" y="62"/>
                      </a:lnTo>
                      <a:lnTo>
                        <a:pt x="8" y="28"/>
                      </a:lnTo>
                      <a:lnTo>
                        <a:pt x="0" y="24"/>
                      </a:lnTo>
                      <a:lnTo>
                        <a:pt x="12" y="0"/>
                      </a:lnTo>
                      <a:lnTo>
                        <a:pt x="20" y="4"/>
                      </a:lnTo>
                      <a:lnTo>
                        <a:pt x="32" y="16"/>
                      </a:lnTo>
                      <a:lnTo>
                        <a:pt x="32" y="36"/>
                      </a:lnTo>
                      <a:lnTo>
                        <a:pt x="42" y="5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61" name="vMap : Greece">
                  <a:extLst>
                    <a:ext uri="{FF2B5EF4-FFF2-40B4-BE49-F238E27FC236}">
                      <a16:creationId xmlns:a16="http://schemas.microsoft.com/office/drawing/2014/main" xmlns="" id="{59A37B73-702A-A343-B7FC-C96DBD373224}"/>
                    </a:ext>
                  </a:extLst>
                </p:cNvPr>
                <p:cNvGrpSpPr/>
                <p:nvPr/>
              </p:nvGrpSpPr>
              <p:grpSpPr>
                <a:xfrm>
                  <a:off x="4519320" y="3133504"/>
                  <a:ext cx="135395" cy="180381"/>
                  <a:chOff x="5698536" y="1916568"/>
                  <a:chExt cx="221744" cy="295429"/>
                </a:xfrm>
                <a:solidFill>
                  <a:srgbClr val="0F4DBC"/>
                </a:solidFill>
              </p:grpSpPr>
              <p:sp>
                <p:nvSpPr>
                  <p:cNvPr id="815" name="vMap : Greece (Islands)">
                    <a:extLst>
                      <a:ext uri="{FF2B5EF4-FFF2-40B4-BE49-F238E27FC236}">
                        <a16:creationId xmlns:a16="http://schemas.microsoft.com/office/drawing/2014/main" xmlns="" id="{BE87367F-F028-1C4A-8E2C-9D9AF6939BAB}"/>
                      </a:ext>
                    </a:extLst>
                  </p:cNvPr>
                  <p:cNvSpPr>
                    <a:spLocks noChangeAspect="1"/>
                  </p:cNvSpPr>
                  <p:nvPr>
                    <p:custDataLst>
                      <p:tags r:id="rId310"/>
                    </p:custDataLst>
                  </p:nvPr>
                </p:nvSpPr>
                <p:spPr bwMode="gray">
                  <a:xfrm>
                    <a:off x="5823111" y="2181435"/>
                    <a:ext cx="97169" cy="30562"/>
                  </a:xfrm>
                  <a:custGeom>
                    <a:avLst/>
                    <a:gdLst>
                      <a:gd name="T0" fmla="*/ 13 w 62"/>
                      <a:gd name="T1" fmla="*/ 3 h 19"/>
                      <a:gd name="T2" fmla="*/ 0 w 62"/>
                      <a:gd name="T3" fmla="*/ 0 h 19"/>
                      <a:gd name="T4" fmla="*/ 0 w 62"/>
                      <a:gd name="T5" fmla="*/ 5 h 19"/>
                      <a:gd name="T6" fmla="*/ 23 w 62"/>
                      <a:gd name="T7" fmla="*/ 8 h 19"/>
                      <a:gd name="T8" fmla="*/ 25 w 62"/>
                      <a:gd name="T9" fmla="*/ 5 h 19"/>
                      <a:gd name="T10" fmla="*/ 13 w 62"/>
                      <a:gd name="T11" fmla="*/ 3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2" h="19">
                        <a:moveTo>
                          <a:pt x="34" y="8"/>
                        </a:moveTo>
                        <a:lnTo>
                          <a:pt x="0" y="0"/>
                        </a:lnTo>
                        <a:lnTo>
                          <a:pt x="0" y="12"/>
                        </a:lnTo>
                        <a:lnTo>
                          <a:pt x="58" y="19"/>
                        </a:lnTo>
                        <a:lnTo>
                          <a:pt x="62" y="12"/>
                        </a:lnTo>
                        <a:lnTo>
                          <a:pt x="34"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16" name="vMap : Greece (Islands)">
                    <a:extLst>
                      <a:ext uri="{FF2B5EF4-FFF2-40B4-BE49-F238E27FC236}">
                        <a16:creationId xmlns:a16="http://schemas.microsoft.com/office/drawing/2014/main" xmlns="" id="{F15F7CC1-0C4C-C049-94B0-6FA859D31F1B}"/>
                      </a:ext>
                    </a:extLst>
                  </p:cNvPr>
                  <p:cNvSpPr>
                    <a:spLocks noChangeAspect="1"/>
                  </p:cNvSpPr>
                  <p:nvPr>
                    <p:custDataLst>
                      <p:tags r:id="rId311"/>
                    </p:custDataLst>
                  </p:nvPr>
                </p:nvSpPr>
                <p:spPr bwMode="gray">
                  <a:xfrm>
                    <a:off x="5730926" y="2066830"/>
                    <a:ext cx="82220" cy="78951"/>
                  </a:xfrm>
                  <a:custGeom>
                    <a:avLst/>
                    <a:gdLst>
                      <a:gd name="T0" fmla="*/ 9 w 54"/>
                      <a:gd name="T1" fmla="*/ 0 h 50"/>
                      <a:gd name="T2" fmla="*/ 0 w 54"/>
                      <a:gd name="T3" fmla="*/ 4 h 50"/>
                      <a:gd name="T4" fmla="*/ 4 w 54"/>
                      <a:gd name="T5" fmla="*/ 10 h 50"/>
                      <a:gd name="T6" fmla="*/ 4 w 54"/>
                      <a:gd name="T7" fmla="*/ 15 h 50"/>
                      <a:gd name="T8" fmla="*/ 9 w 54"/>
                      <a:gd name="T9" fmla="*/ 13 h 50"/>
                      <a:gd name="T10" fmla="*/ 12 w 54"/>
                      <a:gd name="T11" fmla="*/ 19 h 50"/>
                      <a:gd name="T12" fmla="*/ 14 w 54"/>
                      <a:gd name="T13" fmla="*/ 16 h 50"/>
                      <a:gd name="T14" fmla="*/ 17 w 54"/>
                      <a:gd name="T15" fmla="*/ 19 h 50"/>
                      <a:gd name="T16" fmla="*/ 14 w 54"/>
                      <a:gd name="T17" fmla="*/ 7 h 50"/>
                      <a:gd name="T18" fmla="*/ 17 w 54"/>
                      <a:gd name="T19" fmla="*/ 10 h 50"/>
                      <a:gd name="T20" fmla="*/ 20 w 54"/>
                      <a:gd name="T21" fmla="*/ 7 h 50"/>
                      <a:gd name="T22" fmla="*/ 9 w 54"/>
                      <a:gd name="T23" fmla="*/ 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4" h="50">
                        <a:moveTo>
                          <a:pt x="24" y="0"/>
                        </a:moveTo>
                        <a:lnTo>
                          <a:pt x="0" y="12"/>
                        </a:lnTo>
                        <a:lnTo>
                          <a:pt x="12" y="26"/>
                        </a:lnTo>
                        <a:lnTo>
                          <a:pt x="12" y="38"/>
                        </a:lnTo>
                        <a:lnTo>
                          <a:pt x="24" y="34"/>
                        </a:lnTo>
                        <a:lnTo>
                          <a:pt x="32" y="50"/>
                        </a:lnTo>
                        <a:lnTo>
                          <a:pt x="38" y="42"/>
                        </a:lnTo>
                        <a:lnTo>
                          <a:pt x="46" y="50"/>
                        </a:lnTo>
                        <a:lnTo>
                          <a:pt x="38" y="18"/>
                        </a:lnTo>
                        <a:lnTo>
                          <a:pt x="46" y="26"/>
                        </a:lnTo>
                        <a:lnTo>
                          <a:pt x="54" y="18"/>
                        </a:lnTo>
                        <a:lnTo>
                          <a:pt x="2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17" name="vMap : Greece (Mainland)">
                    <a:extLst>
                      <a:ext uri="{FF2B5EF4-FFF2-40B4-BE49-F238E27FC236}">
                        <a16:creationId xmlns:a16="http://schemas.microsoft.com/office/drawing/2014/main" xmlns="" id="{58B7AA83-0AE6-5D42-9CA4-D91EFEB4D9EB}"/>
                      </a:ext>
                    </a:extLst>
                  </p:cNvPr>
                  <p:cNvSpPr>
                    <a:spLocks noChangeAspect="1"/>
                  </p:cNvSpPr>
                  <p:nvPr>
                    <p:custDataLst>
                      <p:tags r:id="rId312"/>
                    </p:custDataLst>
                  </p:nvPr>
                </p:nvSpPr>
                <p:spPr bwMode="gray">
                  <a:xfrm>
                    <a:off x="5698536" y="1916568"/>
                    <a:ext cx="214268" cy="173182"/>
                  </a:xfrm>
                  <a:custGeom>
                    <a:avLst/>
                    <a:gdLst>
                      <a:gd name="T0" fmla="*/ 51 w 142"/>
                      <a:gd name="T1" fmla="*/ 0 h 110"/>
                      <a:gd name="T2" fmla="*/ 43 w 142"/>
                      <a:gd name="T3" fmla="*/ 4 h 110"/>
                      <a:gd name="T4" fmla="*/ 34 w 142"/>
                      <a:gd name="T5" fmla="*/ 1 h 110"/>
                      <a:gd name="T6" fmla="*/ 22 w 142"/>
                      <a:gd name="T7" fmla="*/ 3 h 110"/>
                      <a:gd name="T8" fmla="*/ 7 w 142"/>
                      <a:gd name="T9" fmla="*/ 9 h 110"/>
                      <a:gd name="T10" fmla="*/ 0 w 142"/>
                      <a:gd name="T11" fmla="*/ 22 h 110"/>
                      <a:gd name="T12" fmla="*/ 8 w 142"/>
                      <a:gd name="T13" fmla="*/ 29 h 110"/>
                      <a:gd name="T14" fmla="*/ 5 w 142"/>
                      <a:gd name="T15" fmla="*/ 29 h 110"/>
                      <a:gd name="T16" fmla="*/ 10 w 142"/>
                      <a:gd name="T17" fmla="*/ 35 h 110"/>
                      <a:gd name="T18" fmla="*/ 21 w 142"/>
                      <a:gd name="T19" fmla="*/ 35 h 110"/>
                      <a:gd name="T20" fmla="*/ 34 w 142"/>
                      <a:gd name="T21" fmla="*/ 42 h 110"/>
                      <a:gd name="T22" fmla="*/ 32 w 142"/>
                      <a:gd name="T23" fmla="*/ 36 h 110"/>
                      <a:gd name="T24" fmla="*/ 20 w 142"/>
                      <a:gd name="T25" fmla="*/ 29 h 110"/>
                      <a:gd name="T26" fmla="*/ 24 w 142"/>
                      <a:gd name="T27" fmla="*/ 29 h 110"/>
                      <a:gd name="T28" fmla="*/ 24 w 142"/>
                      <a:gd name="T29" fmla="*/ 25 h 110"/>
                      <a:gd name="T30" fmla="*/ 27 w 142"/>
                      <a:gd name="T31" fmla="*/ 26 h 110"/>
                      <a:gd name="T32" fmla="*/ 20 w 142"/>
                      <a:gd name="T33" fmla="*/ 17 h 110"/>
                      <a:gd name="T34" fmla="*/ 20 w 142"/>
                      <a:gd name="T35" fmla="*/ 12 h 110"/>
                      <a:gd name="T36" fmla="*/ 28 w 142"/>
                      <a:gd name="T37" fmla="*/ 19 h 110"/>
                      <a:gd name="T38" fmla="*/ 27 w 142"/>
                      <a:gd name="T39" fmla="*/ 16 h 110"/>
                      <a:gd name="T40" fmla="*/ 31 w 142"/>
                      <a:gd name="T41" fmla="*/ 19 h 110"/>
                      <a:gd name="T42" fmla="*/ 31 w 142"/>
                      <a:gd name="T43" fmla="*/ 14 h 110"/>
                      <a:gd name="T44" fmla="*/ 34 w 142"/>
                      <a:gd name="T45" fmla="*/ 16 h 110"/>
                      <a:gd name="T46" fmla="*/ 28 w 142"/>
                      <a:gd name="T47" fmla="*/ 12 h 110"/>
                      <a:gd name="T48" fmla="*/ 34 w 142"/>
                      <a:gd name="T49" fmla="*/ 9 h 110"/>
                      <a:gd name="T50" fmla="*/ 48 w 142"/>
                      <a:gd name="T51" fmla="*/ 10 h 110"/>
                      <a:gd name="T52" fmla="*/ 52 w 142"/>
                      <a:gd name="T53" fmla="*/ 3 h 110"/>
                      <a:gd name="T54" fmla="*/ 51 w 142"/>
                      <a:gd name="T55" fmla="*/ 0 h 1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42" h="110">
                        <a:moveTo>
                          <a:pt x="138" y="0"/>
                        </a:moveTo>
                        <a:lnTo>
                          <a:pt x="118" y="12"/>
                        </a:lnTo>
                        <a:lnTo>
                          <a:pt x="92" y="4"/>
                        </a:lnTo>
                        <a:lnTo>
                          <a:pt x="60" y="8"/>
                        </a:lnTo>
                        <a:lnTo>
                          <a:pt x="18" y="22"/>
                        </a:lnTo>
                        <a:lnTo>
                          <a:pt x="0" y="58"/>
                        </a:lnTo>
                        <a:lnTo>
                          <a:pt x="22" y="76"/>
                        </a:lnTo>
                        <a:lnTo>
                          <a:pt x="14" y="76"/>
                        </a:lnTo>
                        <a:lnTo>
                          <a:pt x="26" y="92"/>
                        </a:lnTo>
                        <a:lnTo>
                          <a:pt x="56" y="92"/>
                        </a:lnTo>
                        <a:lnTo>
                          <a:pt x="92" y="110"/>
                        </a:lnTo>
                        <a:lnTo>
                          <a:pt x="88" y="96"/>
                        </a:lnTo>
                        <a:lnTo>
                          <a:pt x="54" y="76"/>
                        </a:lnTo>
                        <a:lnTo>
                          <a:pt x="64" y="76"/>
                        </a:lnTo>
                        <a:lnTo>
                          <a:pt x="64" y="64"/>
                        </a:lnTo>
                        <a:lnTo>
                          <a:pt x="72" y="68"/>
                        </a:lnTo>
                        <a:lnTo>
                          <a:pt x="54" y="46"/>
                        </a:lnTo>
                        <a:lnTo>
                          <a:pt x="54" y="30"/>
                        </a:lnTo>
                        <a:lnTo>
                          <a:pt x="76" y="50"/>
                        </a:lnTo>
                        <a:lnTo>
                          <a:pt x="72" y="42"/>
                        </a:lnTo>
                        <a:lnTo>
                          <a:pt x="84" y="50"/>
                        </a:lnTo>
                        <a:lnTo>
                          <a:pt x="84" y="38"/>
                        </a:lnTo>
                        <a:lnTo>
                          <a:pt x="92" y="42"/>
                        </a:lnTo>
                        <a:lnTo>
                          <a:pt x="76" y="30"/>
                        </a:lnTo>
                        <a:lnTo>
                          <a:pt x="92" y="22"/>
                        </a:lnTo>
                        <a:lnTo>
                          <a:pt x="130" y="26"/>
                        </a:lnTo>
                        <a:lnTo>
                          <a:pt x="142" y="8"/>
                        </a:lnTo>
                        <a:lnTo>
                          <a:pt x="13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62" name="vMap : Romania">
                  <a:extLst>
                    <a:ext uri="{FF2B5EF4-FFF2-40B4-BE49-F238E27FC236}">
                      <a16:creationId xmlns:a16="http://schemas.microsoft.com/office/drawing/2014/main" xmlns="" id="{F091424C-A00F-764C-8342-AF0E7079553D}"/>
                    </a:ext>
                  </a:extLst>
                </p:cNvPr>
                <p:cNvSpPr>
                  <a:spLocks noChangeAspect="1"/>
                </p:cNvSpPr>
                <p:nvPr>
                  <p:custDataLst>
                    <p:tags r:id="rId72"/>
                  </p:custDataLst>
                </p:nvPr>
              </p:nvSpPr>
              <p:spPr bwMode="gray">
                <a:xfrm>
                  <a:off x="4516278" y="2964009"/>
                  <a:ext cx="185596" cy="118180"/>
                </a:xfrm>
                <a:custGeom>
                  <a:avLst/>
                  <a:gdLst>
                    <a:gd name="T0" fmla="*/ 69 w 201"/>
                    <a:gd name="T1" fmla="*/ 46 h 121"/>
                    <a:gd name="T2" fmla="*/ 55 w 201"/>
                    <a:gd name="T3" fmla="*/ 43 h 121"/>
                    <a:gd name="T4" fmla="*/ 42 w 201"/>
                    <a:gd name="T5" fmla="*/ 48 h 121"/>
                    <a:gd name="T6" fmla="*/ 22 w 201"/>
                    <a:gd name="T7" fmla="*/ 46 h 121"/>
                    <a:gd name="T8" fmla="*/ 21 w 201"/>
                    <a:gd name="T9" fmla="*/ 41 h 121"/>
                    <a:gd name="T10" fmla="*/ 18 w 201"/>
                    <a:gd name="T11" fmla="*/ 36 h 121"/>
                    <a:gd name="T12" fmla="*/ 10 w 201"/>
                    <a:gd name="T13" fmla="*/ 35 h 121"/>
                    <a:gd name="T14" fmla="*/ 0 w 201"/>
                    <a:gd name="T15" fmla="*/ 22 h 121"/>
                    <a:gd name="T16" fmla="*/ 5 w 201"/>
                    <a:gd name="T17" fmla="*/ 19 h 121"/>
                    <a:gd name="T18" fmla="*/ 13 w 201"/>
                    <a:gd name="T19" fmla="*/ 6 h 121"/>
                    <a:gd name="T20" fmla="*/ 18 w 201"/>
                    <a:gd name="T21" fmla="*/ 3 h 121"/>
                    <a:gd name="T22" fmla="*/ 35 w 201"/>
                    <a:gd name="T23" fmla="*/ 4 h 121"/>
                    <a:gd name="T24" fmla="*/ 49 w 201"/>
                    <a:gd name="T25" fmla="*/ 0 h 121"/>
                    <a:gd name="T26" fmla="*/ 62 w 201"/>
                    <a:gd name="T27" fmla="*/ 15 h 121"/>
                    <a:gd name="T28" fmla="*/ 63 w 201"/>
                    <a:gd name="T29" fmla="*/ 28 h 121"/>
                    <a:gd name="T30" fmla="*/ 74 w 201"/>
                    <a:gd name="T31" fmla="*/ 30 h 121"/>
                    <a:gd name="T32" fmla="*/ 74 w 201"/>
                    <a:gd name="T33" fmla="*/ 36 h 121"/>
                    <a:gd name="T34" fmla="*/ 70 w 201"/>
                    <a:gd name="T35" fmla="*/ 38 h 121"/>
                    <a:gd name="T36" fmla="*/ 69 w 201"/>
                    <a:gd name="T37" fmla="*/ 46 h 1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01" h="121">
                      <a:moveTo>
                        <a:pt x="187" y="117"/>
                      </a:moveTo>
                      <a:lnTo>
                        <a:pt x="150" y="109"/>
                      </a:lnTo>
                      <a:lnTo>
                        <a:pt x="114" y="121"/>
                      </a:lnTo>
                      <a:lnTo>
                        <a:pt x="60" y="117"/>
                      </a:lnTo>
                      <a:lnTo>
                        <a:pt x="58" y="105"/>
                      </a:lnTo>
                      <a:lnTo>
                        <a:pt x="50" y="93"/>
                      </a:lnTo>
                      <a:lnTo>
                        <a:pt x="26" y="87"/>
                      </a:lnTo>
                      <a:lnTo>
                        <a:pt x="0" y="56"/>
                      </a:lnTo>
                      <a:lnTo>
                        <a:pt x="14" y="48"/>
                      </a:lnTo>
                      <a:lnTo>
                        <a:pt x="34" y="14"/>
                      </a:lnTo>
                      <a:lnTo>
                        <a:pt x="50" y="6"/>
                      </a:lnTo>
                      <a:lnTo>
                        <a:pt x="96" y="10"/>
                      </a:lnTo>
                      <a:lnTo>
                        <a:pt x="134" y="0"/>
                      </a:lnTo>
                      <a:lnTo>
                        <a:pt x="168" y="38"/>
                      </a:lnTo>
                      <a:lnTo>
                        <a:pt x="172" y="72"/>
                      </a:lnTo>
                      <a:lnTo>
                        <a:pt x="201" y="76"/>
                      </a:lnTo>
                      <a:lnTo>
                        <a:pt x="201" y="91"/>
                      </a:lnTo>
                      <a:lnTo>
                        <a:pt x="191" y="97"/>
                      </a:lnTo>
                      <a:lnTo>
                        <a:pt x="187" y="117"/>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3" name="vMap : Serbia">
                  <a:extLst>
                    <a:ext uri="{FF2B5EF4-FFF2-40B4-BE49-F238E27FC236}">
                      <a16:creationId xmlns:a16="http://schemas.microsoft.com/office/drawing/2014/main" xmlns="" id="{98CD7608-D3DB-1E4A-8F52-E29623A377AB}"/>
                    </a:ext>
                  </a:extLst>
                </p:cNvPr>
                <p:cNvSpPr>
                  <a:spLocks noChangeAspect="1"/>
                </p:cNvSpPr>
                <p:nvPr>
                  <p:custDataLst>
                    <p:tags r:id="rId73"/>
                  </p:custDataLst>
                </p:nvPr>
              </p:nvSpPr>
              <p:spPr bwMode="gray">
                <a:xfrm>
                  <a:off x="4481289" y="3018435"/>
                  <a:ext cx="86714" cy="111960"/>
                </a:xfrm>
                <a:custGeom>
                  <a:avLst/>
                  <a:gdLst>
                    <a:gd name="T0" fmla="*/ 4 w 94"/>
                    <a:gd name="T1" fmla="*/ 27 h 115"/>
                    <a:gd name="T2" fmla="*/ 7 w 94"/>
                    <a:gd name="T3" fmla="*/ 21 h 115"/>
                    <a:gd name="T4" fmla="*/ 4 w 94"/>
                    <a:gd name="T5" fmla="*/ 19 h 115"/>
                    <a:gd name="T6" fmla="*/ 6 w 94"/>
                    <a:gd name="T7" fmla="*/ 12 h 115"/>
                    <a:gd name="T8" fmla="*/ 3 w 94"/>
                    <a:gd name="T9" fmla="*/ 12 h 115"/>
                    <a:gd name="T10" fmla="*/ 6 w 94"/>
                    <a:gd name="T11" fmla="*/ 9 h 115"/>
                    <a:gd name="T12" fmla="*/ 0 w 94"/>
                    <a:gd name="T13" fmla="*/ 2 h 115"/>
                    <a:gd name="T14" fmla="*/ 13 w 94"/>
                    <a:gd name="T15" fmla="*/ 0 h 115"/>
                    <a:gd name="T16" fmla="*/ 23 w 94"/>
                    <a:gd name="T17" fmla="*/ 12 h 115"/>
                    <a:gd name="T18" fmla="*/ 32 w 94"/>
                    <a:gd name="T19" fmla="*/ 14 h 115"/>
                    <a:gd name="T20" fmla="*/ 35 w 94"/>
                    <a:gd name="T21" fmla="*/ 19 h 115"/>
                    <a:gd name="T22" fmla="*/ 32 w 94"/>
                    <a:gd name="T23" fmla="*/ 24 h 115"/>
                    <a:gd name="T24" fmla="*/ 35 w 94"/>
                    <a:gd name="T25" fmla="*/ 32 h 115"/>
                    <a:gd name="T26" fmla="*/ 33 w 94"/>
                    <a:gd name="T27" fmla="*/ 37 h 115"/>
                    <a:gd name="T28" fmla="*/ 32 w 94"/>
                    <a:gd name="T29" fmla="*/ 37 h 115"/>
                    <a:gd name="T30" fmla="*/ 21 w 94"/>
                    <a:gd name="T31" fmla="*/ 40 h 115"/>
                    <a:gd name="T32" fmla="*/ 18 w 94"/>
                    <a:gd name="T33" fmla="*/ 45 h 115"/>
                    <a:gd name="T34" fmla="*/ 18 w 94"/>
                    <a:gd name="T35" fmla="*/ 42 h 115"/>
                    <a:gd name="T36" fmla="*/ 13 w 94"/>
                    <a:gd name="T37" fmla="*/ 37 h 115"/>
                    <a:gd name="T38" fmla="*/ 15 w 94"/>
                    <a:gd name="T39" fmla="*/ 34 h 115"/>
                    <a:gd name="T40" fmla="*/ 4 w 94"/>
                    <a:gd name="T41" fmla="*/ 29 h 115"/>
                    <a:gd name="T42" fmla="*/ 4 w 94"/>
                    <a:gd name="T43" fmla="*/ 27 h 11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4" h="115">
                      <a:moveTo>
                        <a:pt x="12" y="69"/>
                      </a:moveTo>
                      <a:lnTo>
                        <a:pt x="20" y="53"/>
                      </a:lnTo>
                      <a:lnTo>
                        <a:pt x="12" y="49"/>
                      </a:lnTo>
                      <a:lnTo>
                        <a:pt x="16" y="31"/>
                      </a:lnTo>
                      <a:lnTo>
                        <a:pt x="8" y="31"/>
                      </a:lnTo>
                      <a:lnTo>
                        <a:pt x="16" y="23"/>
                      </a:lnTo>
                      <a:lnTo>
                        <a:pt x="0" y="4"/>
                      </a:lnTo>
                      <a:lnTo>
                        <a:pt x="36" y="0"/>
                      </a:lnTo>
                      <a:lnTo>
                        <a:pt x="62" y="31"/>
                      </a:lnTo>
                      <a:lnTo>
                        <a:pt x="86" y="37"/>
                      </a:lnTo>
                      <a:lnTo>
                        <a:pt x="94" y="49"/>
                      </a:lnTo>
                      <a:lnTo>
                        <a:pt x="86" y="61"/>
                      </a:lnTo>
                      <a:lnTo>
                        <a:pt x="94" y="81"/>
                      </a:lnTo>
                      <a:lnTo>
                        <a:pt x="90" y="95"/>
                      </a:lnTo>
                      <a:lnTo>
                        <a:pt x="86" y="95"/>
                      </a:lnTo>
                      <a:lnTo>
                        <a:pt x="58" y="103"/>
                      </a:lnTo>
                      <a:lnTo>
                        <a:pt x="48" y="115"/>
                      </a:lnTo>
                      <a:lnTo>
                        <a:pt x="48" y="107"/>
                      </a:lnTo>
                      <a:lnTo>
                        <a:pt x="36" y="95"/>
                      </a:lnTo>
                      <a:lnTo>
                        <a:pt x="40" y="87"/>
                      </a:lnTo>
                      <a:lnTo>
                        <a:pt x="12" y="73"/>
                      </a:lnTo>
                      <a:lnTo>
                        <a:pt x="12" y="6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4" name="vMap : Bulgaria">
                  <a:extLst>
                    <a:ext uri="{FF2B5EF4-FFF2-40B4-BE49-F238E27FC236}">
                      <a16:creationId xmlns:a16="http://schemas.microsoft.com/office/drawing/2014/main" xmlns="" id="{F4E6EF34-7C94-8744-9AEF-FCE99245B80A}"/>
                    </a:ext>
                  </a:extLst>
                </p:cNvPr>
                <p:cNvSpPr>
                  <a:spLocks noChangeAspect="1"/>
                </p:cNvSpPr>
                <p:nvPr>
                  <p:custDataLst>
                    <p:tags r:id="rId74"/>
                  </p:custDataLst>
                </p:nvPr>
              </p:nvSpPr>
              <p:spPr bwMode="gray">
                <a:xfrm>
                  <a:off x="4561916" y="3068194"/>
                  <a:ext cx="127788" cy="77750"/>
                </a:xfrm>
                <a:custGeom>
                  <a:avLst/>
                  <a:gdLst>
                    <a:gd name="T0" fmla="*/ 1 w 137"/>
                    <a:gd name="T1" fmla="*/ 17 h 82"/>
                    <a:gd name="T2" fmla="*/ 0 w 137"/>
                    <a:gd name="T3" fmla="*/ 20 h 82"/>
                    <a:gd name="T4" fmla="*/ 6 w 137"/>
                    <a:gd name="T5" fmla="*/ 29 h 82"/>
                    <a:gd name="T6" fmla="*/ 17 w 137"/>
                    <a:gd name="T7" fmla="*/ 27 h 82"/>
                    <a:gd name="T8" fmla="*/ 27 w 137"/>
                    <a:gd name="T9" fmla="*/ 30 h 82"/>
                    <a:gd name="T10" fmla="*/ 34 w 137"/>
                    <a:gd name="T11" fmla="*/ 26 h 82"/>
                    <a:gd name="T12" fmla="*/ 47 w 137"/>
                    <a:gd name="T13" fmla="*/ 24 h 82"/>
                    <a:gd name="T14" fmla="*/ 43 w 137"/>
                    <a:gd name="T15" fmla="*/ 18 h 82"/>
                    <a:gd name="T16" fmla="*/ 52 w 137"/>
                    <a:gd name="T17" fmla="*/ 4 h 82"/>
                    <a:gd name="T18" fmla="*/ 37 w 137"/>
                    <a:gd name="T19" fmla="*/ 1 h 82"/>
                    <a:gd name="T20" fmla="*/ 24 w 137"/>
                    <a:gd name="T21" fmla="*/ 6 h 82"/>
                    <a:gd name="T22" fmla="*/ 4 w 137"/>
                    <a:gd name="T23" fmla="*/ 4 h 82"/>
                    <a:gd name="T24" fmla="*/ 3 w 137"/>
                    <a:gd name="T25" fmla="*/ 0 h 82"/>
                    <a:gd name="T26" fmla="*/ 0 w 137"/>
                    <a:gd name="T27" fmla="*/ 4 h 82"/>
                    <a:gd name="T28" fmla="*/ 3 w 137"/>
                    <a:gd name="T29" fmla="*/ 12 h 82"/>
                    <a:gd name="T30" fmla="*/ 1 w 137"/>
                    <a:gd name="T31" fmla="*/ 17 h 8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7" h="82">
                      <a:moveTo>
                        <a:pt x="4" y="46"/>
                      </a:moveTo>
                      <a:lnTo>
                        <a:pt x="0" y="54"/>
                      </a:lnTo>
                      <a:lnTo>
                        <a:pt x="14" y="78"/>
                      </a:lnTo>
                      <a:lnTo>
                        <a:pt x="46" y="74"/>
                      </a:lnTo>
                      <a:lnTo>
                        <a:pt x="72" y="82"/>
                      </a:lnTo>
                      <a:lnTo>
                        <a:pt x="92" y="70"/>
                      </a:lnTo>
                      <a:lnTo>
                        <a:pt x="125" y="66"/>
                      </a:lnTo>
                      <a:lnTo>
                        <a:pt x="114" y="50"/>
                      </a:lnTo>
                      <a:lnTo>
                        <a:pt x="137" y="12"/>
                      </a:lnTo>
                      <a:lnTo>
                        <a:pt x="100" y="4"/>
                      </a:lnTo>
                      <a:lnTo>
                        <a:pt x="64" y="16"/>
                      </a:lnTo>
                      <a:lnTo>
                        <a:pt x="10" y="12"/>
                      </a:lnTo>
                      <a:lnTo>
                        <a:pt x="8" y="0"/>
                      </a:lnTo>
                      <a:lnTo>
                        <a:pt x="0" y="12"/>
                      </a:lnTo>
                      <a:lnTo>
                        <a:pt x="8" y="32"/>
                      </a:lnTo>
                      <a:lnTo>
                        <a:pt x="4" y="4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5" name="vMap : Macedonia">
                  <a:extLst>
                    <a:ext uri="{FF2B5EF4-FFF2-40B4-BE49-F238E27FC236}">
                      <a16:creationId xmlns:a16="http://schemas.microsoft.com/office/drawing/2014/main" xmlns="" id="{57B0E818-CF5B-214E-90FA-DFBBCDE9FC0C}"/>
                    </a:ext>
                  </a:extLst>
                </p:cNvPr>
                <p:cNvSpPr>
                  <a:spLocks noChangeAspect="1"/>
                </p:cNvSpPr>
                <p:nvPr>
                  <p:custDataLst>
                    <p:tags r:id="rId75"/>
                  </p:custDataLst>
                </p:nvPr>
              </p:nvSpPr>
              <p:spPr bwMode="gray">
                <a:xfrm>
                  <a:off x="4526927" y="3110179"/>
                  <a:ext cx="47160" cy="43541"/>
                </a:xfrm>
                <a:custGeom>
                  <a:avLst/>
                  <a:gdLst>
                    <a:gd name="T0" fmla="*/ 0 w 52"/>
                    <a:gd name="T1" fmla="*/ 7 h 46"/>
                    <a:gd name="T2" fmla="*/ 4 w 52"/>
                    <a:gd name="T3" fmla="*/ 3 h 46"/>
                    <a:gd name="T4" fmla="*/ 14 w 52"/>
                    <a:gd name="T5" fmla="*/ 0 h 46"/>
                    <a:gd name="T6" fmla="*/ 15 w 52"/>
                    <a:gd name="T7" fmla="*/ 0 h 46"/>
                    <a:gd name="T8" fmla="*/ 14 w 52"/>
                    <a:gd name="T9" fmla="*/ 3 h 46"/>
                    <a:gd name="T10" fmla="*/ 18 w 52"/>
                    <a:gd name="T11" fmla="*/ 12 h 46"/>
                    <a:gd name="T12" fmla="*/ 4 w 52"/>
                    <a:gd name="T13" fmla="*/ 17 h 46"/>
                    <a:gd name="T14" fmla="*/ 0 w 52"/>
                    <a:gd name="T15" fmla="*/ 12 h 46"/>
                    <a:gd name="T16" fmla="*/ 0 w 52"/>
                    <a:gd name="T17" fmla="*/ 7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2" h="46">
                      <a:moveTo>
                        <a:pt x="0" y="20"/>
                      </a:moveTo>
                      <a:lnTo>
                        <a:pt x="10" y="8"/>
                      </a:lnTo>
                      <a:lnTo>
                        <a:pt x="38" y="0"/>
                      </a:lnTo>
                      <a:lnTo>
                        <a:pt x="42" y="0"/>
                      </a:lnTo>
                      <a:lnTo>
                        <a:pt x="38" y="8"/>
                      </a:lnTo>
                      <a:lnTo>
                        <a:pt x="52" y="32"/>
                      </a:lnTo>
                      <a:lnTo>
                        <a:pt x="10" y="46"/>
                      </a:lnTo>
                      <a:lnTo>
                        <a:pt x="0" y="32"/>
                      </a:lnTo>
                      <a:lnTo>
                        <a:pt x="0" y="2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6" name="vMap : Moldova">
                  <a:extLst>
                    <a:ext uri="{FF2B5EF4-FFF2-40B4-BE49-F238E27FC236}">
                      <a16:creationId xmlns:a16="http://schemas.microsoft.com/office/drawing/2014/main" xmlns="" id="{BA200364-72DB-8446-AE89-E942B8B701CB}"/>
                    </a:ext>
                  </a:extLst>
                </p:cNvPr>
                <p:cNvSpPr>
                  <a:spLocks noChangeAspect="1"/>
                </p:cNvSpPr>
                <p:nvPr>
                  <p:custDataLst>
                    <p:tags r:id="rId76"/>
                  </p:custDataLst>
                </p:nvPr>
              </p:nvSpPr>
              <p:spPr bwMode="gray">
                <a:xfrm>
                  <a:off x="4639502" y="2959345"/>
                  <a:ext cx="69979" cy="76195"/>
                </a:xfrm>
                <a:custGeom>
                  <a:avLst/>
                  <a:gdLst>
                    <a:gd name="T0" fmla="*/ 0 w 75"/>
                    <a:gd name="T1" fmla="*/ 3 h 80"/>
                    <a:gd name="T2" fmla="*/ 13 w 75"/>
                    <a:gd name="T3" fmla="*/ 17 h 80"/>
                    <a:gd name="T4" fmla="*/ 14 w 75"/>
                    <a:gd name="T5" fmla="*/ 30 h 80"/>
                    <a:gd name="T6" fmla="*/ 17 w 75"/>
                    <a:gd name="T7" fmla="*/ 29 h 80"/>
                    <a:gd name="T8" fmla="*/ 18 w 75"/>
                    <a:gd name="T9" fmla="*/ 27 h 80"/>
                    <a:gd name="T10" fmla="*/ 21 w 75"/>
                    <a:gd name="T11" fmla="*/ 24 h 80"/>
                    <a:gd name="T12" fmla="*/ 21 w 75"/>
                    <a:gd name="T13" fmla="*/ 20 h 80"/>
                    <a:gd name="T14" fmla="*/ 28 w 75"/>
                    <a:gd name="T15" fmla="*/ 20 h 80"/>
                    <a:gd name="T16" fmla="*/ 28 w 75"/>
                    <a:gd name="T17" fmla="*/ 17 h 80"/>
                    <a:gd name="T18" fmla="*/ 25 w 75"/>
                    <a:gd name="T19" fmla="*/ 14 h 80"/>
                    <a:gd name="T20" fmla="*/ 25 w 75"/>
                    <a:gd name="T21" fmla="*/ 11 h 80"/>
                    <a:gd name="T22" fmla="*/ 21 w 75"/>
                    <a:gd name="T23" fmla="*/ 8 h 80"/>
                    <a:gd name="T24" fmla="*/ 20 w 75"/>
                    <a:gd name="T25" fmla="*/ 4 h 80"/>
                    <a:gd name="T26" fmla="*/ 13 w 75"/>
                    <a:gd name="T27" fmla="*/ 3 h 80"/>
                    <a:gd name="T28" fmla="*/ 7 w 75"/>
                    <a:gd name="T29" fmla="*/ 0 h 80"/>
                    <a:gd name="T30" fmla="*/ 1 w 75"/>
                    <a:gd name="T31" fmla="*/ 0 h 80"/>
                    <a:gd name="T32" fmla="*/ 0 w 75"/>
                    <a:gd name="T33" fmla="*/ 3 h 8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5" h="80">
                      <a:moveTo>
                        <a:pt x="0" y="8"/>
                      </a:moveTo>
                      <a:lnTo>
                        <a:pt x="34" y="46"/>
                      </a:lnTo>
                      <a:lnTo>
                        <a:pt x="38" y="80"/>
                      </a:lnTo>
                      <a:lnTo>
                        <a:pt x="45" y="76"/>
                      </a:lnTo>
                      <a:lnTo>
                        <a:pt x="49" y="72"/>
                      </a:lnTo>
                      <a:lnTo>
                        <a:pt x="57" y="64"/>
                      </a:lnTo>
                      <a:lnTo>
                        <a:pt x="57" y="54"/>
                      </a:lnTo>
                      <a:lnTo>
                        <a:pt x="75" y="54"/>
                      </a:lnTo>
                      <a:lnTo>
                        <a:pt x="75" y="46"/>
                      </a:lnTo>
                      <a:lnTo>
                        <a:pt x="67" y="38"/>
                      </a:lnTo>
                      <a:lnTo>
                        <a:pt x="65" y="30"/>
                      </a:lnTo>
                      <a:lnTo>
                        <a:pt x="57" y="22"/>
                      </a:lnTo>
                      <a:lnTo>
                        <a:pt x="53" y="10"/>
                      </a:lnTo>
                      <a:lnTo>
                        <a:pt x="34" y="8"/>
                      </a:lnTo>
                      <a:lnTo>
                        <a:pt x="20" y="0"/>
                      </a:lnTo>
                      <a:lnTo>
                        <a:pt x="4" y="0"/>
                      </a:lnTo>
                      <a:lnTo>
                        <a:pt x="0"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7" name="vMap : Hungary">
                  <a:extLst>
                    <a:ext uri="{FF2B5EF4-FFF2-40B4-BE49-F238E27FC236}">
                      <a16:creationId xmlns:a16="http://schemas.microsoft.com/office/drawing/2014/main" xmlns="" id="{31F4CE8E-2248-2447-B1F0-FE8C1919B9EE}"/>
                    </a:ext>
                  </a:extLst>
                </p:cNvPr>
                <p:cNvSpPr>
                  <a:spLocks noChangeAspect="1"/>
                </p:cNvSpPr>
                <p:nvPr>
                  <p:custDataLst>
                    <p:tags r:id="rId77"/>
                  </p:custDataLst>
                </p:nvPr>
              </p:nvSpPr>
              <p:spPr bwMode="gray">
                <a:xfrm>
                  <a:off x="4429565" y="2959345"/>
                  <a:ext cx="132352" cy="66865"/>
                </a:xfrm>
                <a:custGeom>
                  <a:avLst/>
                  <a:gdLst>
                    <a:gd name="T0" fmla="*/ 48 w 141"/>
                    <a:gd name="T1" fmla="*/ 0 h 72"/>
                    <a:gd name="T2" fmla="*/ 36 w 141"/>
                    <a:gd name="T3" fmla="*/ 0 h 72"/>
                    <a:gd name="T4" fmla="*/ 19 w 141"/>
                    <a:gd name="T5" fmla="*/ 7 h 72"/>
                    <a:gd name="T6" fmla="*/ 7 w 141"/>
                    <a:gd name="T7" fmla="*/ 4 h 72"/>
                    <a:gd name="T8" fmla="*/ 0 w 141"/>
                    <a:gd name="T9" fmla="*/ 15 h 72"/>
                    <a:gd name="T10" fmla="*/ 1 w 141"/>
                    <a:gd name="T11" fmla="*/ 16 h 72"/>
                    <a:gd name="T12" fmla="*/ 14 w 141"/>
                    <a:gd name="T13" fmla="*/ 26 h 72"/>
                    <a:gd name="T14" fmla="*/ 21 w 141"/>
                    <a:gd name="T15" fmla="*/ 24 h 72"/>
                    <a:gd name="T16" fmla="*/ 35 w 141"/>
                    <a:gd name="T17" fmla="*/ 23 h 72"/>
                    <a:gd name="T18" fmla="*/ 40 w 141"/>
                    <a:gd name="T19" fmla="*/ 20 h 72"/>
                    <a:gd name="T20" fmla="*/ 48 w 141"/>
                    <a:gd name="T21" fmla="*/ 8 h 72"/>
                    <a:gd name="T22" fmla="*/ 54 w 141"/>
                    <a:gd name="T23" fmla="*/ 5 h 72"/>
                    <a:gd name="T24" fmla="*/ 48 w 141"/>
                    <a:gd name="T25" fmla="*/ 0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1" h="72">
                      <a:moveTo>
                        <a:pt x="125" y="0"/>
                      </a:moveTo>
                      <a:lnTo>
                        <a:pt x="95" y="0"/>
                      </a:lnTo>
                      <a:lnTo>
                        <a:pt x="49" y="18"/>
                      </a:lnTo>
                      <a:lnTo>
                        <a:pt x="18" y="10"/>
                      </a:lnTo>
                      <a:lnTo>
                        <a:pt x="0" y="42"/>
                      </a:lnTo>
                      <a:lnTo>
                        <a:pt x="4" y="46"/>
                      </a:lnTo>
                      <a:lnTo>
                        <a:pt x="37" y="72"/>
                      </a:lnTo>
                      <a:lnTo>
                        <a:pt x="55" y="68"/>
                      </a:lnTo>
                      <a:lnTo>
                        <a:pt x="91" y="64"/>
                      </a:lnTo>
                      <a:lnTo>
                        <a:pt x="105" y="56"/>
                      </a:lnTo>
                      <a:lnTo>
                        <a:pt x="125" y="22"/>
                      </a:lnTo>
                      <a:lnTo>
                        <a:pt x="141" y="14"/>
                      </a:lnTo>
                      <a:lnTo>
                        <a:pt x="125"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8" name="vMap : Georgia">
                  <a:extLst>
                    <a:ext uri="{FF2B5EF4-FFF2-40B4-BE49-F238E27FC236}">
                      <a16:creationId xmlns:a16="http://schemas.microsoft.com/office/drawing/2014/main" xmlns="" id="{1CCFC8D1-F065-E04C-8CC4-05FE10997182}"/>
                    </a:ext>
                  </a:extLst>
                </p:cNvPr>
                <p:cNvSpPr>
                  <a:spLocks noChangeAspect="1"/>
                </p:cNvSpPr>
                <p:nvPr>
                  <p:custDataLst>
                    <p:tags r:id="rId78"/>
                  </p:custDataLst>
                </p:nvPr>
              </p:nvSpPr>
              <p:spPr bwMode="gray">
                <a:xfrm>
                  <a:off x="4919418" y="3079079"/>
                  <a:ext cx="143001" cy="66865"/>
                </a:xfrm>
                <a:custGeom>
                  <a:avLst/>
                  <a:gdLst>
                    <a:gd name="T0" fmla="*/ 31 w 156"/>
                    <a:gd name="T1" fmla="*/ 26 h 70"/>
                    <a:gd name="T2" fmla="*/ 28 w 156"/>
                    <a:gd name="T3" fmla="*/ 23 h 70"/>
                    <a:gd name="T4" fmla="*/ 17 w 156"/>
                    <a:gd name="T5" fmla="*/ 23 h 70"/>
                    <a:gd name="T6" fmla="*/ 18 w 156"/>
                    <a:gd name="T7" fmla="*/ 17 h 70"/>
                    <a:gd name="T8" fmla="*/ 14 w 156"/>
                    <a:gd name="T9" fmla="*/ 10 h 70"/>
                    <a:gd name="T10" fmla="*/ 0 w 156"/>
                    <a:gd name="T11" fmla="*/ 1 h 70"/>
                    <a:gd name="T12" fmla="*/ 7 w 156"/>
                    <a:gd name="T13" fmla="*/ 0 h 70"/>
                    <a:gd name="T14" fmla="*/ 15 w 156"/>
                    <a:gd name="T15" fmla="*/ 4 h 70"/>
                    <a:gd name="T16" fmla="*/ 25 w 156"/>
                    <a:gd name="T17" fmla="*/ 4 h 70"/>
                    <a:gd name="T18" fmla="*/ 35 w 156"/>
                    <a:gd name="T19" fmla="*/ 10 h 70"/>
                    <a:gd name="T20" fmla="*/ 40 w 156"/>
                    <a:gd name="T21" fmla="*/ 9 h 70"/>
                    <a:gd name="T22" fmla="*/ 45 w 156"/>
                    <a:gd name="T23" fmla="*/ 9 h 70"/>
                    <a:gd name="T24" fmla="*/ 49 w 156"/>
                    <a:gd name="T25" fmla="*/ 11 h 70"/>
                    <a:gd name="T26" fmla="*/ 49 w 156"/>
                    <a:gd name="T27" fmla="*/ 14 h 70"/>
                    <a:gd name="T28" fmla="*/ 55 w 156"/>
                    <a:gd name="T29" fmla="*/ 17 h 70"/>
                    <a:gd name="T30" fmla="*/ 54 w 156"/>
                    <a:gd name="T31" fmla="*/ 20 h 70"/>
                    <a:gd name="T32" fmla="*/ 57 w 156"/>
                    <a:gd name="T33" fmla="*/ 23 h 70"/>
                    <a:gd name="T34" fmla="*/ 57 w 156"/>
                    <a:gd name="T35" fmla="*/ 25 h 70"/>
                    <a:gd name="T36" fmla="*/ 47 w 156"/>
                    <a:gd name="T37" fmla="*/ 22 h 70"/>
                    <a:gd name="T38" fmla="*/ 45 w 156"/>
                    <a:gd name="T39" fmla="*/ 23 h 70"/>
                    <a:gd name="T40" fmla="*/ 43 w 156"/>
                    <a:gd name="T41" fmla="*/ 25 h 70"/>
                    <a:gd name="T42" fmla="*/ 31 w 156"/>
                    <a:gd name="T43" fmla="*/ 26 h 7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6" h="70">
                      <a:moveTo>
                        <a:pt x="84" y="70"/>
                      </a:moveTo>
                      <a:lnTo>
                        <a:pt x="76" y="62"/>
                      </a:lnTo>
                      <a:lnTo>
                        <a:pt x="46" y="62"/>
                      </a:lnTo>
                      <a:lnTo>
                        <a:pt x="50" y="46"/>
                      </a:lnTo>
                      <a:lnTo>
                        <a:pt x="38" y="26"/>
                      </a:lnTo>
                      <a:lnTo>
                        <a:pt x="0" y="4"/>
                      </a:lnTo>
                      <a:lnTo>
                        <a:pt x="18" y="0"/>
                      </a:lnTo>
                      <a:lnTo>
                        <a:pt x="42" y="12"/>
                      </a:lnTo>
                      <a:lnTo>
                        <a:pt x="68" y="12"/>
                      </a:lnTo>
                      <a:lnTo>
                        <a:pt x="96" y="26"/>
                      </a:lnTo>
                      <a:lnTo>
                        <a:pt x="110" y="24"/>
                      </a:lnTo>
                      <a:lnTo>
                        <a:pt x="122" y="24"/>
                      </a:lnTo>
                      <a:lnTo>
                        <a:pt x="134" y="30"/>
                      </a:lnTo>
                      <a:lnTo>
                        <a:pt x="134" y="38"/>
                      </a:lnTo>
                      <a:lnTo>
                        <a:pt x="152" y="46"/>
                      </a:lnTo>
                      <a:lnTo>
                        <a:pt x="148" y="54"/>
                      </a:lnTo>
                      <a:lnTo>
                        <a:pt x="156" y="62"/>
                      </a:lnTo>
                      <a:lnTo>
                        <a:pt x="156" y="66"/>
                      </a:lnTo>
                      <a:lnTo>
                        <a:pt x="130" y="58"/>
                      </a:lnTo>
                      <a:lnTo>
                        <a:pt x="122" y="62"/>
                      </a:lnTo>
                      <a:lnTo>
                        <a:pt x="118" y="66"/>
                      </a:lnTo>
                      <a:lnTo>
                        <a:pt x="84" y="7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69" name="vMap : Armenia">
                  <a:extLst>
                    <a:ext uri="{FF2B5EF4-FFF2-40B4-BE49-F238E27FC236}">
                      <a16:creationId xmlns:a16="http://schemas.microsoft.com/office/drawing/2014/main" xmlns="" id="{BF1DD64B-0083-4442-A098-7DF52849B95F}"/>
                    </a:ext>
                  </a:extLst>
                </p:cNvPr>
                <p:cNvSpPr>
                  <a:spLocks noChangeAspect="1"/>
                </p:cNvSpPr>
                <p:nvPr>
                  <p:custDataLst>
                    <p:tags r:id="rId79"/>
                  </p:custDataLst>
                </p:nvPr>
              </p:nvSpPr>
              <p:spPr bwMode="gray">
                <a:xfrm>
                  <a:off x="4997003" y="3136615"/>
                  <a:ext cx="77586" cy="69975"/>
                </a:xfrm>
                <a:custGeom>
                  <a:avLst/>
                  <a:gdLst>
                    <a:gd name="T0" fmla="*/ 14 w 84"/>
                    <a:gd name="T1" fmla="*/ 0 h 72"/>
                    <a:gd name="T2" fmla="*/ 13 w 84"/>
                    <a:gd name="T3" fmla="*/ 2 h 72"/>
                    <a:gd name="T4" fmla="*/ 0 w 84"/>
                    <a:gd name="T5" fmla="*/ 3 h 72"/>
                    <a:gd name="T6" fmla="*/ 14 w 84"/>
                    <a:gd name="T7" fmla="*/ 18 h 72"/>
                    <a:gd name="T8" fmla="*/ 17 w 84"/>
                    <a:gd name="T9" fmla="*/ 18 h 72"/>
                    <a:gd name="T10" fmla="*/ 20 w 84"/>
                    <a:gd name="T11" fmla="*/ 19 h 72"/>
                    <a:gd name="T12" fmla="*/ 23 w 84"/>
                    <a:gd name="T13" fmla="*/ 19 h 72"/>
                    <a:gd name="T14" fmla="*/ 27 w 84"/>
                    <a:gd name="T15" fmla="*/ 28 h 72"/>
                    <a:gd name="T16" fmla="*/ 31 w 84"/>
                    <a:gd name="T17" fmla="*/ 27 h 72"/>
                    <a:gd name="T18" fmla="*/ 28 w 84"/>
                    <a:gd name="T19" fmla="*/ 24 h 72"/>
                    <a:gd name="T20" fmla="*/ 30 w 84"/>
                    <a:gd name="T21" fmla="*/ 23 h 72"/>
                    <a:gd name="T22" fmla="*/ 30 w 84"/>
                    <a:gd name="T23" fmla="*/ 18 h 72"/>
                    <a:gd name="T24" fmla="*/ 27 w 84"/>
                    <a:gd name="T25" fmla="*/ 18 h 72"/>
                    <a:gd name="T26" fmla="*/ 23 w 84"/>
                    <a:gd name="T27" fmla="*/ 15 h 72"/>
                    <a:gd name="T28" fmla="*/ 24 w 84"/>
                    <a:gd name="T29" fmla="*/ 12 h 72"/>
                    <a:gd name="T30" fmla="*/ 20 w 84"/>
                    <a:gd name="T31" fmla="*/ 9 h 72"/>
                    <a:gd name="T32" fmla="*/ 18 w 84"/>
                    <a:gd name="T33" fmla="*/ 4 h 72"/>
                    <a:gd name="T34" fmla="*/ 17 w 84"/>
                    <a:gd name="T35" fmla="*/ 3 h 72"/>
                    <a:gd name="T36" fmla="*/ 14 w 84"/>
                    <a:gd name="T37" fmla="*/ 0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4" h="72">
                      <a:moveTo>
                        <a:pt x="38" y="0"/>
                      </a:moveTo>
                      <a:lnTo>
                        <a:pt x="34" y="4"/>
                      </a:lnTo>
                      <a:lnTo>
                        <a:pt x="0" y="8"/>
                      </a:lnTo>
                      <a:lnTo>
                        <a:pt x="38" y="46"/>
                      </a:lnTo>
                      <a:lnTo>
                        <a:pt x="46" y="46"/>
                      </a:lnTo>
                      <a:lnTo>
                        <a:pt x="54" y="50"/>
                      </a:lnTo>
                      <a:lnTo>
                        <a:pt x="62" y="50"/>
                      </a:lnTo>
                      <a:lnTo>
                        <a:pt x="72" y="72"/>
                      </a:lnTo>
                      <a:lnTo>
                        <a:pt x="84" y="68"/>
                      </a:lnTo>
                      <a:lnTo>
                        <a:pt x="76" y="60"/>
                      </a:lnTo>
                      <a:lnTo>
                        <a:pt x="80" y="58"/>
                      </a:lnTo>
                      <a:lnTo>
                        <a:pt x="80" y="46"/>
                      </a:lnTo>
                      <a:lnTo>
                        <a:pt x="72" y="46"/>
                      </a:lnTo>
                      <a:lnTo>
                        <a:pt x="62" y="38"/>
                      </a:lnTo>
                      <a:lnTo>
                        <a:pt x="64" y="30"/>
                      </a:lnTo>
                      <a:lnTo>
                        <a:pt x="54" y="22"/>
                      </a:lnTo>
                      <a:lnTo>
                        <a:pt x="50" y="10"/>
                      </a:lnTo>
                      <a:lnTo>
                        <a:pt x="46" y="8"/>
                      </a:lnTo>
                      <a:lnTo>
                        <a:pt x="38"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0" name="vMap : Azerbaijan (West)">
                  <a:extLst>
                    <a:ext uri="{FF2B5EF4-FFF2-40B4-BE49-F238E27FC236}">
                      <a16:creationId xmlns:a16="http://schemas.microsoft.com/office/drawing/2014/main" xmlns="" id="{FB89C558-905B-E045-8F3F-03EEEF234B5F}"/>
                    </a:ext>
                  </a:extLst>
                </p:cNvPr>
                <p:cNvSpPr/>
                <p:nvPr>
                  <p:custDataLst>
                    <p:tags r:id="rId80"/>
                  </p:custDataLst>
                </p:nvPr>
              </p:nvSpPr>
              <p:spPr>
                <a:xfrm>
                  <a:off x="5022463" y="3178600"/>
                  <a:ext cx="40845" cy="40430"/>
                </a:xfrm>
                <a:custGeom>
                  <a:avLst/>
                  <a:gdLst>
                    <a:gd name="connsiteX0" fmla="*/ 6746 w 66894"/>
                    <a:gd name="connsiteY0" fmla="*/ 0 h 66216"/>
                    <a:gd name="connsiteX1" fmla="*/ 11549 w 66894"/>
                    <a:gd name="connsiteY1" fmla="*/ 0 h 66216"/>
                    <a:gd name="connsiteX2" fmla="*/ 15785 w 66894"/>
                    <a:gd name="connsiteY2" fmla="*/ 4457 h 66216"/>
                    <a:gd name="connsiteX3" fmla="*/ 27887 w 66894"/>
                    <a:gd name="connsiteY3" fmla="*/ 4457 h 66216"/>
                    <a:gd name="connsiteX4" fmla="*/ 39988 w 66894"/>
                    <a:gd name="connsiteY4" fmla="*/ 10824 h 66216"/>
                    <a:gd name="connsiteX5" fmla="*/ 52090 w 66894"/>
                    <a:gd name="connsiteY5" fmla="*/ 10824 h 66216"/>
                    <a:gd name="connsiteX6" fmla="*/ 66894 w 66894"/>
                    <a:gd name="connsiteY6" fmla="*/ 45096 h 66216"/>
                    <a:gd name="connsiteX7" fmla="*/ 64822 w 66894"/>
                    <a:gd name="connsiteY7" fmla="*/ 45804 h 66216"/>
                    <a:gd name="connsiteX8" fmla="*/ 49545 w 66894"/>
                    <a:gd name="connsiteY8" fmla="*/ 45804 h 66216"/>
                    <a:gd name="connsiteX9" fmla="*/ 12880 w 66894"/>
                    <a:gd name="connsiteY9" fmla="*/ 5093 h 66216"/>
                    <a:gd name="connsiteX10" fmla="*/ 658 w 66894"/>
                    <a:gd name="connsiteY10" fmla="*/ 27014 h 66216"/>
                    <a:gd name="connsiteX11" fmla="*/ 8308 w 66894"/>
                    <a:gd name="connsiteY11" fmla="*/ 66216 h 66216"/>
                    <a:gd name="connsiteX12" fmla="*/ 7518 w 66894"/>
                    <a:gd name="connsiteY12" fmla="*/ 66216 h 66216"/>
                    <a:gd name="connsiteX13" fmla="*/ 0 w 66894"/>
                    <a:gd name="connsiteY13" fmla="*/ 27600 h 66216"/>
                    <a:gd name="connsiteX14" fmla="*/ 12223 w 66894"/>
                    <a:gd name="connsiteY14" fmla="*/ 5626 h 6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894" h="66216">
                      <a:moveTo>
                        <a:pt x="6746" y="0"/>
                      </a:moveTo>
                      <a:lnTo>
                        <a:pt x="11549" y="0"/>
                      </a:lnTo>
                      <a:lnTo>
                        <a:pt x="15785" y="4457"/>
                      </a:lnTo>
                      <a:lnTo>
                        <a:pt x="27887" y="4457"/>
                      </a:lnTo>
                      <a:lnTo>
                        <a:pt x="39988" y="10824"/>
                      </a:lnTo>
                      <a:lnTo>
                        <a:pt x="52090" y="10824"/>
                      </a:lnTo>
                      <a:lnTo>
                        <a:pt x="66894" y="45096"/>
                      </a:lnTo>
                      <a:lnTo>
                        <a:pt x="64822" y="45804"/>
                      </a:lnTo>
                      <a:lnTo>
                        <a:pt x="49545" y="45804"/>
                      </a:lnTo>
                      <a:lnTo>
                        <a:pt x="12880" y="5093"/>
                      </a:lnTo>
                      <a:lnTo>
                        <a:pt x="658" y="27014"/>
                      </a:lnTo>
                      <a:lnTo>
                        <a:pt x="8308" y="66216"/>
                      </a:lnTo>
                      <a:lnTo>
                        <a:pt x="7518" y="66216"/>
                      </a:lnTo>
                      <a:lnTo>
                        <a:pt x="0" y="27600"/>
                      </a:lnTo>
                      <a:lnTo>
                        <a:pt x="12223" y="5626"/>
                      </a:lnTo>
                      <a:close/>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1" name="vMap : Azerbaijan (East)">
                  <a:extLst>
                    <a:ext uri="{FF2B5EF4-FFF2-40B4-BE49-F238E27FC236}">
                      <a16:creationId xmlns:a16="http://schemas.microsoft.com/office/drawing/2014/main" xmlns="" id="{3BC78EB6-C1D2-6443-8464-6341EF680E69}"/>
                    </a:ext>
                  </a:extLst>
                </p:cNvPr>
                <p:cNvSpPr>
                  <a:spLocks noChangeAspect="1"/>
                </p:cNvSpPr>
                <p:nvPr>
                  <p:custDataLst>
                    <p:tags r:id="rId81"/>
                  </p:custDataLst>
                </p:nvPr>
              </p:nvSpPr>
              <p:spPr bwMode="gray">
                <a:xfrm>
                  <a:off x="5030471" y="3122619"/>
                  <a:ext cx="117139" cy="96410"/>
                </a:xfrm>
                <a:custGeom>
                  <a:avLst/>
                  <a:gdLst>
                    <a:gd name="T0" fmla="*/ 11 w 125"/>
                    <a:gd name="T1" fmla="*/ 0 h 100"/>
                    <a:gd name="T2" fmla="*/ 10 w 125"/>
                    <a:gd name="T3" fmla="*/ 3 h 100"/>
                    <a:gd name="T4" fmla="*/ 13 w 125"/>
                    <a:gd name="T5" fmla="*/ 6 h 100"/>
                    <a:gd name="T6" fmla="*/ 13 w 125"/>
                    <a:gd name="T7" fmla="*/ 7 h 100"/>
                    <a:gd name="T8" fmla="*/ 3 w 125"/>
                    <a:gd name="T9" fmla="*/ 4 h 100"/>
                    <a:gd name="T10" fmla="*/ 0 w 125"/>
                    <a:gd name="T11" fmla="*/ 6 h 100"/>
                    <a:gd name="T12" fmla="*/ 3 w 125"/>
                    <a:gd name="T13" fmla="*/ 9 h 100"/>
                    <a:gd name="T14" fmla="*/ 4 w 125"/>
                    <a:gd name="T15" fmla="*/ 10 h 100"/>
                    <a:gd name="T16" fmla="*/ 6 w 125"/>
                    <a:gd name="T17" fmla="*/ 15 h 100"/>
                    <a:gd name="T18" fmla="*/ 10 w 125"/>
                    <a:gd name="T19" fmla="*/ 18 h 100"/>
                    <a:gd name="T20" fmla="*/ 9 w 125"/>
                    <a:gd name="T21" fmla="*/ 20 h 100"/>
                    <a:gd name="T22" fmla="*/ 13 w 125"/>
                    <a:gd name="T23" fmla="*/ 24 h 100"/>
                    <a:gd name="T24" fmla="*/ 16 w 125"/>
                    <a:gd name="T25" fmla="*/ 24 h 100"/>
                    <a:gd name="T26" fmla="*/ 16 w 125"/>
                    <a:gd name="T27" fmla="*/ 29 h 100"/>
                    <a:gd name="T28" fmla="*/ 14 w 125"/>
                    <a:gd name="T29" fmla="*/ 29 h 100"/>
                    <a:gd name="T30" fmla="*/ 17 w 125"/>
                    <a:gd name="T31" fmla="*/ 32 h 100"/>
                    <a:gd name="T32" fmla="*/ 28 w 125"/>
                    <a:gd name="T33" fmla="*/ 27 h 100"/>
                    <a:gd name="T34" fmla="*/ 33 w 125"/>
                    <a:gd name="T35" fmla="*/ 32 h 100"/>
                    <a:gd name="T36" fmla="*/ 30 w 125"/>
                    <a:gd name="T37" fmla="*/ 34 h 100"/>
                    <a:gd name="T38" fmla="*/ 38 w 125"/>
                    <a:gd name="T39" fmla="*/ 38 h 100"/>
                    <a:gd name="T40" fmla="*/ 38 w 125"/>
                    <a:gd name="T41" fmla="*/ 31 h 100"/>
                    <a:gd name="T42" fmla="*/ 41 w 125"/>
                    <a:gd name="T43" fmla="*/ 32 h 100"/>
                    <a:gd name="T44" fmla="*/ 41 w 125"/>
                    <a:gd name="T45" fmla="*/ 20 h 100"/>
                    <a:gd name="T46" fmla="*/ 47 w 125"/>
                    <a:gd name="T47" fmla="*/ 19 h 100"/>
                    <a:gd name="T48" fmla="*/ 29 w 125"/>
                    <a:gd name="T49" fmla="*/ 1 h 100"/>
                    <a:gd name="T50" fmla="*/ 25 w 125"/>
                    <a:gd name="T51" fmla="*/ 7 h 100"/>
                    <a:gd name="T52" fmla="*/ 20 w 125"/>
                    <a:gd name="T53" fmla="*/ 7 h 100"/>
                    <a:gd name="T54" fmla="*/ 17 w 125"/>
                    <a:gd name="T55" fmla="*/ 3 h 100"/>
                    <a:gd name="T56" fmla="*/ 11 w 125"/>
                    <a:gd name="T57" fmla="*/ 0 h 1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25" h="100">
                      <a:moveTo>
                        <a:pt x="30" y="0"/>
                      </a:moveTo>
                      <a:lnTo>
                        <a:pt x="26" y="8"/>
                      </a:lnTo>
                      <a:lnTo>
                        <a:pt x="34" y="16"/>
                      </a:lnTo>
                      <a:lnTo>
                        <a:pt x="34" y="20"/>
                      </a:lnTo>
                      <a:lnTo>
                        <a:pt x="8" y="12"/>
                      </a:lnTo>
                      <a:lnTo>
                        <a:pt x="0" y="16"/>
                      </a:lnTo>
                      <a:lnTo>
                        <a:pt x="8" y="24"/>
                      </a:lnTo>
                      <a:lnTo>
                        <a:pt x="12" y="26"/>
                      </a:lnTo>
                      <a:lnTo>
                        <a:pt x="16" y="38"/>
                      </a:lnTo>
                      <a:lnTo>
                        <a:pt x="26" y="46"/>
                      </a:lnTo>
                      <a:lnTo>
                        <a:pt x="24" y="54"/>
                      </a:lnTo>
                      <a:lnTo>
                        <a:pt x="34" y="62"/>
                      </a:lnTo>
                      <a:lnTo>
                        <a:pt x="42" y="62"/>
                      </a:lnTo>
                      <a:lnTo>
                        <a:pt x="42" y="74"/>
                      </a:lnTo>
                      <a:lnTo>
                        <a:pt x="38" y="76"/>
                      </a:lnTo>
                      <a:lnTo>
                        <a:pt x="46" y="84"/>
                      </a:lnTo>
                      <a:lnTo>
                        <a:pt x="74" y="70"/>
                      </a:lnTo>
                      <a:lnTo>
                        <a:pt x="88" y="84"/>
                      </a:lnTo>
                      <a:lnTo>
                        <a:pt x="80" y="88"/>
                      </a:lnTo>
                      <a:lnTo>
                        <a:pt x="100" y="100"/>
                      </a:lnTo>
                      <a:lnTo>
                        <a:pt x="100" y="80"/>
                      </a:lnTo>
                      <a:lnTo>
                        <a:pt x="108" y="84"/>
                      </a:lnTo>
                      <a:lnTo>
                        <a:pt x="108" y="54"/>
                      </a:lnTo>
                      <a:lnTo>
                        <a:pt x="125" y="50"/>
                      </a:lnTo>
                      <a:lnTo>
                        <a:pt x="76" y="4"/>
                      </a:lnTo>
                      <a:lnTo>
                        <a:pt x="66" y="20"/>
                      </a:lnTo>
                      <a:lnTo>
                        <a:pt x="54" y="20"/>
                      </a:lnTo>
                      <a:lnTo>
                        <a:pt x="46" y="8"/>
                      </a:lnTo>
                      <a:lnTo>
                        <a:pt x="3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2" name="vMap : Kazakhstan">
                  <a:extLst>
                    <a:ext uri="{FF2B5EF4-FFF2-40B4-BE49-F238E27FC236}">
                      <a16:creationId xmlns:a16="http://schemas.microsoft.com/office/drawing/2014/main" xmlns="" id="{70BA4DB2-0552-D44F-A2E2-6EF6C1EA360F}"/>
                    </a:ext>
                  </a:extLst>
                </p:cNvPr>
                <p:cNvSpPr>
                  <a:spLocks noChangeAspect="1"/>
                </p:cNvSpPr>
                <p:nvPr>
                  <p:custDataLst>
                    <p:tags r:id="rId82"/>
                  </p:custDataLst>
                </p:nvPr>
              </p:nvSpPr>
              <p:spPr bwMode="gray">
                <a:xfrm>
                  <a:off x="5036556" y="2780519"/>
                  <a:ext cx="800194" cy="365425"/>
                </a:xfrm>
                <a:custGeom>
                  <a:avLst/>
                  <a:gdLst>
                    <a:gd name="T0" fmla="*/ 323 w 856"/>
                    <a:gd name="T1" fmla="*/ 62 h 383"/>
                    <a:gd name="T2" fmla="*/ 315 w 856"/>
                    <a:gd name="T3" fmla="*/ 59 h 383"/>
                    <a:gd name="T4" fmla="*/ 296 w 856"/>
                    <a:gd name="T5" fmla="*/ 50 h 383"/>
                    <a:gd name="T6" fmla="*/ 285 w 856"/>
                    <a:gd name="T7" fmla="*/ 43 h 383"/>
                    <a:gd name="T8" fmla="*/ 281 w 856"/>
                    <a:gd name="T9" fmla="*/ 46 h 383"/>
                    <a:gd name="T10" fmla="*/ 264 w 856"/>
                    <a:gd name="T11" fmla="*/ 40 h 383"/>
                    <a:gd name="T12" fmla="*/ 261 w 856"/>
                    <a:gd name="T13" fmla="*/ 46 h 383"/>
                    <a:gd name="T14" fmla="*/ 220 w 856"/>
                    <a:gd name="T15" fmla="*/ 13 h 383"/>
                    <a:gd name="T16" fmla="*/ 212 w 856"/>
                    <a:gd name="T17" fmla="*/ 11 h 383"/>
                    <a:gd name="T18" fmla="*/ 205 w 856"/>
                    <a:gd name="T19" fmla="*/ 19 h 383"/>
                    <a:gd name="T20" fmla="*/ 197 w 856"/>
                    <a:gd name="T21" fmla="*/ 17 h 383"/>
                    <a:gd name="T22" fmla="*/ 195 w 856"/>
                    <a:gd name="T23" fmla="*/ 14 h 383"/>
                    <a:gd name="T24" fmla="*/ 187 w 856"/>
                    <a:gd name="T25" fmla="*/ 14 h 383"/>
                    <a:gd name="T26" fmla="*/ 185 w 856"/>
                    <a:gd name="T27" fmla="*/ 11 h 383"/>
                    <a:gd name="T28" fmla="*/ 176 w 856"/>
                    <a:gd name="T29" fmla="*/ 7 h 383"/>
                    <a:gd name="T30" fmla="*/ 170 w 856"/>
                    <a:gd name="T31" fmla="*/ 1 h 383"/>
                    <a:gd name="T32" fmla="*/ 155 w 856"/>
                    <a:gd name="T33" fmla="*/ 0 h 383"/>
                    <a:gd name="T34" fmla="*/ 135 w 856"/>
                    <a:gd name="T35" fmla="*/ 7 h 383"/>
                    <a:gd name="T36" fmla="*/ 126 w 856"/>
                    <a:gd name="T37" fmla="*/ 10 h 383"/>
                    <a:gd name="T38" fmla="*/ 117 w 856"/>
                    <a:gd name="T39" fmla="*/ 13 h 383"/>
                    <a:gd name="T40" fmla="*/ 104 w 856"/>
                    <a:gd name="T41" fmla="*/ 13 h 383"/>
                    <a:gd name="T42" fmla="*/ 101 w 856"/>
                    <a:gd name="T43" fmla="*/ 17 h 383"/>
                    <a:gd name="T44" fmla="*/ 104 w 856"/>
                    <a:gd name="T45" fmla="*/ 20 h 383"/>
                    <a:gd name="T46" fmla="*/ 104 w 856"/>
                    <a:gd name="T47" fmla="*/ 24 h 383"/>
                    <a:gd name="T48" fmla="*/ 105 w 856"/>
                    <a:gd name="T49" fmla="*/ 30 h 383"/>
                    <a:gd name="T50" fmla="*/ 113 w 856"/>
                    <a:gd name="T51" fmla="*/ 46 h 383"/>
                    <a:gd name="T52" fmla="*/ 103 w 856"/>
                    <a:gd name="T53" fmla="*/ 44 h 383"/>
                    <a:gd name="T54" fmla="*/ 97 w 856"/>
                    <a:gd name="T55" fmla="*/ 47 h 383"/>
                    <a:gd name="T56" fmla="*/ 87 w 856"/>
                    <a:gd name="T57" fmla="*/ 41 h 383"/>
                    <a:gd name="T58" fmla="*/ 78 w 856"/>
                    <a:gd name="T59" fmla="*/ 43 h 383"/>
                    <a:gd name="T60" fmla="*/ 74 w 856"/>
                    <a:gd name="T61" fmla="*/ 43 h 383"/>
                    <a:gd name="T62" fmla="*/ 61 w 856"/>
                    <a:gd name="T63" fmla="*/ 47 h 383"/>
                    <a:gd name="T64" fmla="*/ 49 w 856"/>
                    <a:gd name="T65" fmla="*/ 39 h 383"/>
                    <a:gd name="T66" fmla="*/ 36 w 856"/>
                    <a:gd name="T67" fmla="*/ 36 h 383"/>
                    <a:gd name="T68" fmla="*/ 30 w 856"/>
                    <a:gd name="T69" fmla="*/ 36 h 383"/>
                    <a:gd name="T70" fmla="*/ 17 w 856"/>
                    <a:gd name="T71" fmla="*/ 41 h 383"/>
                    <a:gd name="T72" fmla="*/ 16 w 856"/>
                    <a:gd name="T73" fmla="*/ 53 h 383"/>
                    <a:gd name="T74" fmla="*/ 3 w 856"/>
                    <a:gd name="T75" fmla="*/ 53 h 383"/>
                    <a:gd name="T76" fmla="*/ 3 w 856"/>
                    <a:gd name="T77" fmla="*/ 62 h 383"/>
                    <a:gd name="T78" fmla="*/ 4 w 856"/>
                    <a:gd name="T79" fmla="*/ 71 h 383"/>
                    <a:gd name="T80" fmla="*/ 7 w 856"/>
                    <a:gd name="T81" fmla="*/ 74 h 383"/>
                    <a:gd name="T82" fmla="*/ 22 w 856"/>
                    <a:gd name="T83" fmla="*/ 87 h 383"/>
                    <a:gd name="T84" fmla="*/ 20 w 856"/>
                    <a:gd name="T85" fmla="*/ 90 h 383"/>
                    <a:gd name="T86" fmla="*/ 72 w 856"/>
                    <a:gd name="T87" fmla="*/ 101 h 383"/>
                    <a:gd name="T88" fmla="*/ 45 w 856"/>
                    <a:gd name="T89" fmla="*/ 104 h 383"/>
                    <a:gd name="T90" fmla="*/ 45 w 856"/>
                    <a:gd name="T91" fmla="*/ 117 h 383"/>
                    <a:gd name="T92" fmla="*/ 61 w 856"/>
                    <a:gd name="T93" fmla="*/ 135 h 383"/>
                    <a:gd name="T94" fmla="*/ 78 w 856"/>
                    <a:gd name="T95" fmla="*/ 132 h 383"/>
                    <a:gd name="T96" fmla="*/ 84 w 856"/>
                    <a:gd name="T97" fmla="*/ 104 h 383"/>
                    <a:gd name="T98" fmla="*/ 136 w 856"/>
                    <a:gd name="T99" fmla="*/ 120 h 383"/>
                    <a:gd name="T100" fmla="*/ 170 w 856"/>
                    <a:gd name="T101" fmla="*/ 125 h 383"/>
                    <a:gd name="T102" fmla="*/ 181 w 856"/>
                    <a:gd name="T103" fmla="*/ 135 h 383"/>
                    <a:gd name="T104" fmla="*/ 199 w 856"/>
                    <a:gd name="T105" fmla="*/ 144 h 383"/>
                    <a:gd name="T106" fmla="*/ 209 w 856"/>
                    <a:gd name="T107" fmla="*/ 134 h 383"/>
                    <a:gd name="T108" fmla="*/ 214 w 856"/>
                    <a:gd name="T109" fmla="*/ 129 h 383"/>
                    <a:gd name="T110" fmla="*/ 232 w 856"/>
                    <a:gd name="T111" fmla="*/ 129 h 383"/>
                    <a:gd name="T112" fmla="*/ 242 w 856"/>
                    <a:gd name="T113" fmla="*/ 124 h 383"/>
                    <a:gd name="T114" fmla="*/ 281 w 856"/>
                    <a:gd name="T115" fmla="*/ 127 h 383"/>
                    <a:gd name="T116" fmla="*/ 293 w 856"/>
                    <a:gd name="T117" fmla="*/ 122 h 383"/>
                    <a:gd name="T118" fmla="*/ 297 w 856"/>
                    <a:gd name="T119" fmla="*/ 96 h 383"/>
                    <a:gd name="T120" fmla="*/ 320 w 856"/>
                    <a:gd name="T121" fmla="*/ 85 h 3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56" h="383">
                      <a:moveTo>
                        <a:pt x="852" y="184"/>
                      </a:moveTo>
                      <a:lnTo>
                        <a:pt x="852" y="172"/>
                      </a:lnTo>
                      <a:lnTo>
                        <a:pt x="856" y="164"/>
                      </a:lnTo>
                      <a:lnTo>
                        <a:pt x="840" y="148"/>
                      </a:lnTo>
                      <a:lnTo>
                        <a:pt x="833" y="152"/>
                      </a:lnTo>
                      <a:lnTo>
                        <a:pt x="833" y="156"/>
                      </a:lnTo>
                      <a:lnTo>
                        <a:pt x="811" y="152"/>
                      </a:lnTo>
                      <a:lnTo>
                        <a:pt x="795" y="138"/>
                      </a:lnTo>
                      <a:lnTo>
                        <a:pt x="783" y="134"/>
                      </a:lnTo>
                      <a:lnTo>
                        <a:pt x="777" y="126"/>
                      </a:lnTo>
                      <a:lnTo>
                        <a:pt x="761" y="114"/>
                      </a:lnTo>
                      <a:lnTo>
                        <a:pt x="753" y="114"/>
                      </a:lnTo>
                      <a:lnTo>
                        <a:pt x="749" y="118"/>
                      </a:lnTo>
                      <a:lnTo>
                        <a:pt x="745" y="118"/>
                      </a:lnTo>
                      <a:lnTo>
                        <a:pt x="745" y="122"/>
                      </a:lnTo>
                      <a:lnTo>
                        <a:pt x="719" y="122"/>
                      </a:lnTo>
                      <a:lnTo>
                        <a:pt x="711" y="114"/>
                      </a:lnTo>
                      <a:lnTo>
                        <a:pt x="699" y="106"/>
                      </a:lnTo>
                      <a:lnTo>
                        <a:pt x="695" y="110"/>
                      </a:lnTo>
                      <a:lnTo>
                        <a:pt x="695" y="118"/>
                      </a:lnTo>
                      <a:lnTo>
                        <a:pt x="691" y="122"/>
                      </a:lnTo>
                      <a:lnTo>
                        <a:pt x="619" y="56"/>
                      </a:lnTo>
                      <a:lnTo>
                        <a:pt x="582" y="38"/>
                      </a:lnTo>
                      <a:lnTo>
                        <a:pt x="582" y="34"/>
                      </a:lnTo>
                      <a:lnTo>
                        <a:pt x="586" y="30"/>
                      </a:lnTo>
                      <a:lnTo>
                        <a:pt x="582" y="26"/>
                      </a:lnTo>
                      <a:lnTo>
                        <a:pt x="562" y="30"/>
                      </a:lnTo>
                      <a:lnTo>
                        <a:pt x="554" y="42"/>
                      </a:lnTo>
                      <a:lnTo>
                        <a:pt x="542" y="46"/>
                      </a:lnTo>
                      <a:lnTo>
                        <a:pt x="542" y="50"/>
                      </a:lnTo>
                      <a:lnTo>
                        <a:pt x="532" y="46"/>
                      </a:lnTo>
                      <a:lnTo>
                        <a:pt x="524" y="50"/>
                      </a:lnTo>
                      <a:lnTo>
                        <a:pt x="520" y="46"/>
                      </a:lnTo>
                      <a:lnTo>
                        <a:pt x="524" y="38"/>
                      </a:lnTo>
                      <a:lnTo>
                        <a:pt x="524" y="34"/>
                      </a:lnTo>
                      <a:lnTo>
                        <a:pt x="516" y="38"/>
                      </a:lnTo>
                      <a:lnTo>
                        <a:pt x="500" y="34"/>
                      </a:lnTo>
                      <a:lnTo>
                        <a:pt x="504" y="38"/>
                      </a:lnTo>
                      <a:lnTo>
                        <a:pt x="496" y="38"/>
                      </a:lnTo>
                      <a:lnTo>
                        <a:pt x="496" y="34"/>
                      </a:lnTo>
                      <a:lnTo>
                        <a:pt x="490" y="26"/>
                      </a:lnTo>
                      <a:lnTo>
                        <a:pt x="490" y="30"/>
                      </a:lnTo>
                      <a:lnTo>
                        <a:pt x="470" y="34"/>
                      </a:lnTo>
                      <a:lnTo>
                        <a:pt x="466" y="30"/>
                      </a:lnTo>
                      <a:lnTo>
                        <a:pt x="466" y="18"/>
                      </a:lnTo>
                      <a:lnTo>
                        <a:pt x="462" y="14"/>
                      </a:lnTo>
                      <a:lnTo>
                        <a:pt x="454" y="4"/>
                      </a:lnTo>
                      <a:lnTo>
                        <a:pt x="450" y="4"/>
                      </a:lnTo>
                      <a:lnTo>
                        <a:pt x="440" y="6"/>
                      </a:lnTo>
                      <a:lnTo>
                        <a:pt x="428" y="0"/>
                      </a:lnTo>
                      <a:lnTo>
                        <a:pt x="412" y="0"/>
                      </a:lnTo>
                      <a:lnTo>
                        <a:pt x="400" y="4"/>
                      </a:lnTo>
                      <a:lnTo>
                        <a:pt x="400" y="10"/>
                      </a:lnTo>
                      <a:lnTo>
                        <a:pt x="358" y="18"/>
                      </a:lnTo>
                      <a:lnTo>
                        <a:pt x="348" y="22"/>
                      </a:lnTo>
                      <a:lnTo>
                        <a:pt x="345" y="26"/>
                      </a:lnTo>
                      <a:lnTo>
                        <a:pt x="333" y="26"/>
                      </a:lnTo>
                      <a:lnTo>
                        <a:pt x="325" y="30"/>
                      </a:lnTo>
                      <a:lnTo>
                        <a:pt x="317" y="30"/>
                      </a:lnTo>
                      <a:lnTo>
                        <a:pt x="309" y="34"/>
                      </a:lnTo>
                      <a:lnTo>
                        <a:pt x="299" y="34"/>
                      </a:lnTo>
                      <a:lnTo>
                        <a:pt x="299" y="38"/>
                      </a:lnTo>
                      <a:lnTo>
                        <a:pt x="275" y="34"/>
                      </a:lnTo>
                      <a:lnTo>
                        <a:pt x="263" y="38"/>
                      </a:lnTo>
                      <a:lnTo>
                        <a:pt x="267" y="42"/>
                      </a:lnTo>
                      <a:lnTo>
                        <a:pt x="267" y="46"/>
                      </a:lnTo>
                      <a:lnTo>
                        <a:pt x="279" y="50"/>
                      </a:lnTo>
                      <a:lnTo>
                        <a:pt x="271" y="50"/>
                      </a:lnTo>
                      <a:lnTo>
                        <a:pt x="275" y="54"/>
                      </a:lnTo>
                      <a:lnTo>
                        <a:pt x="295" y="60"/>
                      </a:lnTo>
                      <a:lnTo>
                        <a:pt x="295" y="64"/>
                      </a:lnTo>
                      <a:lnTo>
                        <a:pt x="275" y="64"/>
                      </a:lnTo>
                      <a:lnTo>
                        <a:pt x="267" y="68"/>
                      </a:lnTo>
                      <a:lnTo>
                        <a:pt x="279" y="76"/>
                      </a:lnTo>
                      <a:lnTo>
                        <a:pt x="279" y="80"/>
                      </a:lnTo>
                      <a:lnTo>
                        <a:pt x="259" y="92"/>
                      </a:lnTo>
                      <a:lnTo>
                        <a:pt x="299" y="106"/>
                      </a:lnTo>
                      <a:lnTo>
                        <a:pt x="299" y="122"/>
                      </a:lnTo>
                      <a:lnTo>
                        <a:pt x="291" y="122"/>
                      </a:lnTo>
                      <a:lnTo>
                        <a:pt x="279" y="126"/>
                      </a:lnTo>
                      <a:lnTo>
                        <a:pt x="271" y="118"/>
                      </a:lnTo>
                      <a:lnTo>
                        <a:pt x="263" y="126"/>
                      </a:lnTo>
                      <a:lnTo>
                        <a:pt x="259" y="130"/>
                      </a:lnTo>
                      <a:lnTo>
                        <a:pt x="257" y="126"/>
                      </a:lnTo>
                      <a:lnTo>
                        <a:pt x="245" y="126"/>
                      </a:lnTo>
                      <a:lnTo>
                        <a:pt x="237" y="114"/>
                      </a:lnTo>
                      <a:lnTo>
                        <a:pt x="229" y="110"/>
                      </a:lnTo>
                      <a:lnTo>
                        <a:pt x="221" y="114"/>
                      </a:lnTo>
                      <a:lnTo>
                        <a:pt x="213" y="118"/>
                      </a:lnTo>
                      <a:lnTo>
                        <a:pt x="207" y="114"/>
                      </a:lnTo>
                      <a:lnTo>
                        <a:pt x="199" y="114"/>
                      </a:lnTo>
                      <a:lnTo>
                        <a:pt x="199" y="118"/>
                      </a:lnTo>
                      <a:lnTo>
                        <a:pt x="195" y="114"/>
                      </a:lnTo>
                      <a:lnTo>
                        <a:pt x="179" y="126"/>
                      </a:lnTo>
                      <a:lnTo>
                        <a:pt x="157" y="114"/>
                      </a:lnTo>
                      <a:lnTo>
                        <a:pt x="161" y="126"/>
                      </a:lnTo>
                      <a:lnTo>
                        <a:pt x="157" y="126"/>
                      </a:lnTo>
                      <a:lnTo>
                        <a:pt x="153" y="118"/>
                      </a:lnTo>
                      <a:lnTo>
                        <a:pt x="129" y="102"/>
                      </a:lnTo>
                      <a:lnTo>
                        <a:pt x="107" y="102"/>
                      </a:lnTo>
                      <a:lnTo>
                        <a:pt x="100" y="96"/>
                      </a:lnTo>
                      <a:lnTo>
                        <a:pt x="96" y="96"/>
                      </a:lnTo>
                      <a:lnTo>
                        <a:pt x="92" y="102"/>
                      </a:lnTo>
                      <a:lnTo>
                        <a:pt x="84" y="102"/>
                      </a:lnTo>
                      <a:lnTo>
                        <a:pt x="80" y="96"/>
                      </a:lnTo>
                      <a:lnTo>
                        <a:pt x="70" y="100"/>
                      </a:lnTo>
                      <a:lnTo>
                        <a:pt x="62" y="106"/>
                      </a:lnTo>
                      <a:lnTo>
                        <a:pt x="46" y="110"/>
                      </a:lnTo>
                      <a:lnTo>
                        <a:pt x="46" y="118"/>
                      </a:lnTo>
                      <a:lnTo>
                        <a:pt x="30" y="126"/>
                      </a:lnTo>
                      <a:lnTo>
                        <a:pt x="42" y="142"/>
                      </a:lnTo>
                      <a:lnTo>
                        <a:pt x="30" y="148"/>
                      </a:lnTo>
                      <a:lnTo>
                        <a:pt x="8" y="130"/>
                      </a:lnTo>
                      <a:lnTo>
                        <a:pt x="8" y="142"/>
                      </a:lnTo>
                      <a:lnTo>
                        <a:pt x="0" y="146"/>
                      </a:lnTo>
                      <a:lnTo>
                        <a:pt x="0" y="160"/>
                      </a:lnTo>
                      <a:lnTo>
                        <a:pt x="8" y="164"/>
                      </a:lnTo>
                      <a:lnTo>
                        <a:pt x="0" y="168"/>
                      </a:lnTo>
                      <a:lnTo>
                        <a:pt x="0" y="184"/>
                      </a:lnTo>
                      <a:lnTo>
                        <a:pt x="12" y="188"/>
                      </a:lnTo>
                      <a:lnTo>
                        <a:pt x="16" y="198"/>
                      </a:lnTo>
                      <a:lnTo>
                        <a:pt x="20" y="202"/>
                      </a:lnTo>
                      <a:lnTo>
                        <a:pt x="20" y="198"/>
                      </a:lnTo>
                      <a:lnTo>
                        <a:pt x="38" y="202"/>
                      </a:lnTo>
                      <a:lnTo>
                        <a:pt x="46" y="210"/>
                      </a:lnTo>
                      <a:lnTo>
                        <a:pt x="58" y="230"/>
                      </a:lnTo>
                      <a:lnTo>
                        <a:pt x="50" y="230"/>
                      </a:lnTo>
                      <a:lnTo>
                        <a:pt x="46" y="234"/>
                      </a:lnTo>
                      <a:lnTo>
                        <a:pt x="54" y="238"/>
                      </a:lnTo>
                      <a:lnTo>
                        <a:pt x="100" y="222"/>
                      </a:lnTo>
                      <a:lnTo>
                        <a:pt x="137" y="222"/>
                      </a:lnTo>
                      <a:lnTo>
                        <a:pt x="191" y="268"/>
                      </a:lnTo>
                      <a:lnTo>
                        <a:pt x="195" y="279"/>
                      </a:lnTo>
                      <a:lnTo>
                        <a:pt x="137" y="272"/>
                      </a:lnTo>
                      <a:lnTo>
                        <a:pt x="121" y="275"/>
                      </a:lnTo>
                      <a:lnTo>
                        <a:pt x="125" y="293"/>
                      </a:lnTo>
                      <a:lnTo>
                        <a:pt x="96" y="293"/>
                      </a:lnTo>
                      <a:lnTo>
                        <a:pt x="121" y="309"/>
                      </a:lnTo>
                      <a:lnTo>
                        <a:pt x="129" y="333"/>
                      </a:lnTo>
                      <a:lnTo>
                        <a:pt x="161" y="339"/>
                      </a:lnTo>
                      <a:lnTo>
                        <a:pt x="161" y="359"/>
                      </a:lnTo>
                      <a:lnTo>
                        <a:pt x="171" y="351"/>
                      </a:lnTo>
                      <a:lnTo>
                        <a:pt x="195" y="347"/>
                      </a:lnTo>
                      <a:lnTo>
                        <a:pt x="207" y="351"/>
                      </a:lnTo>
                      <a:lnTo>
                        <a:pt x="229" y="375"/>
                      </a:lnTo>
                      <a:lnTo>
                        <a:pt x="241" y="375"/>
                      </a:lnTo>
                      <a:lnTo>
                        <a:pt x="221" y="275"/>
                      </a:lnTo>
                      <a:lnTo>
                        <a:pt x="271" y="260"/>
                      </a:lnTo>
                      <a:lnTo>
                        <a:pt x="313" y="279"/>
                      </a:lnTo>
                      <a:lnTo>
                        <a:pt x="362" y="317"/>
                      </a:lnTo>
                      <a:lnTo>
                        <a:pt x="424" y="309"/>
                      </a:lnTo>
                      <a:lnTo>
                        <a:pt x="444" y="321"/>
                      </a:lnTo>
                      <a:lnTo>
                        <a:pt x="450" y="333"/>
                      </a:lnTo>
                      <a:lnTo>
                        <a:pt x="458" y="333"/>
                      </a:lnTo>
                      <a:lnTo>
                        <a:pt x="462" y="359"/>
                      </a:lnTo>
                      <a:lnTo>
                        <a:pt x="478" y="359"/>
                      </a:lnTo>
                      <a:lnTo>
                        <a:pt x="486" y="379"/>
                      </a:lnTo>
                      <a:lnTo>
                        <a:pt x="504" y="375"/>
                      </a:lnTo>
                      <a:lnTo>
                        <a:pt x="528" y="383"/>
                      </a:lnTo>
                      <a:lnTo>
                        <a:pt x="540" y="371"/>
                      </a:lnTo>
                      <a:lnTo>
                        <a:pt x="550" y="363"/>
                      </a:lnTo>
                      <a:lnTo>
                        <a:pt x="554" y="355"/>
                      </a:lnTo>
                      <a:lnTo>
                        <a:pt x="562" y="355"/>
                      </a:lnTo>
                      <a:lnTo>
                        <a:pt x="566" y="347"/>
                      </a:lnTo>
                      <a:lnTo>
                        <a:pt x="566" y="343"/>
                      </a:lnTo>
                      <a:lnTo>
                        <a:pt x="566" y="337"/>
                      </a:lnTo>
                      <a:lnTo>
                        <a:pt x="592" y="337"/>
                      </a:lnTo>
                      <a:lnTo>
                        <a:pt x="615" y="343"/>
                      </a:lnTo>
                      <a:lnTo>
                        <a:pt x="619" y="329"/>
                      </a:lnTo>
                      <a:lnTo>
                        <a:pt x="631" y="325"/>
                      </a:lnTo>
                      <a:lnTo>
                        <a:pt x="641" y="329"/>
                      </a:lnTo>
                      <a:lnTo>
                        <a:pt x="657" y="333"/>
                      </a:lnTo>
                      <a:lnTo>
                        <a:pt x="695" y="329"/>
                      </a:lnTo>
                      <a:lnTo>
                        <a:pt x="745" y="337"/>
                      </a:lnTo>
                      <a:lnTo>
                        <a:pt x="753" y="343"/>
                      </a:lnTo>
                      <a:lnTo>
                        <a:pt x="777" y="351"/>
                      </a:lnTo>
                      <a:lnTo>
                        <a:pt x="777" y="325"/>
                      </a:lnTo>
                      <a:lnTo>
                        <a:pt x="745" y="287"/>
                      </a:lnTo>
                      <a:lnTo>
                        <a:pt x="795" y="275"/>
                      </a:lnTo>
                      <a:lnTo>
                        <a:pt x="787" y="256"/>
                      </a:lnTo>
                      <a:lnTo>
                        <a:pt x="791" y="222"/>
                      </a:lnTo>
                      <a:lnTo>
                        <a:pt x="833" y="234"/>
                      </a:lnTo>
                      <a:lnTo>
                        <a:pt x="848" y="226"/>
                      </a:lnTo>
                      <a:lnTo>
                        <a:pt x="840" y="192"/>
                      </a:lnTo>
                      <a:lnTo>
                        <a:pt x="852" y="18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3" name="vMap : Afghanistan">
                  <a:extLst>
                    <a:ext uri="{FF2B5EF4-FFF2-40B4-BE49-F238E27FC236}">
                      <a16:creationId xmlns:a16="http://schemas.microsoft.com/office/drawing/2014/main" xmlns="" id="{597B2CD0-D1FE-7841-AB76-3DB962BBDB5F}"/>
                    </a:ext>
                  </a:extLst>
                </p:cNvPr>
                <p:cNvSpPr>
                  <a:spLocks noChangeAspect="1"/>
                </p:cNvSpPr>
                <p:nvPr>
                  <p:custDataLst>
                    <p:tags r:id="rId83"/>
                  </p:custDataLst>
                </p:nvPr>
              </p:nvSpPr>
              <p:spPr bwMode="gray">
                <a:xfrm>
                  <a:off x="5394058" y="3219029"/>
                  <a:ext cx="286001" cy="241025"/>
                </a:xfrm>
                <a:custGeom>
                  <a:avLst/>
                  <a:gdLst>
                    <a:gd name="T0" fmla="*/ 0 w 309"/>
                    <a:gd name="T1" fmla="*/ 45 h 253"/>
                    <a:gd name="T2" fmla="*/ 3 w 309"/>
                    <a:gd name="T3" fmla="*/ 37 h 253"/>
                    <a:gd name="T4" fmla="*/ 3 w 309"/>
                    <a:gd name="T5" fmla="*/ 27 h 253"/>
                    <a:gd name="T6" fmla="*/ 6 w 309"/>
                    <a:gd name="T7" fmla="*/ 31 h 253"/>
                    <a:gd name="T8" fmla="*/ 17 w 309"/>
                    <a:gd name="T9" fmla="*/ 34 h 253"/>
                    <a:gd name="T10" fmla="*/ 18 w 309"/>
                    <a:gd name="T11" fmla="*/ 27 h 253"/>
                    <a:gd name="T12" fmla="*/ 30 w 309"/>
                    <a:gd name="T13" fmla="*/ 23 h 253"/>
                    <a:gd name="T14" fmla="*/ 31 w 309"/>
                    <a:gd name="T15" fmla="*/ 13 h 253"/>
                    <a:gd name="T16" fmla="*/ 38 w 309"/>
                    <a:gd name="T17" fmla="*/ 10 h 253"/>
                    <a:gd name="T18" fmla="*/ 44 w 309"/>
                    <a:gd name="T19" fmla="*/ 11 h 253"/>
                    <a:gd name="T20" fmla="*/ 52 w 309"/>
                    <a:gd name="T21" fmla="*/ 14 h 253"/>
                    <a:gd name="T22" fmla="*/ 58 w 309"/>
                    <a:gd name="T23" fmla="*/ 16 h 253"/>
                    <a:gd name="T24" fmla="*/ 69 w 309"/>
                    <a:gd name="T25" fmla="*/ 14 h 253"/>
                    <a:gd name="T26" fmla="*/ 69 w 309"/>
                    <a:gd name="T27" fmla="*/ 10 h 253"/>
                    <a:gd name="T28" fmla="*/ 75 w 309"/>
                    <a:gd name="T29" fmla="*/ 10 h 253"/>
                    <a:gd name="T30" fmla="*/ 79 w 309"/>
                    <a:gd name="T31" fmla="*/ 0 h 253"/>
                    <a:gd name="T32" fmla="*/ 85 w 309"/>
                    <a:gd name="T33" fmla="*/ 6 h 253"/>
                    <a:gd name="T34" fmla="*/ 89 w 309"/>
                    <a:gd name="T35" fmla="*/ 19 h 253"/>
                    <a:gd name="T36" fmla="*/ 103 w 309"/>
                    <a:gd name="T37" fmla="*/ 10 h 253"/>
                    <a:gd name="T38" fmla="*/ 114 w 309"/>
                    <a:gd name="T39" fmla="*/ 13 h 253"/>
                    <a:gd name="T40" fmla="*/ 113 w 309"/>
                    <a:gd name="T41" fmla="*/ 16 h 253"/>
                    <a:gd name="T42" fmla="*/ 106 w 309"/>
                    <a:gd name="T43" fmla="*/ 17 h 253"/>
                    <a:gd name="T44" fmla="*/ 97 w 309"/>
                    <a:gd name="T45" fmla="*/ 17 h 253"/>
                    <a:gd name="T46" fmla="*/ 88 w 309"/>
                    <a:gd name="T47" fmla="*/ 25 h 253"/>
                    <a:gd name="T48" fmla="*/ 92 w 309"/>
                    <a:gd name="T49" fmla="*/ 34 h 253"/>
                    <a:gd name="T50" fmla="*/ 89 w 309"/>
                    <a:gd name="T51" fmla="*/ 45 h 253"/>
                    <a:gd name="T52" fmla="*/ 80 w 309"/>
                    <a:gd name="T53" fmla="*/ 45 h 253"/>
                    <a:gd name="T54" fmla="*/ 85 w 309"/>
                    <a:gd name="T55" fmla="*/ 53 h 253"/>
                    <a:gd name="T56" fmla="*/ 79 w 309"/>
                    <a:gd name="T57" fmla="*/ 56 h 253"/>
                    <a:gd name="T58" fmla="*/ 79 w 309"/>
                    <a:gd name="T59" fmla="*/ 69 h 253"/>
                    <a:gd name="T60" fmla="*/ 58 w 309"/>
                    <a:gd name="T61" fmla="*/ 75 h 253"/>
                    <a:gd name="T62" fmla="*/ 55 w 309"/>
                    <a:gd name="T63" fmla="*/ 91 h 253"/>
                    <a:gd name="T64" fmla="*/ 24 w 309"/>
                    <a:gd name="T65" fmla="*/ 95 h 253"/>
                    <a:gd name="T66" fmla="*/ 10 w 309"/>
                    <a:gd name="T67" fmla="*/ 91 h 253"/>
                    <a:gd name="T68" fmla="*/ 14 w 309"/>
                    <a:gd name="T69" fmla="*/ 76 h 253"/>
                    <a:gd name="T70" fmla="*/ 6 w 309"/>
                    <a:gd name="T71" fmla="*/ 70 h 253"/>
                    <a:gd name="T72" fmla="*/ 0 w 309"/>
                    <a:gd name="T73" fmla="*/ 45 h 2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09" h="253">
                      <a:moveTo>
                        <a:pt x="0" y="121"/>
                      </a:moveTo>
                      <a:lnTo>
                        <a:pt x="8" y="99"/>
                      </a:lnTo>
                      <a:lnTo>
                        <a:pt x="8" y="72"/>
                      </a:lnTo>
                      <a:lnTo>
                        <a:pt x="16" y="84"/>
                      </a:lnTo>
                      <a:lnTo>
                        <a:pt x="46" y="92"/>
                      </a:lnTo>
                      <a:lnTo>
                        <a:pt x="50" y="72"/>
                      </a:lnTo>
                      <a:lnTo>
                        <a:pt x="80" y="62"/>
                      </a:lnTo>
                      <a:lnTo>
                        <a:pt x="84" y="34"/>
                      </a:lnTo>
                      <a:lnTo>
                        <a:pt x="104" y="26"/>
                      </a:lnTo>
                      <a:lnTo>
                        <a:pt x="118" y="30"/>
                      </a:lnTo>
                      <a:lnTo>
                        <a:pt x="142" y="38"/>
                      </a:lnTo>
                      <a:lnTo>
                        <a:pt x="158" y="42"/>
                      </a:lnTo>
                      <a:lnTo>
                        <a:pt x="188" y="38"/>
                      </a:lnTo>
                      <a:lnTo>
                        <a:pt x="188" y="26"/>
                      </a:lnTo>
                      <a:lnTo>
                        <a:pt x="204" y="26"/>
                      </a:lnTo>
                      <a:lnTo>
                        <a:pt x="213" y="0"/>
                      </a:lnTo>
                      <a:lnTo>
                        <a:pt x="229" y="16"/>
                      </a:lnTo>
                      <a:lnTo>
                        <a:pt x="241" y="50"/>
                      </a:lnTo>
                      <a:lnTo>
                        <a:pt x="279" y="26"/>
                      </a:lnTo>
                      <a:lnTo>
                        <a:pt x="309" y="34"/>
                      </a:lnTo>
                      <a:lnTo>
                        <a:pt x="305" y="42"/>
                      </a:lnTo>
                      <a:lnTo>
                        <a:pt x="287" y="46"/>
                      </a:lnTo>
                      <a:lnTo>
                        <a:pt x="263" y="46"/>
                      </a:lnTo>
                      <a:lnTo>
                        <a:pt x="237" y="66"/>
                      </a:lnTo>
                      <a:lnTo>
                        <a:pt x="249" y="92"/>
                      </a:lnTo>
                      <a:lnTo>
                        <a:pt x="241" y="121"/>
                      </a:lnTo>
                      <a:lnTo>
                        <a:pt x="217" y="121"/>
                      </a:lnTo>
                      <a:lnTo>
                        <a:pt x="229" y="141"/>
                      </a:lnTo>
                      <a:lnTo>
                        <a:pt x="213" y="149"/>
                      </a:lnTo>
                      <a:lnTo>
                        <a:pt x="213" y="183"/>
                      </a:lnTo>
                      <a:lnTo>
                        <a:pt x="158" y="199"/>
                      </a:lnTo>
                      <a:lnTo>
                        <a:pt x="150" y="241"/>
                      </a:lnTo>
                      <a:lnTo>
                        <a:pt x="66" y="253"/>
                      </a:lnTo>
                      <a:lnTo>
                        <a:pt x="26" y="241"/>
                      </a:lnTo>
                      <a:lnTo>
                        <a:pt x="38" y="203"/>
                      </a:lnTo>
                      <a:lnTo>
                        <a:pt x="16" y="187"/>
                      </a:lnTo>
                      <a:lnTo>
                        <a:pt x="0" y="12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4" name="vMap : China">
                  <a:extLst>
                    <a:ext uri="{FF2B5EF4-FFF2-40B4-BE49-F238E27FC236}">
                      <a16:creationId xmlns:a16="http://schemas.microsoft.com/office/drawing/2014/main" xmlns="" id="{D0C48AD6-B8F9-C040-AD96-B65F372B621E}"/>
                    </a:ext>
                  </a:extLst>
                </p:cNvPr>
                <p:cNvSpPr>
                  <a:spLocks noChangeAspect="1"/>
                </p:cNvSpPr>
                <p:nvPr>
                  <p:custDataLst>
                    <p:tags r:id="rId84"/>
                  </p:custDataLst>
                </p:nvPr>
              </p:nvSpPr>
              <p:spPr bwMode="gray">
                <a:xfrm>
                  <a:off x="5645069" y="2834944"/>
                  <a:ext cx="1172909" cy="864580"/>
                </a:xfrm>
                <a:custGeom>
                  <a:avLst/>
                  <a:gdLst>
                    <a:gd name="T0" fmla="*/ 110 w 1255"/>
                    <a:gd name="T1" fmla="*/ 249 h 907"/>
                    <a:gd name="T2" fmla="*/ 124 w 1255"/>
                    <a:gd name="T3" fmla="*/ 253 h 907"/>
                    <a:gd name="T4" fmla="*/ 152 w 1255"/>
                    <a:gd name="T5" fmla="*/ 262 h 907"/>
                    <a:gd name="T6" fmla="*/ 168 w 1255"/>
                    <a:gd name="T7" fmla="*/ 258 h 907"/>
                    <a:gd name="T8" fmla="*/ 218 w 1255"/>
                    <a:gd name="T9" fmla="*/ 245 h 907"/>
                    <a:gd name="T10" fmla="*/ 238 w 1255"/>
                    <a:gd name="T11" fmla="*/ 258 h 907"/>
                    <a:gd name="T12" fmla="*/ 245 w 1255"/>
                    <a:gd name="T13" fmla="*/ 303 h 907"/>
                    <a:gd name="T14" fmla="*/ 262 w 1255"/>
                    <a:gd name="T15" fmla="*/ 312 h 907"/>
                    <a:gd name="T16" fmla="*/ 279 w 1255"/>
                    <a:gd name="T17" fmla="*/ 327 h 907"/>
                    <a:gd name="T18" fmla="*/ 281 w 1255"/>
                    <a:gd name="T19" fmla="*/ 318 h 907"/>
                    <a:gd name="T20" fmla="*/ 302 w 1255"/>
                    <a:gd name="T21" fmla="*/ 317 h 907"/>
                    <a:gd name="T22" fmla="*/ 329 w 1255"/>
                    <a:gd name="T23" fmla="*/ 324 h 907"/>
                    <a:gd name="T24" fmla="*/ 356 w 1255"/>
                    <a:gd name="T25" fmla="*/ 334 h 907"/>
                    <a:gd name="T26" fmla="*/ 362 w 1255"/>
                    <a:gd name="T27" fmla="*/ 330 h 907"/>
                    <a:gd name="T28" fmla="*/ 388 w 1255"/>
                    <a:gd name="T29" fmla="*/ 319 h 907"/>
                    <a:gd name="T30" fmla="*/ 415 w 1255"/>
                    <a:gd name="T31" fmla="*/ 312 h 907"/>
                    <a:gd name="T32" fmla="*/ 437 w 1255"/>
                    <a:gd name="T33" fmla="*/ 276 h 907"/>
                    <a:gd name="T34" fmla="*/ 444 w 1255"/>
                    <a:gd name="T35" fmla="*/ 248 h 907"/>
                    <a:gd name="T36" fmla="*/ 447 w 1255"/>
                    <a:gd name="T37" fmla="*/ 240 h 907"/>
                    <a:gd name="T38" fmla="*/ 443 w 1255"/>
                    <a:gd name="T39" fmla="*/ 230 h 907"/>
                    <a:gd name="T40" fmla="*/ 429 w 1255"/>
                    <a:gd name="T41" fmla="*/ 212 h 907"/>
                    <a:gd name="T42" fmla="*/ 409 w 1255"/>
                    <a:gd name="T43" fmla="*/ 177 h 907"/>
                    <a:gd name="T44" fmla="*/ 422 w 1255"/>
                    <a:gd name="T45" fmla="*/ 169 h 907"/>
                    <a:gd name="T46" fmla="*/ 409 w 1255"/>
                    <a:gd name="T47" fmla="*/ 160 h 907"/>
                    <a:gd name="T48" fmla="*/ 377 w 1255"/>
                    <a:gd name="T49" fmla="*/ 150 h 907"/>
                    <a:gd name="T50" fmla="*/ 387 w 1255"/>
                    <a:gd name="T51" fmla="*/ 139 h 907"/>
                    <a:gd name="T52" fmla="*/ 405 w 1255"/>
                    <a:gd name="T53" fmla="*/ 142 h 907"/>
                    <a:gd name="T54" fmla="*/ 429 w 1255"/>
                    <a:gd name="T55" fmla="*/ 137 h 907"/>
                    <a:gd name="T56" fmla="*/ 450 w 1255"/>
                    <a:gd name="T57" fmla="*/ 117 h 907"/>
                    <a:gd name="T58" fmla="*/ 466 w 1255"/>
                    <a:gd name="T59" fmla="*/ 109 h 907"/>
                    <a:gd name="T60" fmla="*/ 461 w 1255"/>
                    <a:gd name="T61" fmla="*/ 82 h 907"/>
                    <a:gd name="T62" fmla="*/ 471 w 1255"/>
                    <a:gd name="T63" fmla="*/ 58 h 907"/>
                    <a:gd name="T64" fmla="*/ 427 w 1255"/>
                    <a:gd name="T65" fmla="*/ 45 h 907"/>
                    <a:gd name="T66" fmla="*/ 361 w 1255"/>
                    <a:gd name="T67" fmla="*/ 4 h 907"/>
                    <a:gd name="T68" fmla="*/ 321 w 1255"/>
                    <a:gd name="T69" fmla="*/ 7 h 907"/>
                    <a:gd name="T70" fmla="*/ 326 w 1255"/>
                    <a:gd name="T71" fmla="*/ 19 h 907"/>
                    <a:gd name="T72" fmla="*/ 308 w 1255"/>
                    <a:gd name="T73" fmla="*/ 34 h 907"/>
                    <a:gd name="T74" fmla="*/ 326 w 1255"/>
                    <a:gd name="T75" fmla="*/ 59 h 907"/>
                    <a:gd name="T76" fmla="*/ 331 w 1255"/>
                    <a:gd name="T77" fmla="*/ 69 h 907"/>
                    <a:gd name="T78" fmla="*/ 299 w 1255"/>
                    <a:gd name="T79" fmla="*/ 92 h 907"/>
                    <a:gd name="T80" fmla="*/ 276 w 1255"/>
                    <a:gd name="T81" fmla="*/ 111 h 907"/>
                    <a:gd name="T82" fmla="*/ 185 w 1255"/>
                    <a:gd name="T83" fmla="*/ 108 h 907"/>
                    <a:gd name="T84" fmla="*/ 119 w 1255"/>
                    <a:gd name="T85" fmla="*/ 70 h 907"/>
                    <a:gd name="T86" fmla="*/ 84 w 1255"/>
                    <a:gd name="T87" fmla="*/ 45 h 907"/>
                    <a:gd name="T88" fmla="*/ 74 w 1255"/>
                    <a:gd name="T89" fmla="*/ 64 h 907"/>
                    <a:gd name="T90" fmla="*/ 50 w 1255"/>
                    <a:gd name="T91" fmla="*/ 75 h 907"/>
                    <a:gd name="T92" fmla="*/ 47 w 1255"/>
                    <a:gd name="T93" fmla="*/ 101 h 907"/>
                    <a:gd name="T94" fmla="*/ 33 w 1255"/>
                    <a:gd name="T95" fmla="*/ 125 h 907"/>
                    <a:gd name="T96" fmla="*/ 7 w 1255"/>
                    <a:gd name="T97" fmla="*/ 131 h 907"/>
                    <a:gd name="T98" fmla="*/ 12 w 1255"/>
                    <a:gd name="T99" fmla="*/ 153 h 907"/>
                    <a:gd name="T100" fmla="*/ 25 w 1255"/>
                    <a:gd name="T101" fmla="*/ 170 h 907"/>
                    <a:gd name="T102" fmla="*/ 57 w 1255"/>
                    <a:gd name="T103" fmla="*/ 177 h 907"/>
                    <a:gd name="T104" fmla="*/ 58 w 1255"/>
                    <a:gd name="T105" fmla="*/ 199 h 907"/>
                    <a:gd name="T106" fmla="*/ 63 w 1255"/>
                    <a:gd name="T107" fmla="*/ 214 h 907"/>
                    <a:gd name="T108" fmla="*/ 69 w 1255"/>
                    <a:gd name="T109" fmla="*/ 229 h 90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55" h="907">
                      <a:moveTo>
                        <a:pt x="225" y="632"/>
                      </a:moveTo>
                      <a:lnTo>
                        <a:pt x="257" y="636"/>
                      </a:lnTo>
                      <a:lnTo>
                        <a:pt x="291" y="662"/>
                      </a:lnTo>
                      <a:lnTo>
                        <a:pt x="303" y="660"/>
                      </a:lnTo>
                      <a:lnTo>
                        <a:pt x="303" y="670"/>
                      </a:lnTo>
                      <a:lnTo>
                        <a:pt x="329" y="674"/>
                      </a:lnTo>
                      <a:lnTo>
                        <a:pt x="329" y="686"/>
                      </a:lnTo>
                      <a:lnTo>
                        <a:pt x="353" y="698"/>
                      </a:lnTo>
                      <a:lnTo>
                        <a:pt x="403" y="698"/>
                      </a:lnTo>
                      <a:lnTo>
                        <a:pt x="417" y="694"/>
                      </a:lnTo>
                      <a:lnTo>
                        <a:pt x="425" y="712"/>
                      </a:lnTo>
                      <a:lnTo>
                        <a:pt x="444" y="686"/>
                      </a:lnTo>
                      <a:lnTo>
                        <a:pt x="486" y="698"/>
                      </a:lnTo>
                      <a:lnTo>
                        <a:pt x="544" y="660"/>
                      </a:lnTo>
                      <a:lnTo>
                        <a:pt x="578" y="652"/>
                      </a:lnTo>
                      <a:lnTo>
                        <a:pt x="594" y="678"/>
                      </a:lnTo>
                      <a:lnTo>
                        <a:pt x="620" y="690"/>
                      </a:lnTo>
                      <a:lnTo>
                        <a:pt x="632" y="686"/>
                      </a:lnTo>
                      <a:lnTo>
                        <a:pt x="650" y="706"/>
                      </a:lnTo>
                      <a:lnTo>
                        <a:pt x="658" y="732"/>
                      </a:lnTo>
                      <a:lnTo>
                        <a:pt x="648" y="807"/>
                      </a:lnTo>
                      <a:lnTo>
                        <a:pt x="673" y="801"/>
                      </a:lnTo>
                      <a:lnTo>
                        <a:pt x="681" y="823"/>
                      </a:lnTo>
                      <a:lnTo>
                        <a:pt x="693" y="831"/>
                      </a:lnTo>
                      <a:lnTo>
                        <a:pt x="693" y="849"/>
                      </a:lnTo>
                      <a:lnTo>
                        <a:pt x="719" y="869"/>
                      </a:lnTo>
                      <a:lnTo>
                        <a:pt x="739" y="869"/>
                      </a:lnTo>
                      <a:lnTo>
                        <a:pt x="741" y="881"/>
                      </a:lnTo>
                      <a:lnTo>
                        <a:pt x="749" y="877"/>
                      </a:lnTo>
                      <a:lnTo>
                        <a:pt x="745" y="847"/>
                      </a:lnTo>
                      <a:lnTo>
                        <a:pt x="761" y="847"/>
                      </a:lnTo>
                      <a:lnTo>
                        <a:pt x="765" y="839"/>
                      </a:lnTo>
                      <a:lnTo>
                        <a:pt x="799" y="843"/>
                      </a:lnTo>
                      <a:lnTo>
                        <a:pt x="831" y="823"/>
                      </a:lnTo>
                      <a:lnTo>
                        <a:pt x="865" y="839"/>
                      </a:lnTo>
                      <a:lnTo>
                        <a:pt x="873" y="861"/>
                      </a:lnTo>
                      <a:lnTo>
                        <a:pt x="899" y="873"/>
                      </a:lnTo>
                      <a:lnTo>
                        <a:pt x="940" y="869"/>
                      </a:lnTo>
                      <a:lnTo>
                        <a:pt x="944" y="889"/>
                      </a:lnTo>
                      <a:lnTo>
                        <a:pt x="956" y="907"/>
                      </a:lnTo>
                      <a:lnTo>
                        <a:pt x="964" y="903"/>
                      </a:lnTo>
                      <a:lnTo>
                        <a:pt x="960" y="877"/>
                      </a:lnTo>
                      <a:lnTo>
                        <a:pt x="1018" y="861"/>
                      </a:lnTo>
                      <a:lnTo>
                        <a:pt x="1018" y="843"/>
                      </a:lnTo>
                      <a:lnTo>
                        <a:pt x="1028" y="849"/>
                      </a:lnTo>
                      <a:lnTo>
                        <a:pt x="1028" y="835"/>
                      </a:lnTo>
                      <a:lnTo>
                        <a:pt x="1040" y="849"/>
                      </a:lnTo>
                      <a:lnTo>
                        <a:pt x="1098" y="831"/>
                      </a:lnTo>
                      <a:lnTo>
                        <a:pt x="1156" y="762"/>
                      </a:lnTo>
                      <a:lnTo>
                        <a:pt x="1152" y="732"/>
                      </a:lnTo>
                      <a:lnTo>
                        <a:pt x="1159" y="736"/>
                      </a:lnTo>
                      <a:lnTo>
                        <a:pt x="1173" y="686"/>
                      </a:lnTo>
                      <a:lnTo>
                        <a:pt x="1181" y="690"/>
                      </a:lnTo>
                      <a:lnTo>
                        <a:pt x="1177" y="660"/>
                      </a:lnTo>
                      <a:lnTo>
                        <a:pt x="1185" y="656"/>
                      </a:lnTo>
                      <a:lnTo>
                        <a:pt x="1173" y="652"/>
                      </a:lnTo>
                      <a:lnTo>
                        <a:pt x="1185" y="640"/>
                      </a:lnTo>
                      <a:lnTo>
                        <a:pt x="1163" y="632"/>
                      </a:lnTo>
                      <a:lnTo>
                        <a:pt x="1140" y="636"/>
                      </a:lnTo>
                      <a:lnTo>
                        <a:pt x="1173" y="612"/>
                      </a:lnTo>
                      <a:lnTo>
                        <a:pt x="1124" y="582"/>
                      </a:lnTo>
                      <a:lnTo>
                        <a:pt x="1167" y="590"/>
                      </a:lnTo>
                      <a:lnTo>
                        <a:pt x="1136" y="564"/>
                      </a:lnTo>
                      <a:lnTo>
                        <a:pt x="1106" y="520"/>
                      </a:lnTo>
                      <a:lnTo>
                        <a:pt x="1074" y="506"/>
                      </a:lnTo>
                      <a:lnTo>
                        <a:pt x="1082" y="469"/>
                      </a:lnTo>
                      <a:lnTo>
                        <a:pt x="1094" y="471"/>
                      </a:lnTo>
                      <a:lnTo>
                        <a:pt x="1094" y="457"/>
                      </a:lnTo>
                      <a:lnTo>
                        <a:pt x="1118" y="449"/>
                      </a:lnTo>
                      <a:lnTo>
                        <a:pt x="1124" y="453"/>
                      </a:lnTo>
                      <a:lnTo>
                        <a:pt x="1128" y="437"/>
                      </a:lnTo>
                      <a:lnTo>
                        <a:pt x="1082" y="425"/>
                      </a:lnTo>
                      <a:lnTo>
                        <a:pt x="1060" y="445"/>
                      </a:lnTo>
                      <a:lnTo>
                        <a:pt x="1014" y="415"/>
                      </a:lnTo>
                      <a:lnTo>
                        <a:pt x="998" y="399"/>
                      </a:lnTo>
                      <a:lnTo>
                        <a:pt x="1002" y="387"/>
                      </a:lnTo>
                      <a:lnTo>
                        <a:pt x="1026" y="383"/>
                      </a:lnTo>
                      <a:lnTo>
                        <a:pt x="1026" y="369"/>
                      </a:lnTo>
                      <a:lnTo>
                        <a:pt x="1064" y="333"/>
                      </a:lnTo>
                      <a:lnTo>
                        <a:pt x="1078" y="353"/>
                      </a:lnTo>
                      <a:lnTo>
                        <a:pt x="1072" y="377"/>
                      </a:lnTo>
                      <a:lnTo>
                        <a:pt x="1082" y="379"/>
                      </a:lnTo>
                      <a:lnTo>
                        <a:pt x="1078" y="399"/>
                      </a:lnTo>
                      <a:lnTo>
                        <a:pt x="1136" y="365"/>
                      </a:lnTo>
                      <a:lnTo>
                        <a:pt x="1169" y="323"/>
                      </a:lnTo>
                      <a:lnTo>
                        <a:pt x="1201" y="323"/>
                      </a:lnTo>
                      <a:lnTo>
                        <a:pt x="1193" y="311"/>
                      </a:lnTo>
                      <a:lnTo>
                        <a:pt x="1209" y="307"/>
                      </a:lnTo>
                      <a:lnTo>
                        <a:pt x="1219" y="283"/>
                      </a:lnTo>
                      <a:lnTo>
                        <a:pt x="1235" y="291"/>
                      </a:lnTo>
                      <a:lnTo>
                        <a:pt x="1239" y="269"/>
                      </a:lnTo>
                      <a:lnTo>
                        <a:pt x="1213" y="233"/>
                      </a:lnTo>
                      <a:lnTo>
                        <a:pt x="1223" y="219"/>
                      </a:lnTo>
                      <a:lnTo>
                        <a:pt x="1255" y="223"/>
                      </a:lnTo>
                      <a:lnTo>
                        <a:pt x="1239" y="162"/>
                      </a:lnTo>
                      <a:lnTo>
                        <a:pt x="1247" y="154"/>
                      </a:lnTo>
                      <a:lnTo>
                        <a:pt x="1231" y="132"/>
                      </a:lnTo>
                      <a:lnTo>
                        <a:pt x="1167" y="150"/>
                      </a:lnTo>
                      <a:lnTo>
                        <a:pt x="1132" y="120"/>
                      </a:lnTo>
                      <a:lnTo>
                        <a:pt x="1056" y="100"/>
                      </a:lnTo>
                      <a:lnTo>
                        <a:pt x="1028" y="66"/>
                      </a:lnTo>
                      <a:lnTo>
                        <a:pt x="956" y="12"/>
                      </a:lnTo>
                      <a:lnTo>
                        <a:pt x="907" y="0"/>
                      </a:lnTo>
                      <a:lnTo>
                        <a:pt x="857" y="4"/>
                      </a:lnTo>
                      <a:lnTo>
                        <a:pt x="849" y="20"/>
                      </a:lnTo>
                      <a:lnTo>
                        <a:pt x="865" y="24"/>
                      </a:lnTo>
                      <a:lnTo>
                        <a:pt x="877" y="40"/>
                      </a:lnTo>
                      <a:lnTo>
                        <a:pt x="865" y="50"/>
                      </a:lnTo>
                      <a:lnTo>
                        <a:pt x="873" y="90"/>
                      </a:lnTo>
                      <a:lnTo>
                        <a:pt x="853" y="100"/>
                      </a:lnTo>
                      <a:lnTo>
                        <a:pt x="815" y="92"/>
                      </a:lnTo>
                      <a:lnTo>
                        <a:pt x="811" y="112"/>
                      </a:lnTo>
                      <a:lnTo>
                        <a:pt x="837" y="154"/>
                      </a:lnTo>
                      <a:lnTo>
                        <a:pt x="865" y="158"/>
                      </a:lnTo>
                      <a:lnTo>
                        <a:pt x="885" y="142"/>
                      </a:lnTo>
                      <a:lnTo>
                        <a:pt x="930" y="182"/>
                      </a:lnTo>
                      <a:lnTo>
                        <a:pt x="877" y="182"/>
                      </a:lnTo>
                      <a:lnTo>
                        <a:pt x="831" y="231"/>
                      </a:lnTo>
                      <a:lnTo>
                        <a:pt x="791" y="227"/>
                      </a:lnTo>
                      <a:lnTo>
                        <a:pt x="791" y="245"/>
                      </a:lnTo>
                      <a:lnTo>
                        <a:pt x="807" y="261"/>
                      </a:lnTo>
                      <a:lnTo>
                        <a:pt x="781" y="291"/>
                      </a:lnTo>
                      <a:lnTo>
                        <a:pt x="731" y="295"/>
                      </a:lnTo>
                      <a:lnTo>
                        <a:pt x="677" y="319"/>
                      </a:lnTo>
                      <a:lnTo>
                        <a:pt x="574" y="283"/>
                      </a:lnTo>
                      <a:lnTo>
                        <a:pt x="490" y="287"/>
                      </a:lnTo>
                      <a:lnTo>
                        <a:pt x="436" y="245"/>
                      </a:lnTo>
                      <a:lnTo>
                        <a:pt x="321" y="219"/>
                      </a:lnTo>
                      <a:lnTo>
                        <a:pt x="315" y="186"/>
                      </a:lnTo>
                      <a:lnTo>
                        <a:pt x="291" y="154"/>
                      </a:lnTo>
                      <a:lnTo>
                        <a:pt x="257" y="146"/>
                      </a:lnTo>
                      <a:lnTo>
                        <a:pt x="221" y="120"/>
                      </a:lnTo>
                      <a:lnTo>
                        <a:pt x="199" y="128"/>
                      </a:lnTo>
                      <a:lnTo>
                        <a:pt x="187" y="136"/>
                      </a:lnTo>
                      <a:lnTo>
                        <a:pt x="195" y="170"/>
                      </a:lnTo>
                      <a:lnTo>
                        <a:pt x="180" y="178"/>
                      </a:lnTo>
                      <a:lnTo>
                        <a:pt x="138" y="166"/>
                      </a:lnTo>
                      <a:lnTo>
                        <a:pt x="134" y="200"/>
                      </a:lnTo>
                      <a:lnTo>
                        <a:pt x="142" y="219"/>
                      </a:lnTo>
                      <a:lnTo>
                        <a:pt x="92" y="231"/>
                      </a:lnTo>
                      <a:lnTo>
                        <a:pt x="124" y="269"/>
                      </a:lnTo>
                      <a:lnTo>
                        <a:pt x="124" y="295"/>
                      </a:lnTo>
                      <a:lnTo>
                        <a:pt x="124" y="307"/>
                      </a:lnTo>
                      <a:lnTo>
                        <a:pt x="88" y="333"/>
                      </a:lnTo>
                      <a:lnTo>
                        <a:pt x="58" y="337"/>
                      </a:lnTo>
                      <a:lnTo>
                        <a:pt x="50" y="353"/>
                      </a:lnTo>
                      <a:lnTo>
                        <a:pt x="20" y="349"/>
                      </a:lnTo>
                      <a:lnTo>
                        <a:pt x="0" y="361"/>
                      </a:lnTo>
                      <a:lnTo>
                        <a:pt x="0" y="395"/>
                      </a:lnTo>
                      <a:lnTo>
                        <a:pt x="32" y="407"/>
                      </a:lnTo>
                      <a:lnTo>
                        <a:pt x="38" y="437"/>
                      </a:lnTo>
                      <a:lnTo>
                        <a:pt x="34" y="445"/>
                      </a:lnTo>
                      <a:lnTo>
                        <a:pt x="66" y="453"/>
                      </a:lnTo>
                      <a:lnTo>
                        <a:pt x="80" y="475"/>
                      </a:lnTo>
                      <a:lnTo>
                        <a:pt x="116" y="487"/>
                      </a:lnTo>
                      <a:lnTo>
                        <a:pt x="150" y="471"/>
                      </a:lnTo>
                      <a:lnTo>
                        <a:pt x="176" y="487"/>
                      </a:lnTo>
                      <a:lnTo>
                        <a:pt x="170" y="524"/>
                      </a:lnTo>
                      <a:lnTo>
                        <a:pt x="154" y="528"/>
                      </a:lnTo>
                      <a:lnTo>
                        <a:pt x="158" y="544"/>
                      </a:lnTo>
                      <a:lnTo>
                        <a:pt x="176" y="564"/>
                      </a:lnTo>
                      <a:lnTo>
                        <a:pt x="166" y="570"/>
                      </a:lnTo>
                      <a:lnTo>
                        <a:pt x="150" y="566"/>
                      </a:lnTo>
                      <a:lnTo>
                        <a:pt x="174" y="610"/>
                      </a:lnTo>
                      <a:lnTo>
                        <a:pt x="183" y="610"/>
                      </a:lnTo>
                      <a:lnTo>
                        <a:pt x="225" y="632"/>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5" name="vMap : Turkmenistan">
                  <a:extLst>
                    <a:ext uri="{FF2B5EF4-FFF2-40B4-BE49-F238E27FC236}">
                      <a16:creationId xmlns:a16="http://schemas.microsoft.com/office/drawing/2014/main" xmlns="" id="{58BC9D89-21C1-9D4B-95A3-1EC980FBF65C}"/>
                    </a:ext>
                  </a:extLst>
                </p:cNvPr>
                <p:cNvSpPr>
                  <a:spLocks noChangeAspect="1"/>
                </p:cNvSpPr>
                <p:nvPr>
                  <p:custDataLst>
                    <p:tags r:id="rId85"/>
                  </p:custDataLst>
                </p:nvPr>
              </p:nvSpPr>
              <p:spPr bwMode="gray">
                <a:xfrm>
                  <a:off x="5185642" y="3100849"/>
                  <a:ext cx="316426" cy="205260"/>
                </a:xfrm>
                <a:custGeom>
                  <a:avLst/>
                  <a:gdLst>
                    <a:gd name="T0" fmla="*/ 46 w 339"/>
                    <a:gd name="T1" fmla="*/ 2 h 214"/>
                    <a:gd name="T2" fmla="*/ 44 w 339"/>
                    <a:gd name="T3" fmla="*/ 6 h 214"/>
                    <a:gd name="T4" fmla="*/ 40 w 339"/>
                    <a:gd name="T5" fmla="*/ 6 h 214"/>
                    <a:gd name="T6" fmla="*/ 37 w 339"/>
                    <a:gd name="T7" fmla="*/ 9 h 214"/>
                    <a:gd name="T8" fmla="*/ 40 w 339"/>
                    <a:gd name="T9" fmla="*/ 14 h 214"/>
                    <a:gd name="T10" fmla="*/ 39 w 339"/>
                    <a:gd name="T11" fmla="*/ 16 h 214"/>
                    <a:gd name="T12" fmla="*/ 30 w 339"/>
                    <a:gd name="T13" fmla="*/ 14 h 214"/>
                    <a:gd name="T14" fmla="*/ 26 w 339"/>
                    <a:gd name="T15" fmla="*/ 14 h 214"/>
                    <a:gd name="T16" fmla="*/ 17 w 339"/>
                    <a:gd name="T17" fmla="*/ 6 h 214"/>
                    <a:gd name="T18" fmla="*/ 13 w 339"/>
                    <a:gd name="T19" fmla="*/ 4 h 214"/>
                    <a:gd name="T20" fmla="*/ 4 w 339"/>
                    <a:gd name="T21" fmla="*/ 6 h 214"/>
                    <a:gd name="T22" fmla="*/ 0 w 339"/>
                    <a:gd name="T23" fmla="*/ 9 h 214"/>
                    <a:gd name="T24" fmla="*/ 0 w 339"/>
                    <a:gd name="T25" fmla="*/ 12 h 214"/>
                    <a:gd name="T26" fmla="*/ 4 w 339"/>
                    <a:gd name="T27" fmla="*/ 17 h 214"/>
                    <a:gd name="T28" fmla="*/ 2 w 339"/>
                    <a:gd name="T29" fmla="*/ 13 h 214"/>
                    <a:gd name="T30" fmla="*/ 8 w 339"/>
                    <a:gd name="T31" fmla="*/ 9 h 214"/>
                    <a:gd name="T32" fmla="*/ 21 w 339"/>
                    <a:gd name="T33" fmla="*/ 19 h 214"/>
                    <a:gd name="T34" fmla="*/ 19 w 339"/>
                    <a:gd name="T35" fmla="*/ 23 h 214"/>
                    <a:gd name="T36" fmla="*/ 7 w 339"/>
                    <a:gd name="T37" fmla="*/ 23 h 214"/>
                    <a:gd name="T38" fmla="*/ 6 w 339"/>
                    <a:gd name="T39" fmla="*/ 20 h 214"/>
                    <a:gd name="T40" fmla="*/ 7 w 339"/>
                    <a:gd name="T41" fmla="*/ 32 h 214"/>
                    <a:gd name="T42" fmla="*/ 11 w 339"/>
                    <a:gd name="T43" fmla="*/ 32 h 214"/>
                    <a:gd name="T44" fmla="*/ 17 w 339"/>
                    <a:gd name="T45" fmla="*/ 35 h 214"/>
                    <a:gd name="T46" fmla="*/ 13 w 339"/>
                    <a:gd name="T47" fmla="*/ 37 h 214"/>
                    <a:gd name="T48" fmla="*/ 19 w 339"/>
                    <a:gd name="T49" fmla="*/ 40 h 214"/>
                    <a:gd name="T50" fmla="*/ 20 w 339"/>
                    <a:gd name="T51" fmla="*/ 56 h 214"/>
                    <a:gd name="T52" fmla="*/ 33 w 339"/>
                    <a:gd name="T53" fmla="*/ 49 h 214"/>
                    <a:gd name="T54" fmla="*/ 46 w 339"/>
                    <a:gd name="T55" fmla="*/ 48 h 214"/>
                    <a:gd name="T56" fmla="*/ 83 w 339"/>
                    <a:gd name="T57" fmla="*/ 65 h 214"/>
                    <a:gd name="T58" fmla="*/ 87 w 339"/>
                    <a:gd name="T59" fmla="*/ 74 h 214"/>
                    <a:gd name="T60" fmla="*/ 89 w 339"/>
                    <a:gd name="T61" fmla="*/ 78 h 214"/>
                    <a:gd name="T62" fmla="*/ 101 w 339"/>
                    <a:gd name="T63" fmla="*/ 81 h 214"/>
                    <a:gd name="T64" fmla="*/ 102 w 339"/>
                    <a:gd name="T65" fmla="*/ 74 h 214"/>
                    <a:gd name="T66" fmla="*/ 114 w 339"/>
                    <a:gd name="T67" fmla="*/ 70 h 214"/>
                    <a:gd name="T68" fmla="*/ 115 w 339"/>
                    <a:gd name="T69" fmla="*/ 59 h 214"/>
                    <a:gd name="T70" fmla="*/ 122 w 339"/>
                    <a:gd name="T71" fmla="*/ 56 h 214"/>
                    <a:gd name="T72" fmla="*/ 128 w 339"/>
                    <a:gd name="T73" fmla="*/ 58 h 214"/>
                    <a:gd name="T74" fmla="*/ 126 w 339"/>
                    <a:gd name="T75" fmla="*/ 52 h 214"/>
                    <a:gd name="T76" fmla="*/ 128 w 339"/>
                    <a:gd name="T77" fmla="*/ 49 h 214"/>
                    <a:gd name="T78" fmla="*/ 126 w 339"/>
                    <a:gd name="T79" fmla="*/ 49 h 214"/>
                    <a:gd name="T80" fmla="*/ 121 w 339"/>
                    <a:gd name="T81" fmla="*/ 46 h 214"/>
                    <a:gd name="T82" fmla="*/ 117 w 339"/>
                    <a:gd name="T83" fmla="*/ 46 h 214"/>
                    <a:gd name="T84" fmla="*/ 108 w 339"/>
                    <a:gd name="T85" fmla="*/ 40 h 214"/>
                    <a:gd name="T86" fmla="*/ 104 w 339"/>
                    <a:gd name="T87" fmla="*/ 39 h 214"/>
                    <a:gd name="T88" fmla="*/ 98 w 339"/>
                    <a:gd name="T89" fmla="*/ 35 h 214"/>
                    <a:gd name="T90" fmla="*/ 89 w 339"/>
                    <a:gd name="T91" fmla="*/ 30 h 214"/>
                    <a:gd name="T92" fmla="*/ 80 w 339"/>
                    <a:gd name="T93" fmla="*/ 17 h 214"/>
                    <a:gd name="T94" fmla="*/ 77 w 339"/>
                    <a:gd name="T95" fmla="*/ 14 h 214"/>
                    <a:gd name="T96" fmla="*/ 74 w 339"/>
                    <a:gd name="T97" fmla="*/ 16 h 214"/>
                    <a:gd name="T98" fmla="*/ 65 w 339"/>
                    <a:gd name="T99" fmla="*/ 14 h 214"/>
                    <a:gd name="T100" fmla="*/ 63 w 339"/>
                    <a:gd name="T101" fmla="*/ 10 h 214"/>
                    <a:gd name="T102" fmla="*/ 65 w 339"/>
                    <a:gd name="T103" fmla="*/ 10 h 214"/>
                    <a:gd name="T104" fmla="*/ 62 w 339"/>
                    <a:gd name="T105" fmla="*/ 9 h 214"/>
                    <a:gd name="T106" fmla="*/ 62 w 339"/>
                    <a:gd name="T107" fmla="*/ 6 h 214"/>
                    <a:gd name="T108" fmla="*/ 56 w 339"/>
                    <a:gd name="T109" fmla="*/ 4 h 214"/>
                    <a:gd name="T110" fmla="*/ 49 w 339"/>
                    <a:gd name="T111" fmla="*/ 0 h 214"/>
                    <a:gd name="T112" fmla="*/ 46 w 339"/>
                    <a:gd name="T113" fmla="*/ 1 h 214"/>
                    <a:gd name="T114" fmla="*/ 46 w 339"/>
                    <a:gd name="T115" fmla="*/ 2 h 2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39" h="214">
                      <a:moveTo>
                        <a:pt x="122" y="6"/>
                      </a:moveTo>
                      <a:lnTo>
                        <a:pt x="118" y="14"/>
                      </a:lnTo>
                      <a:lnTo>
                        <a:pt x="106" y="14"/>
                      </a:lnTo>
                      <a:lnTo>
                        <a:pt x="98" y="22"/>
                      </a:lnTo>
                      <a:lnTo>
                        <a:pt x="106" y="38"/>
                      </a:lnTo>
                      <a:lnTo>
                        <a:pt x="102" y="42"/>
                      </a:lnTo>
                      <a:lnTo>
                        <a:pt x="80" y="38"/>
                      </a:lnTo>
                      <a:lnTo>
                        <a:pt x="68" y="38"/>
                      </a:lnTo>
                      <a:lnTo>
                        <a:pt x="46" y="14"/>
                      </a:lnTo>
                      <a:lnTo>
                        <a:pt x="34" y="10"/>
                      </a:lnTo>
                      <a:lnTo>
                        <a:pt x="10" y="14"/>
                      </a:lnTo>
                      <a:lnTo>
                        <a:pt x="0" y="22"/>
                      </a:lnTo>
                      <a:lnTo>
                        <a:pt x="0" y="30"/>
                      </a:lnTo>
                      <a:lnTo>
                        <a:pt x="10" y="46"/>
                      </a:lnTo>
                      <a:lnTo>
                        <a:pt x="6" y="34"/>
                      </a:lnTo>
                      <a:lnTo>
                        <a:pt x="22" y="22"/>
                      </a:lnTo>
                      <a:lnTo>
                        <a:pt x="56" y="48"/>
                      </a:lnTo>
                      <a:lnTo>
                        <a:pt x="50" y="60"/>
                      </a:lnTo>
                      <a:lnTo>
                        <a:pt x="18" y="60"/>
                      </a:lnTo>
                      <a:lnTo>
                        <a:pt x="14" y="52"/>
                      </a:lnTo>
                      <a:lnTo>
                        <a:pt x="18" y="84"/>
                      </a:lnTo>
                      <a:lnTo>
                        <a:pt x="30" y="84"/>
                      </a:lnTo>
                      <a:lnTo>
                        <a:pt x="46" y="92"/>
                      </a:lnTo>
                      <a:lnTo>
                        <a:pt x="34" y="98"/>
                      </a:lnTo>
                      <a:lnTo>
                        <a:pt x="50" y="106"/>
                      </a:lnTo>
                      <a:lnTo>
                        <a:pt x="52" y="148"/>
                      </a:lnTo>
                      <a:lnTo>
                        <a:pt x="88" y="130"/>
                      </a:lnTo>
                      <a:lnTo>
                        <a:pt x="122" y="126"/>
                      </a:lnTo>
                      <a:lnTo>
                        <a:pt x="221" y="172"/>
                      </a:lnTo>
                      <a:lnTo>
                        <a:pt x="229" y="194"/>
                      </a:lnTo>
                      <a:lnTo>
                        <a:pt x="237" y="206"/>
                      </a:lnTo>
                      <a:lnTo>
                        <a:pt x="267" y="214"/>
                      </a:lnTo>
                      <a:lnTo>
                        <a:pt x="271" y="194"/>
                      </a:lnTo>
                      <a:lnTo>
                        <a:pt x="301" y="184"/>
                      </a:lnTo>
                      <a:lnTo>
                        <a:pt x="305" y="156"/>
                      </a:lnTo>
                      <a:lnTo>
                        <a:pt x="325" y="148"/>
                      </a:lnTo>
                      <a:lnTo>
                        <a:pt x="339" y="152"/>
                      </a:lnTo>
                      <a:lnTo>
                        <a:pt x="335" y="138"/>
                      </a:lnTo>
                      <a:lnTo>
                        <a:pt x="339" y="130"/>
                      </a:lnTo>
                      <a:lnTo>
                        <a:pt x="335" y="130"/>
                      </a:lnTo>
                      <a:lnTo>
                        <a:pt x="321" y="122"/>
                      </a:lnTo>
                      <a:lnTo>
                        <a:pt x="309" y="122"/>
                      </a:lnTo>
                      <a:lnTo>
                        <a:pt x="287" y="106"/>
                      </a:lnTo>
                      <a:lnTo>
                        <a:pt x="275" y="102"/>
                      </a:lnTo>
                      <a:lnTo>
                        <a:pt x="259" y="92"/>
                      </a:lnTo>
                      <a:lnTo>
                        <a:pt x="237" y="80"/>
                      </a:lnTo>
                      <a:lnTo>
                        <a:pt x="213" y="46"/>
                      </a:lnTo>
                      <a:lnTo>
                        <a:pt x="205" y="38"/>
                      </a:lnTo>
                      <a:lnTo>
                        <a:pt x="197" y="42"/>
                      </a:lnTo>
                      <a:lnTo>
                        <a:pt x="172" y="38"/>
                      </a:lnTo>
                      <a:lnTo>
                        <a:pt x="168" y="26"/>
                      </a:lnTo>
                      <a:lnTo>
                        <a:pt x="172" y="26"/>
                      </a:lnTo>
                      <a:lnTo>
                        <a:pt x="164" y="22"/>
                      </a:lnTo>
                      <a:lnTo>
                        <a:pt x="164" y="14"/>
                      </a:lnTo>
                      <a:lnTo>
                        <a:pt x="148" y="10"/>
                      </a:lnTo>
                      <a:lnTo>
                        <a:pt x="130" y="0"/>
                      </a:lnTo>
                      <a:lnTo>
                        <a:pt x="122" y="2"/>
                      </a:lnTo>
                      <a:lnTo>
                        <a:pt x="122" y="6"/>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6" name="vMap : Uzbekistan">
                  <a:extLst>
                    <a:ext uri="{FF2B5EF4-FFF2-40B4-BE49-F238E27FC236}">
                      <a16:creationId xmlns:a16="http://schemas.microsoft.com/office/drawing/2014/main" xmlns="" id="{0110ED1D-B47C-C149-B44A-021302080D41}"/>
                    </a:ext>
                  </a:extLst>
                </p:cNvPr>
                <p:cNvSpPr>
                  <a:spLocks noChangeAspect="1"/>
                </p:cNvSpPr>
                <p:nvPr>
                  <p:custDataLst>
                    <p:tags r:id="rId86"/>
                  </p:custDataLst>
                </p:nvPr>
              </p:nvSpPr>
              <p:spPr bwMode="gray">
                <a:xfrm>
                  <a:off x="5241930" y="3026209"/>
                  <a:ext cx="380321" cy="228585"/>
                </a:xfrm>
                <a:custGeom>
                  <a:avLst/>
                  <a:gdLst>
                    <a:gd name="T0" fmla="*/ 22 w 406"/>
                    <a:gd name="T1" fmla="*/ 35 h 237"/>
                    <a:gd name="T2" fmla="*/ 14 w 406"/>
                    <a:gd name="T3" fmla="*/ 38 h 237"/>
                    <a:gd name="T4" fmla="*/ 16 w 406"/>
                    <a:gd name="T5" fmla="*/ 46 h 237"/>
                    <a:gd name="T6" fmla="*/ 0 w 406"/>
                    <a:gd name="T7" fmla="*/ 6 h 237"/>
                    <a:gd name="T8" fmla="*/ 35 w 406"/>
                    <a:gd name="T9" fmla="*/ 7 h 237"/>
                    <a:gd name="T10" fmla="*/ 77 w 406"/>
                    <a:gd name="T11" fmla="*/ 19 h 237"/>
                    <a:gd name="T12" fmla="*/ 87 w 406"/>
                    <a:gd name="T13" fmla="*/ 28 h 237"/>
                    <a:gd name="T14" fmla="*/ 91 w 406"/>
                    <a:gd name="T15" fmla="*/ 38 h 237"/>
                    <a:gd name="T16" fmla="*/ 100 w 406"/>
                    <a:gd name="T17" fmla="*/ 46 h 237"/>
                    <a:gd name="T18" fmla="*/ 116 w 406"/>
                    <a:gd name="T19" fmla="*/ 47 h 237"/>
                    <a:gd name="T20" fmla="*/ 125 w 406"/>
                    <a:gd name="T21" fmla="*/ 40 h 237"/>
                    <a:gd name="T22" fmla="*/ 129 w 406"/>
                    <a:gd name="T23" fmla="*/ 37 h 237"/>
                    <a:gd name="T24" fmla="*/ 134 w 406"/>
                    <a:gd name="T25" fmla="*/ 35 h 237"/>
                    <a:gd name="T26" fmla="*/ 128 w 406"/>
                    <a:gd name="T27" fmla="*/ 43 h 237"/>
                    <a:gd name="T28" fmla="*/ 140 w 406"/>
                    <a:gd name="T29" fmla="*/ 43 h 237"/>
                    <a:gd name="T30" fmla="*/ 154 w 406"/>
                    <a:gd name="T31" fmla="*/ 50 h 237"/>
                    <a:gd name="T32" fmla="*/ 145 w 406"/>
                    <a:gd name="T33" fmla="*/ 54 h 237"/>
                    <a:gd name="T34" fmla="*/ 137 w 406"/>
                    <a:gd name="T35" fmla="*/ 56 h 237"/>
                    <a:gd name="T36" fmla="*/ 131 w 406"/>
                    <a:gd name="T37" fmla="*/ 53 h 237"/>
                    <a:gd name="T38" fmla="*/ 132 w 406"/>
                    <a:gd name="T39" fmla="*/ 47 h 237"/>
                    <a:gd name="T40" fmla="*/ 125 w 406"/>
                    <a:gd name="T41" fmla="*/ 51 h 237"/>
                    <a:gd name="T42" fmla="*/ 122 w 406"/>
                    <a:gd name="T43" fmla="*/ 53 h 237"/>
                    <a:gd name="T44" fmla="*/ 119 w 406"/>
                    <a:gd name="T45" fmla="*/ 57 h 237"/>
                    <a:gd name="T46" fmla="*/ 109 w 406"/>
                    <a:gd name="T47" fmla="*/ 63 h 237"/>
                    <a:gd name="T48" fmla="*/ 112 w 406"/>
                    <a:gd name="T49" fmla="*/ 68 h 237"/>
                    <a:gd name="T50" fmla="*/ 116 w 406"/>
                    <a:gd name="T51" fmla="*/ 72 h 237"/>
                    <a:gd name="T52" fmla="*/ 116 w 406"/>
                    <a:gd name="T53" fmla="*/ 84 h 237"/>
                    <a:gd name="T54" fmla="*/ 106 w 406"/>
                    <a:gd name="T55" fmla="*/ 88 h 237"/>
                    <a:gd name="T56" fmla="*/ 106 w 406"/>
                    <a:gd name="T57" fmla="*/ 79 h 237"/>
                    <a:gd name="T58" fmla="*/ 99 w 406"/>
                    <a:gd name="T59" fmla="*/ 76 h 237"/>
                    <a:gd name="T60" fmla="*/ 86 w 406"/>
                    <a:gd name="T61" fmla="*/ 71 h 237"/>
                    <a:gd name="T62" fmla="*/ 76 w 406"/>
                    <a:gd name="T63" fmla="*/ 65 h 237"/>
                    <a:gd name="T64" fmla="*/ 58 w 406"/>
                    <a:gd name="T65" fmla="*/ 47 h 237"/>
                    <a:gd name="T66" fmla="*/ 52 w 406"/>
                    <a:gd name="T67" fmla="*/ 46 h 237"/>
                    <a:gd name="T68" fmla="*/ 41 w 406"/>
                    <a:gd name="T69" fmla="*/ 40 h 237"/>
                    <a:gd name="T70" fmla="*/ 39 w 406"/>
                    <a:gd name="T71" fmla="*/ 38 h 237"/>
                    <a:gd name="T72" fmla="*/ 33 w 406"/>
                    <a:gd name="T73" fmla="*/ 33 h 237"/>
                    <a:gd name="T74" fmla="*/ 23 w 406"/>
                    <a:gd name="T75" fmla="*/ 3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06" h="237">
                      <a:moveTo>
                        <a:pt x="62" y="83"/>
                      </a:moveTo>
                      <a:lnTo>
                        <a:pt x="58" y="91"/>
                      </a:lnTo>
                      <a:lnTo>
                        <a:pt x="46" y="91"/>
                      </a:lnTo>
                      <a:lnTo>
                        <a:pt x="38" y="99"/>
                      </a:lnTo>
                      <a:lnTo>
                        <a:pt x="46" y="115"/>
                      </a:lnTo>
                      <a:lnTo>
                        <a:pt x="42" y="119"/>
                      </a:lnTo>
                      <a:lnTo>
                        <a:pt x="20" y="115"/>
                      </a:lnTo>
                      <a:lnTo>
                        <a:pt x="0" y="15"/>
                      </a:lnTo>
                      <a:lnTo>
                        <a:pt x="50" y="0"/>
                      </a:lnTo>
                      <a:lnTo>
                        <a:pt x="92" y="19"/>
                      </a:lnTo>
                      <a:lnTo>
                        <a:pt x="141" y="57"/>
                      </a:lnTo>
                      <a:lnTo>
                        <a:pt x="203" y="49"/>
                      </a:lnTo>
                      <a:lnTo>
                        <a:pt x="223" y="61"/>
                      </a:lnTo>
                      <a:lnTo>
                        <a:pt x="229" y="73"/>
                      </a:lnTo>
                      <a:lnTo>
                        <a:pt x="237" y="73"/>
                      </a:lnTo>
                      <a:lnTo>
                        <a:pt x="241" y="99"/>
                      </a:lnTo>
                      <a:lnTo>
                        <a:pt x="257" y="99"/>
                      </a:lnTo>
                      <a:lnTo>
                        <a:pt x="265" y="119"/>
                      </a:lnTo>
                      <a:lnTo>
                        <a:pt x="283" y="115"/>
                      </a:lnTo>
                      <a:lnTo>
                        <a:pt x="307" y="123"/>
                      </a:lnTo>
                      <a:lnTo>
                        <a:pt x="319" y="111"/>
                      </a:lnTo>
                      <a:lnTo>
                        <a:pt x="329" y="103"/>
                      </a:lnTo>
                      <a:lnTo>
                        <a:pt x="333" y="95"/>
                      </a:lnTo>
                      <a:lnTo>
                        <a:pt x="341" y="95"/>
                      </a:lnTo>
                      <a:lnTo>
                        <a:pt x="345" y="87"/>
                      </a:lnTo>
                      <a:lnTo>
                        <a:pt x="353" y="91"/>
                      </a:lnTo>
                      <a:lnTo>
                        <a:pt x="337" y="107"/>
                      </a:lnTo>
                      <a:lnTo>
                        <a:pt x="337" y="111"/>
                      </a:lnTo>
                      <a:lnTo>
                        <a:pt x="365" y="123"/>
                      </a:lnTo>
                      <a:lnTo>
                        <a:pt x="369" y="111"/>
                      </a:lnTo>
                      <a:lnTo>
                        <a:pt x="382" y="123"/>
                      </a:lnTo>
                      <a:lnTo>
                        <a:pt x="406" y="129"/>
                      </a:lnTo>
                      <a:lnTo>
                        <a:pt x="394" y="137"/>
                      </a:lnTo>
                      <a:lnTo>
                        <a:pt x="382" y="141"/>
                      </a:lnTo>
                      <a:lnTo>
                        <a:pt x="378" y="145"/>
                      </a:lnTo>
                      <a:lnTo>
                        <a:pt x="361" y="145"/>
                      </a:lnTo>
                      <a:lnTo>
                        <a:pt x="353" y="145"/>
                      </a:lnTo>
                      <a:lnTo>
                        <a:pt x="345" y="137"/>
                      </a:lnTo>
                      <a:lnTo>
                        <a:pt x="353" y="129"/>
                      </a:lnTo>
                      <a:lnTo>
                        <a:pt x="349" y="123"/>
                      </a:lnTo>
                      <a:lnTo>
                        <a:pt x="345" y="123"/>
                      </a:lnTo>
                      <a:lnTo>
                        <a:pt x="329" y="133"/>
                      </a:lnTo>
                      <a:lnTo>
                        <a:pt x="321" y="133"/>
                      </a:lnTo>
                      <a:lnTo>
                        <a:pt x="321" y="137"/>
                      </a:lnTo>
                      <a:lnTo>
                        <a:pt x="321" y="145"/>
                      </a:lnTo>
                      <a:lnTo>
                        <a:pt x="315" y="149"/>
                      </a:lnTo>
                      <a:lnTo>
                        <a:pt x="311" y="161"/>
                      </a:lnTo>
                      <a:lnTo>
                        <a:pt x="287" y="165"/>
                      </a:lnTo>
                      <a:lnTo>
                        <a:pt x="287" y="173"/>
                      </a:lnTo>
                      <a:lnTo>
                        <a:pt x="295" y="175"/>
                      </a:lnTo>
                      <a:lnTo>
                        <a:pt x="303" y="179"/>
                      </a:lnTo>
                      <a:lnTo>
                        <a:pt x="307" y="187"/>
                      </a:lnTo>
                      <a:lnTo>
                        <a:pt x="315" y="203"/>
                      </a:lnTo>
                      <a:lnTo>
                        <a:pt x="307" y="219"/>
                      </a:lnTo>
                      <a:lnTo>
                        <a:pt x="303" y="237"/>
                      </a:lnTo>
                      <a:lnTo>
                        <a:pt x="279" y="229"/>
                      </a:lnTo>
                      <a:lnTo>
                        <a:pt x="275" y="215"/>
                      </a:lnTo>
                      <a:lnTo>
                        <a:pt x="279" y="207"/>
                      </a:lnTo>
                      <a:lnTo>
                        <a:pt x="275" y="207"/>
                      </a:lnTo>
                      <a:lnTo>
                        <a:pt x="261" y="199"/>
                      </a:lnTo>
                      <a:lnTo>
                        <a:pt x="249" y="199"/>
                      </a:lnTo>
                      <a:lnTo>
                        <a:pt x="227" y="183"/>
                      </a:lnTo>
                      <a:lnTo>
                        <a:pt x="215" y="179"/>
                      </a:lnTo>
                      <a:lnTo>
                        <a:pt x="199" y="169"/>
                      </a:lnTo>
                      <a:lnTo>
                        <a:pt x="177" y="157"/>
                      </a:lnTo>
                      <a:lnTo>
                        <a:pt x="153" y="123"/>
                      </a:lnTo>
                      <a:lnTo>
                        <a:pt x="145" y="115"/>
                      </a:lnTo>
                      <a:lnTo>
                        <a:pt x="137" y="119"/>
                      </a:lnTo>
                      <a:lnTo>
                        <a:pt x="112" y="115"/>
                      </a:lnTo>
                      <a:lnTo>
                        <a:pt x="108" y="103"/>
                      </a:lnTo>
                      <a:lnTo>
                        <a:pt x="112" y="103"/>
                      </a:lnTo>
                      <a:lnTo>
                        <a:pt x="104" y="99"/>
                      </a:lnTo>
                      <a:lnTo>
                        <a:pt x="104" y="91"/>
                      </a:lnTo>
                      <a:lnTo>
                        <a:pt x="88" y="87"/>
                      </a:lnTo>
                      <a:lnTo>
                        <a:pt x="70" y="77"/>
                      </a:lnTo>
                      <a:lnTo>
                        <a:pt x="62" y="79"/>
                      </a:lnTo>
                      <a:lnTo>
                        <a:pt x="62" y="83"/>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7" name="vMap : Kyrgyzstan">
                  <a:extLst>
                    <a:ext uri="{FF2B5EF4-FFF2-40B4-BE49-F238E27FC236}">
                      <a16:creationId xmlns:a16="http://schemas.microsoft.com/office/drawing/2014/main" xmlns="" id="{B07645BA-EE88-2F45-8F7B-8C94D18E54DB}"/>
                    </a:ext>
                  </a:extLst>
                </p:cNvPr>
                <p:cNvSpPr>
                  <a:spLocks noChangeAspect="1"/>
                </p:cNvSpPr>
                <p:nvPr>
                  <p:custDataLst>
                    <p:tags r:id="rId87"/>
                  </p:custDataLst>
                </p:nvPr>
              </p:nvSpPr>
              <p:spPr bwMode="gray">
                <a:xfrm>
                  <a:off x="5547707" y="3089965"/>
                  <a:ext cx="212979" cy="104184"/>
                </a:xfrm>
                <a:custGeom>
                  <a:avLst/>
                  <a:gdLst>
                    <a:gd name="T0" fmla="*/ 86 w 227"/>
                    <a:gd name="T1" fmla="*/ 10 h 108"/>
                    <a:gd name="T2" fmla="*/ 77 w 227"/>
                    <a:gd name="T3" fmla="*/ 7 h 108"/>
                    <a:gd name="T4" fmla="*/ 74 w 227"/>
                    <a:gd name="T5" fmla="*/ 4 h 108"/>
                    <a:gd name="T6" fmla="*/ 55 w 227"/>
                    <a:gd name="T7" fmla="*/ 1 h 108"/>
                    <a:gd name="T8" fmla="*/ 41 w 227"/>
                    <a:gd name="T9" fmla="*/ 3 h 108"/>
                    <a:gd name="T10" fmla="*/ 35 w 227"/>
                    <a:gd name="T11" fmla="*/ 1 h 108"/>
                    <a:gd name="T12" fmla="*/ 31 w 227"/>
                    <a:gd name="T13" fmla="*/ 0 h 108"/>
                    <a:gd name="T14" fmla="*/ 27 w 227"/>
                    <a:gd name="T15" fmla="*/ 1 h 108"/>
                    <a:gd name="T16" fmla="*/ 25 w 227"/>
                    <a:gd name="T17" fmla="*/ 7 h 108"/>
                    <a:gd name="T18" fmla="*/ 16 w 227"/>
                    <a:gd name="T19" fmla="*/ 4 h 108"/>
                    <a:gd name="T20" fmla="*/ 6 w 227"/>
                    <a:gd name="T21" fmla="*/ 4 h 108"/>
                    <a:gd name="T22" fmla="*/ 6 w 227"/>
                    <a:gd name="T23" fmla="*/ 7 h 108"/>
                    <a:gd name="T24" fmla="*/ 6 w 227"/>
                    <a:gd name="T25" fmla="*/ 9 h 108"/>
                    <a:gd name="T26" fmla="*/ 9 w 227"/>
                    <a:gd name="T27" fmla="*/ 10 h 108"/>
                    <a:gd name="T28" fmla="*/ 3 w 227"/>
                    <a:gd name="T29" fmla="*/ 16 h 108"/>
                    <a:gd name="T30" fmla="*/ 3 w 227"/>
                    <a:gd name="T31" fmla="*/ 18 h 108"/>
                    <a:gd name="T32" fmla="*/ 14 w 227"/>
                    <a:gd name="T33" fmla="*/ 22 h 108"/>
                    <a:gd name="T34" fmla="*/ 15 w 227"/>
                    <a:gd name="T35" fmla="*/ 18 h 108"/>
                    <a:gd name="T36" fmla="*/ 20 w 227"/>
                    <a:gd name="T37" fmla="*/ 22 h 108"/>
                    <a:gd name="T38" fmla="*/ 29 w 227"/>
                    <a:gd name="T39" fmla="*/ 25 h 108"/>
                    <a:gd name="T40" fmla="*/ 25 w 227"/>
                    <a:gd name="T41" fmla="*/ 28 h 108"/>
                    <a:gd name="T42" fmla="*/ 20 w 227"/>
                    <a:gd name="T43" fmla="*/ 29 h 108"/>
                    <a:gd name="T44" fmla="*/ 19 w 227"/>
                    <a:gd name="T45" fmla="*/ 31 h 108"/>
                    <a:gd name="T46" fmla="*/ 12 w 227"/>
                    <a:gd name="T47" fmla="*/ 31 h 108"/>
                    <a:gd name="T48" fmla="*/ 9 w 227"/>
                    <a:gd name="T49" fmla="*/ 34 h 108"/>
                    <a:gd name="T50" fmla="*/ 4 w 227"/>
                    <a:gd name="T51" fmla="*/ 32 h 108"/>
                    <a:gd name="T52" fmla="*/ 0 w 227"/>
                    <a:gd name="T53" fmla="*/ 34 h 108"/>
                    <a:gd name="T54" fmla="*/ 0 w 227"/>
                    <a:gd name="T55" fmla="*/ 38 h 108"/>
                    <a:gd name="T56" fmla="*/ 10 w 227"/>
                    <a:gd name="T57" fmla="*/ 38 h 108"/>
                    <a:gd name="T58" fmla="*/ 14 w 227"/>
                    <a:gd name="T59" fmla="*/ 40 h 108"/>
                    <a:gd name="T60" fmla="*/ 17 w 227"/>
                    <a:gd name="T61" fmla="*/ 38 h 108"/>
                    <a:gd name="T62" fmla="*/ 20 w 227"/>
                    <a:gd name="T63" fmla="*/ 38 h 108"/>
                    <a:gd name="T64" fmla="*/ 22 w 227"/>
                    <a:gd name="T65" fmla="*/ 42 h 108"/>
                    <a:gd name="T66" fmla="*/ 25 w 227"/>
                    <a:gd name="T67" fmla="*/ 42 h 108"/>
                    <a:gd name="T68" fmla="*/ 39 w 227"/>
                    <a:gd name="T69" fmla="*/ 38 h 108"/>
                    <a:gd name="T70" fmla="*/ 39 w 227"/>
                    <a:gd name="T71" fmla="*/ 35 h 108"/>
                    <a:gd name="T72" fmla="*/ 47 w 227"/>
                    <a:gd name="T73" fmla="*/ 31 h 108"/>
                    <a:gd name="T74" fmla="*/ 58 w 227"/>
                    <a:gd name="T75" fmla="*/ 32 h 108"/>
                    <a:gd name="T76" fmla="*/ 61 w 227"/>
                    <a:gd name="T77" fmla="*/ 26 h 108"/>
                    <a:gd name="T78" fmla="*/ 73 w 227"/>
                    <a:gd name="T79" fmla="*/ 25 h 108"/>
                    <a:gd name="T80" fmla="*/ 86 w 227"/>
                    <a:gd name="T81" fmla="*/ 15 h 108"/>
                    <a:gd name="T82" fmla="*/ 86 w 227"/>
                    <a:gd name="T83" fmla="*/ 10 h 1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27" h="108">
                      <a:moveTo>
                        <a:pt x="227" y="26"/>
                      </a:moveTo>
                      <a:lnTo>
                        <a:pt x="203" y="18"/>
                      </a:lnTo>
                      <a:lnTo>
                        <a:pt x="195" y="12"/>
                      </a:lnTo>
                      <a:lnTo>
                        <a:pt x="145" y="4"/>
                      </a:lnTo>
                      <a:lnTo>
                        <a:pt x="107" y="8"/>
                      </a:lnTo>
                      <a:lnTo>
                        <a:pt x="91" y="4"/>
                      </a:lnTo>
                      <a:lnTo>
                        <a:pt x="81" y="0"/>
                      </a:lnTo>
                      <a:lnTo>
                        <a:pt x="69" y="4"/>
                      </a:lnTo>
                      <a:lnTo>
                        <a:pt x="65" y="18"/>
                      </a:lnTo>
                      <a:lnTo>
                        <a:pt x="42" y="12"/>
                      </a:lnTo>
                      <a:lnTo>
                        <a:pt x="16" y="12"/>
                      </a:lnTo>
                      <a:lnTo>
                        <a:pt x="16" y="18"/>
                      </a:lnTo>
                      <a:lnTo>
                        <a:pt x="16" y="22"/>
                      </a:lnTo>
                      <a:lnTo>
                        <a:pt x="24" y="26"/>
                      </a:lnTo>
                      <a:lnTo>
                        <a:pt x="8" y="42"/>
                      </a:lnTo>
                      <a:lnTo>
                        <a:pt x="8" y="46"/>
                      </a:lnTo>
                      <a:lnTo>
                        <a:pt x="36" y="58"/>
                      </a:lnTo>
                      <a:lnTo>
                        <a:pt x="40" y="46"/>
                      </a:lnTo>
                      <a:lnTo>
                        <a:pt x="53" y="58"/>
                      </a:lnTo>
                      <a:lnTo>
                        <a:pt x="77" y="64"/>
                      </a:lnTo>
                      <a:lnTo>
                        <a:pt x="65" y="72"/>
                      </a:lnTo>
                      <a:lnTo>
                        <a:pt x="53" y="76"/>
                      </a:lnTo>
                      <a:lnTo>
                        <a:pt x="49" y="80"/>
                      </a:lnTo>
                      <a:lnTo>
                        <a:pt x="32" y="80"/>
                      </a:lnTo>
                      <a:lnTo>
                        <a:pt x="24" y="88"/>
                      </a:lnTo>
                      <a:lnTo>
                        <a:pt x="12" y="84"/>
                      </a:lnTo>
                      <a:lnTo>
                        <a:pt x="0" y="88"/>
                      </a:lnTo>
                      <a:lnTo>
                        <a:pt x="0" y="100"/>
                      </a:lnTo>
                      <a:lnTo>
                        <a:pt x="28" y="100"/>
                      </a:lnTo>
                      <a:lnTo>
                        <a:pt x="36" y="104"/>
                      </a:lnTo>
                      <a:lnTo>
                        <a:pt x="45" y="100"/>
                      </a:lnTo>
                      <a:lnTo>
                        <a:pt x="53" y="100"/>
                      </a:lnTo>
                      <a:lnTo>
                        <a:pt x="57" y="108"/>
                      </a:lnTo>
                      <a:lnTo>
                        <a:pt x="65" y="108"/>
                      </a:lnTo>
                      <a:lnTo>
                        <a:pt x="103" y="100"/>
                      </a:lnTo>
                      <a:lnTo>
                        <a:pt x="103" y="92"/>
                      </a:lnTo>
                      <a:lnTo>
                        <a:pt x="123" y="80"/>
                      </a:lnTo>
                      <a:lnTo>
                        <a:pt x="153" y="84"/>
                      </a:lnTo>
                      <a:lnTo>
                        <a:pt x="161" y="68"/>
                      </a:lnTo>
                      <a:lnTo>
                        <a:pt x="191" y="64"/>
                      </a:lnTo>
                      <a:lnTo>
                        <a:pt x="227" y="38"/>
                      </a:lnTo>
                      <a:lnTo>
                        <a:pt x="227" y="26"/>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8" name="vMap : Tajikistan">
                  <a:extLst>
                    <a:ext uri="{FF2B5EF4-FFF2-40B4-BE49-F238E27FC236}">
                      <a16:creationId xmlns:a16="http://schemas.microsoft.com/office/drawing/2014/main" xmlns="" id="{B3AAE318-4599-F44D-B1D1-5F0E5E9E3C7F}"/>
                    </a:ext>
                  </a:extLst>
                </p:cNvPr>
                <p:cNvSpPr>
                  <a:spLocks noChangeAspect="1"/>
                </p:cNvSpPr>
                <p:nvPr>
                  <p:custDataLst>
                    <p:tags r:id="rId88"/>
                  </p:custDataLst>
                </p:nvPr>
              </p:nvSpPr>
              <p:spPr bwMode="gray">
                <a:xfrm>
                  <a:off x="5508154" y="3145944"/>
                  <a:ext cx="171905" cy="121290"/>
                </a:xfrm>
                <a:custGeom>
                  <a:avLst/>
                  <a:gdLst>
                    <a:gd name="T0" fmla="*/ 6 w 183"/>
                    <a:gd name="T1" fmla="*/ 44 h 126"/>
                    <a:gd name="T2" fmla="*/ 12 w 183"/>
                    <a:gd name="T3" fmla="*/ 45 h 126"/>
                    <a:gd name="T4" fmla="*/ 23 w 183"/>
                    <a:gd name="T5" fmla="*/ 44 h 126"/>
                    <a:gd name="T6" fmla="*/ 23 w 183"/>
                    <a:gd name="T7" fmla="*/ 39 h 126"/>
                    <a:gd name="T8" fmla="*/ 30 w 183"/>
                    <a:gd name="T9" fmla="*/ 39 h 126"/>
                    <a:gd name="T10" fmla="*/ 33 w 183"/>
                    <a:gd name="T11" fmla="*/ 29 h 126"/>
                    <a:gd name="T12" fmla="*/ 40 w 183"/>
                    <a:gd name="T13" fmla="*/ 35 h 126"/>
                    <a:gd name="T14" fmla="*/ 44 w 183"/>
                    <a:gd name="T15" fmla="*/ 48 h 126"/>
                    <a:gd name="T16" fmla="*/ 58 w 183"/>
                    <a:gd name="T17" fmla="*/ 39 h 126"/>
                    <a:gd name="T18" fmla="*/ 70 w 183"/>
                    <a:gd name="T19" fmla="*/ 42 h 126"/>
                    <a:gd name="T20" fmla="*/ 67 w 183"/>
                    <a:gd name="T21" fmla="*/ 31 h 126"/>
                    <a:gd name="T22" fmla="*/ 56 w 183"/>
                    <a:gd name="T23" fmla="*/ 26 h 126"/>
                    <a:gd name="T24" fmla="*/ 56 w 183"/>
                    <a:gd name="T25" fmla="*/ 16 h 126"/>
                    <a:gd name="T26" fmla="*/ 41 w 183"/>
                    <a:gd name="T27" fmla="*/ 19 h 126"/>
                    <a:gd name="T28" fmla="*/ 38 w 183"/>
                    <a:gd name="T29" fmla="*/ 19 h 126"/>
                    <a:gd name="T30" fmla="*/ 36 w 183"/>
                    <a:gd name="T31" fmla="*/ 16 h 126"/>
                    <a:gd name="T32" fmla="*/ 33 w 183"/>
                    <a:gd name="T33" fmla="*/ 16 h 126"/>
                    <a:gd name="T34" fmla="*/ 30 w 183"/>
                    <a:gd name="T35" fmla="*/ 17 h 126"/>
                    <a:gd name="T36" fmla="*/ 27 w 183"/>
                    <a:gd name="T37" fmla="*/ 16 h 126"/>
                    <a:gd name="T38" fmla="*/ 16 w 183"/>
                    <a:gd name="T39" fmla="*/ 16 h 126"/>
                    <a:gd name="T40" fmla="*/ 16 w 183"/>
                    <a:gd name="T41" fmla="*/ 12 h 126"/>
                    <a:gd name="T42" fmla="*/ 20 w 183"/>
                    <a:gd name="T43" fmla="*/ 10 h 126"/>
                    <a:gd name="T44" fmla="*/ 25 w 183"/>
                    <a:gd name="T45" fmla="*/ 12 h 126"/>
                    <a:gd name="T46" fmla="*/ 28 w 183"/>
                    <a:gd name="T47" fmla="*/ 9 h 126"/>
                    <a:gd name="T48" fmla="*/ 25 w 183"/>
                    <a:gd name="T49" fmla="*/ 9 h 126"/>
                    <a:gd name="T50" fmla="*/ 22 w 183"/>
                    <a:gd name="T51" fmla="*/ 6 h 126"/>
                    <a:gd name="T52" fmla="*/ 25 w 183"/>
                    <a:gd name="T53" fmla="*/ 2 h 126"/>
                    <a:gd name="T54" fmla="*/ 23 w 183"/>
                    <a:gd name="T55" fmla="*/ 0 h 126"/>
                    <a:gd name="T56" fmla="*/ 22 w 183"/>
                    <a:gd name="T57" fmla="*/ 0 h 126"/>
                    <a:gd name="T58" fmla="*/ 16 w 183"/>
                    <a:gd name="T59" fmla="*/ 4 h 126"/>
                    <a:gd name="T60" fmla="*/ 13 w 183"/>
                    <a:gd name="T61" fmla="*/ 4 h 126"/>
                    <a:gd name="T62" fmla="*/ 13 w 183"/>
                    <a:gd name="T63" fmla="*/ 6 h 126"/>
                    <a:gd name="T64" fmla="*/ 13 w 183"/>
                    <a:gd name="T65" fmla="*/ 9 h 126"/>
                    <a:gd name="T66" fmla="*/ 10 w 183"/>
                    <a:gd name="T67" fmla="*/ 10 h 126"/>
                    <a:gd name="T68" fmla="*/ 9 w 183"/>
                    <a:gd name="T69" fmla="*/ 15 h 126"/>
                    <a:gd name="T70" fmla="*/ 0 w 183"/>
                    <a:gd name="T71" fmla="*/ 16 h 126"/>
                    <a:gd name="T72" fmla="*/ 0 w 183"/>
                    <a:gd name="T73" fmla="*/ 19 h 126"/>
                    <a:gd name="T74" fmla="*/ 3 w 183"/>
                    <a:gd name="T75" fmla="*/ 20 h 126"/>
                    <a:gd name="T76" fmla="*/ 6 w 183"/>
                    <a:gd name="T77" fmla="*/ 22 h 126"/>
                    <a:gd name="T78" fmla="*/ 7 w 183"/>
                    <a:gd name="T79" fmla="*/ 25 h 126"/>
                    <a:gd name="T80" fmla="*/ 10 w 183"/>
                    <a:gd name="T81" fmla="*/ 31 h 126"/>
                    <a:gd name="T82" fmla="*/ 7 w 183"/>
                    <a:gd name="T83" fmla="*/ 37 h 126"/>
                    <a:gd name="T84" fmla="*/ 6 w 183"/>
                    <a:gd name="T85" fmla="*/ 44 h 1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83" h="126">
                      <a:moveTo>
                        <a:pt x="16" y="114"/>
                      </a:moveTo>
                      <a:lnTo>
                        <a:pt x="32" y="118"/>
                      </a:lnTo>
                      <a:lnTo>
                        <a:pt x="62" y="114"/>
                      </a:lnTo>
                      <a:lnTo>
                        <a:pt x="62" y="102"/>
                      </a:lnTo>
                      <a:lnTo>
                        <a:pt x="78" y="102"/>
                      </a:lnTo>
                      <a:lnTo>
                        <a:pt x="87" y="76"/>
                      </a:lnTo>
                      <a:lnTo>
                        <a:pt x="103" y="92"/>
                      </a:lnTo>
                      <a:lnTo>
                        <a:pt x="115" y="126"/>
                      </a:lnTo>
                      <a:lnTo>
                        <a:pt x="153" y="102"/>
                      </a:lnTo>
                      <a:lnTo>
                        <a:pt x="183" y="110"/>
                      </a:lnTo>
                      <a:lnTo>
                        <a:pt x="177" y="80"/>
                      </a:lnTo>
                      <a:lnTo>
                        <a:pt x="145" y="68"/>
                      </a:lnTo>
                      <a:lnTo>
                        <a:pt x="145" y="42"/>
                      </a:lnTo>
                      <a:lnTo>
                        <a:pt x="107" y="50"/>
                      </a:lnTo>
                      <a:lnTo>
                        <a:pt x="99" y="50"/>
                      </a:lnTo>
                      <a:lnTo>
                        <a:pt x="95" y="42"/>
                      </a:lnTo>
                      <a:lnTo>
                        <a:pt x="87" y="42"/>
                      </a:lnTo>
                      <a:lnTo>
                        <a:pt x="78" y="46"/>
                      </a:lnTo>
                      <a:lnTo>
                        <a:pt x="70" y="42"/>
                      </a:lnTo>
                      <a:lnTo>
                        <a:pt x="42" y="42"/>
                      </a:lnTo>
                      <a:lnTo>
                        <a:pt x="42" y="30"/>
                      </a:lnTo>
                      <a:lnTo>
                        <a:pt x="54" y="26"/>
                      </a:lnTo>
                      <a:lnTo>
                        <a:pt x="66" y="30"/>
                      </a:lnTo>
                      <a:lnTo>
                        <a:pt x="74" y="22"/>
                      </a:lnTo>
                      <a:lnTo>
                        <a:pt x="66" y="22"/>
                      </a:lnTo>
                      <a:lnTo>
                        <a:pt x="58" y="14"/>
                      </a:lnTo>
                      <a:lnTo>
                        <a:pt x="66" y="6"/>
                      </a:lnTo>
                      <a:lnTo>
                        <a:pt x="62" y="0"/>
                      </a:lnTo>
                      <a:lnTo>
                        <a:pt x="58" y="0"/>
                      </a:lnTo>
                      <a:lnTo>
                        <a:pt x="42" y="10"/>
                      </a:lnTo>
                      <a:lnTo>
                        <a:pt x="34" y="10"/>
                      </a:lnTo>
                      <a:lnTo>
                        <a:pt x="34" y="14"/>
                      </a:lnTo>
                      <a:lnTo>
                        <a:pt x="34" y="22"/>
                      </a:lnTo>
                      <a:lnTo>
                        <a:pt x="28" y="26"/>
                      </a:lnTo>
                      <a:lnTo>
                        <a:pt x="24" y="38"/>
                      </a:lnTo>
                      <a:lnTo>
                        <a:pt x="0" y="42"/>
                      </a:lnTo>
                      <a:lnTo>
                        <a:pt x="0" y="50"/>
                      </a:lnTo>
                      <a:lnTo>
                        <a:pt x="8" y="52"/>
                      </a:lnTo>
                      <a:lnTo>
                        <a:pt x="16" y="56"/>
                      </a:lnTo>
                      <a:lnTo>
                        <a:pt x="20" y="64"/>
                      </a:lnTo>
                      <a:lnTo>
                        <a:pt x="28" y="80"/>
                      </a:lnTo>
                      <a:lnTo>
                        <a:pt x="20" y="96"/>
                      </a:lnTo>
                      <a:lnTo>
                        <a:pt x="16" y="114"/>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79" name="vMap : Disputed?">
                  <a:extLst>
                    <a:ext uri="{FF2B5EF4-FFF2-40B4-BE49-F238E27FC236}">
                      <a16:creationId xmlns:a16="http://schemas.microsoft.com/office/drawing/2014/main" xmlns="" id="{46F6A06E-F143-7D41-B7EA-2116ACAD6B74}"/>
                    </a:ext>
                  </a:extLst>
                </p:cNvPr>
                <p:cNvSpPr>
                  <a:spLocks noChangeAspect="1"/>
                </p:cNvSpPr>
                <p:nvPr>
                  <p:custDataLst>
                    <p:tags r:id="rId89"/>
                  </p:custDataLst>
                </p:nvPr>
              </p:nvSpPr>
              <p:spPr bwMode="gray">
                <a:xfrm>
                  <a:off x="5289089" y="3001330"/>
                  <a:ext cx="73021" cy="85525"/>
                </a:xfrm>
                <a:custGeom>
                  <a:avLst/>
                  <a:gdLst>
                    <a:gd name="T0" fmla="*/ 18 w 77"/>
                    <a:gd name="T1" fmla="*/ 35 h 87"/>
                    <a:gd name="T2" fmla="*/ 30 w 77"/>
                    <a:gd name="T3" fmla="*/ 21 h 87"/>
                    <a:gd name="T4" fmla="*/ 21 w 77"/>
                    <a:gd name="T5" fmla="*/ 7 h 87"/>
                    <a:gd name="T6" fmla="*/ 24 w 77"/>
                    <a:gd name="T7" fmla="*/ 0 h 87"/>
                    <a:gd name="T8" fmla="*/ 19 w 77"/>
                    <a:gd name="T9" fmla="*/ 3 h 87"/>
                    <a:gd name="T10" fmla="*/ 14 w 77"/>
                    <a:gd name="T11" fmla="*/ 2 h 87"/>
                    <a:gd name="T12" fmla="*/ 14 w 77"/>
                    <a:gd name="T13" fmla="*/ 4 h 87"/>
                    <a:gd name="T14" fmla="*/ 19 w 77"/>
                    <a:gd name="T15" fmla="*/ 6 h 87"/>
                    <a:gd name="T16" fmla="*/ 9 w 77"/>
                    <a:gd name="T17" fmla="*/ 4 h 87"/>
                    <a:gd name="T18" fmla="*/ 9 w 77"/>
                    <a:gd name="T19" fmla="*/ 9 h 87"/>
                    <a:gd name="T20" fmla="*/ 3 w 77"/>
                    <a:gd name="T21" fmla="*/ 9 h 87"/>
                    <a:gd name="T22" fmla="*/ 0 w 77"/>
                    <a:gd name="T23" fmla="*/ 20 h 87"/>
                    <a:gd name="T24" fmla="*/ 4 w 77"/>
                    <a:gd name="T25" fmla="*/ 33 h 87"/>
                    <a:gd name="T26" fmla="*/ 18 w 77"/>
                    <a:gd name="T27" fmla="*/ 35 h 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7" h="87">
                      <a:moveTo>
                        <a:pt x="46" y="87"/>
                      </a:moveTo>
                      <a:lnTo>
                        <a:pt x="77" y="53"/>
                      </a:lnTo>
                      <a:lnTo>
                        <a:pt x="54" y="18"/>
                      </a:lnTo>
                      <a:lnTo>
                        <a:pt x="62" y="0"/>
                      </a:lnTo>
                      <a:lnTo>
                        <a:pt x="50" y="8"/>
                      </a:lnTo>
                      <a:lnTo>
                        <a:pt x="36" y="4"/>
                      </a:lnTo>
                      <a:lnTo>
                        <a:pt x="36" y="10"/>
                      </a:lnTo>
                      <a:lnTo>
                        <a:pt x="50" y="14"/>
                      </a:lnTo>
                      <a:lnTo>
                        <a:pt x="24" y="10"/>
                      </a:lnTo>
                      <a:lnTo>
                        <a:pt x="24" y="22"/>
                      </a:lnTo>
                      <a:lnTo>
                        <a:pt x="8" y="22"/>
                      </a:lnTo>
                      <a:lnTo>
                        <a:pt x="0" y="49"/>
                      </a:lnTo>
                      <a:lnTo>
                        <a:pt x="12" y="83"/>
                      </a:lnTo>
                      <a:lnTo>
                        <a:pt x="46" y="87"/>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0" name="vMap : Kazakhstan (Lake Balqash)">
                  <a:extLst>
                    <a:ext uri="{FF2B5EF4-FFF2-40B4-BE49-F238E27FC236}">
                      <a16:creationId xmlns:a16="http://schemas.microsoft.com/office/drawing/2014/main" xmlns="" id="{C8369786-116C-1D4C-94CA-2229644A202F}"/>
                    </a:ext>
                  </a:extLst>
                </p:cNvPr>
                <p:cNvSpPr>
                  <a:spLocks noChangeAspect="1"/>
                </p:cNvSpPr>
                <p:nvPr>
                  <p:custDataLst>
                    <p:tags r:id="rId90"/>
                  </p:custDataLst>
                </p:nvPr>
              </p:nvSpPr>
              <p:spPr bwMode="gray">
                <a:xfrm>
                  <a:off x="5591824" y="3001330"/>
                  <a:ext cx="112575" cy="52870"/>
                </a:xfrm>
                <a:custGeom>
                  <a:avLst/>
                  <a:gdLst>
                    <a:gd name="T0" fmla="*/ 9 w 120"/>
                    <a:gd name="T1" fmla="*/ 0 h 53"/>
                    <a:gd name="T2" fmla="*/ 38 w 120"/>
                    <a:gd name="T3" fmla="*/ 3 h 53"/>
                    <a:gd name="T4" fmla="*/ 43 w 120"/>
                    <a:gd name="T5" fmla="*/ 0 h 53"/>
                    <a:gd name="T6" fmla="*/ 46 w 120"/>
                    <a:gd name="T7" fmla="*/ 3 h 53"/>
                    <a:gd name="T8" fmla="*/ 36 w 120"/>
                    <a:gd name="T9" fmla="*/ 6 h 53"/>
                    <a:gd name="T10" fmla="*/ 14 w 120"/>
                    <a:gd name="T11" fmla="*/ 3 h 53"/>
                    <a:gd name="T12" fmla="*/ 6 w 120"/>
                    <a:gd name="T13" fmla="*/ 9 h 53"/>
                    <a:gd name="T14" fmla="*/ 7 w 120"/>
                    <a:gd name="T15" fmla="*/ 17 h 53"/>
                    <a:gd name="T16" fmla="*/ 10 w 120"/>
                    <a:gd name="T17" fmla="*/ 22 h 53"/>
                    <a:gd name="T18" fmla="*/ 1 w 120"/>
                    <a:gd name="T19" fmla="*/ 14 h 53"/>
                    <a:gd name="T20" fmla="*/ 0 w 120"/>
                    <a:gd name="T21" fmla="*/ 9 h 53"/>
                    <a:gd name="T22" fmla="*/ 9 w 120"/>
                    <a:gd name="T23" fmla="*/ 0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0" h="53">
                      <a:moveTo>
                        <a:pt x="24" y="0"/>
                      </a:moveTo>
                      <a:lnTo>
                        <a:pt x="100" y="8"/>
                      </a:lnTo>
                      <a:lnTo>
                        <a:pt x="112" y="0"/>
                      </a:lnTo>
                      <a:lnTo>
                        <a:pt x="120" y="8"/>
                      </a:lnTo>
                      <a:lnTo>
                        <a:pt x="96" y="14"/>
                      </a:lnTo>
                      <a:lnTo>
                        <a:pt x="36" y="8"/>
                      </a:lnTo>
                      <a:lnTo>
                        <a:pt x="16" y="22"/>
                      </a:lnTo>
                      <a:lnTo>
                        <a:pt x="20" y="41"/>
                      </a:lnTo>
                      <a:lnTo>
                        <a:pt x="28" y="53"/>
                      </a:lnTo>
                      <a:lnTo>
                        <a:pt x="4" y="34"/>
                      </a:lnTo>
                      <a:lnTo>
                        <a:pt x="0" y="22"/>
                      </a:lnTo>
                      <a:lnTo>
                        <a:pt x="24"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1" name="vMap : Iran">
                  <a:extLst>
                    <a:ext uri="{FF2B5EF4-FFF2-40B4-BE49-F238E27FC236}">
                      <a16:creationId xmlns:a16="http://schemas.microsoft.com/office/drawing/2014/main" xmlns="" id="{7B38E527-C213-2D41-BA0F-E62441F57C36}"/>
                    </a:ext>
                  </a:extLst>
                </p:cNvPr>
                <p:cNvSpPr>
                  <a:spLocks noChangeAspect="1"/>
                </p:cNvSpPr>
                <p:nvPr>
                  <p:custDataLst>
                    <p:tags r:id="rId91"/>
                  </p:custDataLst>
                </p:nvPr>
              </p:nvSpPr>
              <p:spPr bwMode="gray">
                <a:xfrm>
                  <a:off x="5022865" y="3181709"/>
                  <a:ext cx="453342" cy="387195"/>
                </a:xfrm>
                <a:custGeom>
                  <a:avLst/>
                  <a:gdLst>
                    <a:gd name="T0" fmla="*/ 3 w 486"/>
                    <a:gd name="T1" fmla="*/ 0 h 405"/>
                    <a:gd name="T2" fmla="*/ 12 w 486"/>
                    <a:gd name="T3" fmla="*/ 10 h 405"/>
                    <a:gd name="T4" fmla="*/ 16 w 486"/>
                    <a:gd name="T5" fmla="*/ 10 h 405"/>
                    <a:gd name="T6" fmla="*/ 20 w 486"/>
                    <a:gd name="T7" fmla="*/ 9 h 405"/>
                    <a:gd name="T8" fmla="*/ 31 w 486"/>
                    <a:gd name="T9" fmla="*/ 3 h 405"/>
                    <a:gd name="T10" fmla="*/ 36 w 486"/>
                    <a:gd name="T11" fmla="*/ 9 h 405"/>
                    <a:gd name="T12" fmla="*/ 33 w 486"/>
                    <a:gd name="T13" fmla="*/ 10 h 405"/>
                    <a:gd name="T14" fmla="*/ 40 w 486"/>
                    <a:gd name="T15" fmla="*/ 14 h 405"/>
                    <a:gd name="T16" fmla="*/ 44 w 486"/>
                    <a:gd name="T17" fmla="*/ 23 h 405"/>
                    <a:gd name="T18" fmla="*/ 67 w 486"/>
                    <a:gd name="T19" fmla="*/ 35 h 405"/>
                    <a:gd name="T20" fmla="*/ 88 w 486"/>
                    <a:gd name="T21" fmla="*/ 32 h 405"/>
                    <a:gd name="T22" fmla="*/ 85 w 486"/>
                    <a:gd name="T23" fmla="*/ 24 h 405"/>
                    <a:gd name="T24" fmla="*/ 98 w 486"/>
                    <a:gd name="T25" fmla="*/ 17 h 405"/>
                    <a:gd name="T26" fmla="*/ 111 w 486"/>
                    <a:gd name="T27" fmla="*/ 16 h 405"/>
                    <a:gd name="T28" fmla="*/ 148 w 486"/>
                    <a:gd name="T29" fmla="*/ 33 h 405"/>
                    <a:gd name="T30" fmla="*/ 151 w 486"/>
                    <a:gd name="T31" fmla="*/ 42 h 405"/>
                    <a:gd name="T32" fmla="*/ 151 w 486"/>
                    <a:gd name="T33" fmla="*/ 52 h 405"/>
                    <a:gd name="T34" fmla="*/ 148 w 486"/>
                    <a:gd name="T35" fmla="*/ 60 h 405"/>
                    <a:gd name="T36" fmla="*/ 154 w 486"/>
                    <a:gd name="T37" fmla="*/ 85 h 405"/>
                    <a:gd name="T38" fmla="*/ 162 w 486"/>
                    <a:gd name="T39" fmla="*/ 91 h 405"/>
                    <a:gd name="T40" fmla="*/ 158 w 486"/>
                    <a:gd name="T41" fmla="*/ 106 h 405"/>
                    <a:gd name="T42" fmla="*/ 166 w 486"/>
                    <a:gd name="T43" fmla="*/ 117 h 405"/>
                    <a:gd name="T44" fmla="*/ 177 w 486"/>
                    <a:gd name="T45" fmla="*/ 121 h 405"/>
                    <a:gd name="T46" fmla="*/ 178 w 486"/>
                    <a:gd name="T47" fmla="*/ 131 h 405"/>
                    <a:gd name="T48" fmla="*/ 183 w 486"/>
                    <a:gd name="T49" fmla="*/ 133 h 405"/>
                    <a:gd name="T50" fmla="*/ 172 w 486"/>
                    <a:gd name="T51" fmla="*/ 143 h 405"/>
                    <a:gd name="T52" fmla="*/ 170 w 486"/>
                    <a:gd name="T53" fmla="*/ 153 h 405"/>
                    <a:gd name="T54" fmla="*/ 132 w 486"/>
                    <a:gd name="T55" fmla="*/ 147 h 405"/>
                    <a:gd name="T56" fmla="*/ 127 w 486"/>
                    <a:gd name="T57" fmla="*/ 136 h 405"/>
                    <a:gd name="T58" fmla="*/ 122 w 486"/>
                    <a:gd name="T59" fmla="*/ 133 h 405"/>
                    <a:gd name="T60" fmla="*/ 107 w 486"/>
                    <a:gd name="T61" fmla="*/ 140 h 405"/>
                    <a:gd name="T62" fmla="*/ 98 w 486"/>
                    <a:gd name="T63" fmla="*/ 137 h 405"/>
                    <a:gd name="T64" fmla="*/ 76 w 486"/>
                    <a:gd name="T65" fmla="*/ 126 h 405"/>
                    <a:gd name="T66" fmla="*/ 62 w 486"/>
                    <a:gd name="T67" fmla="*/ 103 h 405"/>
                    <a:gd name="T68" fmla="*/ 58 w 486"/>
                    <a:gd name="T69" fmla="*/ 104 h 405"/>
                    <a:gd name="T70" fmla="*/ 50 w 486"/>
                    <a:gd name="T71" fmla="*/ 97 h 405"/>
                    <a:gd name="T72" fmla="*/ 48 w 486"/>
                    <a:gd name="T73" fmla="*/ 103 h 405"/>
                    <a:gd name="T74" fmla="*/ 40 w 486"/>
                    <a:gd name="T75" fmla="*/ 93 h 405"/>
                    <a:gd name="T76" fmla="*/ 40 w 486"/>
                    <a:gd name="T77" fmla="*/ 85 h 405"/>
                    <a:gd name="T78" fmla="*/ 36 w 486"/>
                    <a:gd name="T79" fmla="*/ 77 h 405"/>
                    <a:gd name="T80" fmla="*/ 23 w 486"/>
                    <a:gd name="T81" fmla="*/ 71 h 405"/>
                    <a:gd name="T82" fmla="*/ 17 w 486"/>
                    <a:gd name="T83" fmla="*/ 60 h 405"/>
                    <a:gd name="T84" fmla="*/ 22 w 486"/>
                    <a:gd name="T85" fmla="*/ 42 h 405"/>
                    <a:gd name="T86" fmla="*/ 14 w 486"/>
                    <a:gd name="T87" fmla="*/ 39 h 405"/>
                    <a:gd name="T88" fmla="*/ 7 w 486"/>
                    <a:gd name="T89" fmla="*/ 27 h 405"/>
                    <a:gd name="T90" fmla="*/ 3 w 486"/>
                    <a:gd name="T91" fmla="*/ 20 h 405"/>
                    <a:gd name="T92" fmla="*/ 0 w 486"/>
                    <a:gd name="T93" fmla="*/ 6 h 405"/>
                    <a:gd name="T94" fmla="*/ 3 w 486"/>
                    <a:gd name="T95" fmla="*/ 0 h 40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6" h="405">
                      <a:moveTo>
                        <a:pt x="8" y="0"/>
                      </a:moveTo>
                      <a:lnTo>
                        <a:pt x="32" y="26"/>
                      </a:lnTo>
                      <a:lnTo>
                        <a:pt x="42" y="26"/>
                      </a:lnTo>
                      <a:lnTo>
                        <a:pt x="54" y="22"/>
                      </a:lnTo>
                      <a:lnTo>
                        <a:pt x="82" y="8"/>
                      </a:lnTo>
                      <a:lnTo>
                        <a:pt x="96" y="22"/>
                      </a:lnTo>
                      <a:lnTo>
                        <a:pt x="88" y="26"/>
                      </a:lnTo>
                      <a:lnTo>
                        <a:pt x="108" y="38"/>
                      </a:lnTo>
                      <a:lnTo>
                        <a:pt x="116" y="60"/>
                      </a:lnTo>
                      <a:lnTo>
                        <a:pt x="179" y="92"/>
                      </a:lnTo>
                      <a:lnTo>
                        <a:pt x="233" y="84"/>
                      </a:lnTo>
                      <a:lnTo>
                        <a:pt x="225" y="64"/>
                      </a:lnTo>
                      <a:lnTo>
                        <a:pt x="261" y="46"/>
                      </a:lnTo>
                      <a:lnTo>
                        <a:pt x="295" y="42"/>
                      </a:lnTo>
                      <a:lnTo>
                        <a:pt x="394" y="88"/>
                      </a:lnTo>
                      <a:lnTo>
                        <a:pt x="402" y="110"/>
                      </a:lnTo>
                      <a:lnTo>
                        <a:pt x="402" y="137"/>
                      </a:lnTo>
                      <a:lnTo>
                        <a:pt x="394" y="159"/>
                      </a:lnTo>
                      <a:lnTo>
                        <a:pt x="410" y="225"/>
                      </a:lnTo>
                      <a:lnTo>
                        <a:pt x="432" y="241"/>
                      </a:lnTo>
                      <a:lnTo>
                        <a:pt x="420" y="279"/>
                      </a:lnTo>
                      <a:lnTo>
                        <a:pt x="440" y="309"/>
                      </a:lnTo>
                      <a:lnTo>
                        <a:pt x="470" y="321"/>
                      </a:lnTo>
                      <a:lnTo>
                        <a:pt x="474" y="347"/>
                      </a:lnTo>
                      <a:lnTo>
                        <a:pt x="486" y="351"/>
                      </a:lnTo>
                      <a:lnTo>
                        <a:pt x="456" y="379"/>
                      </a:lnTo>
                      <a:lnTo>
                        <a:pt x="452" y="405"/>
                      </a:lnTo>
                      <a:lnTo>
                        <a:pt x="353" y="389"/>
                      </a:lnTo>
                      <a:lnTo>
                        <a:pt x="337" y="359"/>
                      </a:lnTo>
                      <a:lnTo>
                        <a:pt x="325" y="351"/>
                      </a:lnTo>
                      <a:lnTo>
                        <a:pt x="283" y="371"/>
                      </a:lnTo>
                      <a:lnTo>
                        <a:pt x="261" y="363"/>
                      </a:lnTo>
                      <a:lnTo>
                        <a:pt x="203" y="333"/>
                      </a:lnTo>
                      <a:lnTo>
                        <a:pt x="165" y="271"/>
                      </a:lnTo>
                      <a:lnTo>
                        <a:pt x="153" y="275"/>
                      </a:lnTo>
                      <a:lnTo>
                        <a:pt x="133" y="255"/>
                      </a:lnTo>
                      <a:lnTo>
                        <a:pt x="129" y="271"/>
                      </a:lnTo>
                      <a:lnTo>
                        <a:pt x="108" y="245"/>
                      </a:lnTo>
                      <a:lnTo>
                        <a:pt x="108" y="225"/>
                      </a:lnTo>
                      <a:lnTo>
                        <a:pt x="96" y="205"/>
                      </a:lnTo>
                      <a:lnTo>
                        <a:pt x="62" y="187"/>
                      </a:lnTo>
                      <a:lnTo>
                        <a:pt x="46" y="159"/>
                      </a:lnTo>
                      <a:lnTo>
                        <a:pt x="58" y="110"/>
                      </a:lnTo>
                      <a:lnTo>
                        <a:pt x="38" y="104"/>
                      </a:lnTo>
                      <a:lnTo>
                        <a:pt x="20" y="72"/>
                      </a:lnTo>
                      <a:lnTo>
                        <a:pt x="8" y="54"/>
                      </a:lnTo>
                      <a:lnTo>
                        <a:pt x="0" y="14"/>
                      </a:lnTo>
                      <a:lnTo>
                        <a:pt x="8"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2" name="vMap : Oman">
                  <a:extLst>
                    <a:ext uri="{FF2B5EF4-FFF2-40B4-BE49-F238E27FC236}">
                      <a16:creationId xmlns:a16="http://schemas.microsoft.com/office/drawing/2014/main" xmlns="" id="{B647634D-E99E-2D43-8388-4D1587A1A846}"/>
                    </a:ext>
                  </a:extLst>
                </p:cNvPr>
                <p:cNvSpPr>
                  <a:spLocks noChangeAspect="1"/>
                </p:cNvSpPr>
                <p:nvPr>
                  <p:custDataLst>
                    <p:tags r:id="rId92"/>
                  </p:custDataLst>
                </p:nvPr>
              </p:nvSpPr>
              <p:spPr bwMode="gray">
                <a:xfrm>
                  <a:off x="5241930" y="3575124"/>
                  <a:ext cx="168863" cy="219255"/>
                </a:xfrm>
                <a:custGeom>
                  <a:avLst/>
                  <a:gdLst>
                    <a:gd name="T0" fmla="*/ 12 w 179"/>
                    <a:gd name="T1" fmla="*/ 86 h 230"/>
                    <a:gd name="T2" fmla="*/ 29 w 179"/>
                    <a:gd name="T3" fmla="*/ 83 h 230"/>
                    <a:gd name="T4" fmla="*/ 34 w 179"/>
                    <a:gd name="T5" fmla="*/ 75 h 230"/>
                    <a:gd name="T6" fmla="*/ 42 w 179"/>
                    <a:gd name="T7" fmla="*/ 72 h 230"/>
                    <a:gd name="T8" fmla="*/ 45 w 179"/>
                    <a:gd name="T9" fmla="*/ 64 h 230"/>
                    <a:gd name="T10" fmla="*/ 54 w 179"/>
                    <a:gd name="T11" fmla="*/ 61 h 230"/>
                    <a:gd name="T12" fmla="*/ 54 w 179"/>
                    <a:gd name="T13" fmla="*/ 47 h 230"/>
                    <a:gd name="T14" fmla="*/ 59 w 179"/>
                    <a:gd name="T15" fmla="*/ 46 h 230"/>
                    <a:gd name="T16" fmla="*/ 69 w 179"/>
                    <a:gd name="T17" fmla="*/ 26 h 230"/>
                    <a:gd name="T18" fmla="*/ 59 w 179"/>
                    <a:gd name="T19" fmla="*/ 14 h 230"/>
                    <a:gd name="T20" fmla="*/ 42 w 179"/>
                    <a:gd name="T21" fmla="*/ 7 h 230"/>
                    <a:gd name="T22" fmla="*/ 35 w 179"/>
                    <a:gd name="T23" fmla="*/ 0 h 230"/>
                    <a:gd name="T24" fmla="*/ 30 w 179"/>
                    <a:gd name="T25" fmla="*/ 1 h 230"/>
                    <a:gd name="T26" fmla="*/ 34 w 179"/>
                    <a:gd name="T27" fmla="*/ 9 h 230"/>
                    <a:gd name="T28" fmla="*/ 29 w 179"/>
                    <a:gd name="T29" fmla="*/ 10 h 230"/>
                    <a:gd name="T30" fmla="*/ 29 w 179"/>
                    <a:gd name="T31" fmla="*/ 23 h 230"/>
                    <a:gd name="T32" fmla="*/ 33 w 179"/>
                    <a:gd name="T33" fmla="*/ 30 h 230"/>
                    <a:gd name="T34" fmla="*/ 29 w 179"/>
                    <a:gd name="T35" fmla="*/ 52 h 230"/>
                    <a:gd name="T36" fmla="*/ 0 w 179"/>
                    <a:gd name="T37" fmla="*/ 63 h 230"/>
                    <a:gd name="T38" fmla="*/ 12 w 179"/>
                    <a:gd name="T39" fmla="*/ 86 h 23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79" h="230">
                      <a:moveTo>
                        <a:pt x="32" y="230"/>
                      </a:moveTo>
                      <a:lnTo>
                        <a:pt x="74" y="222"/>
                      </a:lnTo>
                      <a:lnTo>
                        <a:pt x="88" y="200"/>
                      </a:lnTo>
                      <a:lnTo>
                        <a:pt x="108" y="192"/>
                      </a:lnTo>
                      <a:lnTo>
                        <a:pt x="116" y="172"/>
                      </a:lnTo>
                      <a:lnTo>
                        <a:pt x="141" y="162"/>
                      </a:lnTo>
                      <a:lnTo>
                        <a:pt x="141" y="126"/>
                      </a:lnTo>
                      <a:lnTo>
                        <a:pt x="153" y="122"/>
                      </a:lnTo>
                      <a:lnTo>
                        <a:pt x="179" y="70"/>
                      </a:lnTo>
                      <a:lnTo>
                        <a:pt x="153" y="38"/>
                      </a:lnTo>
                      <a:lnTo>
                        <a:pt x="108" y="20"/>
                      </a:lnTo>
                      <a:lnTo>
                        <a:pt x="92" y="0"/>
                      </a:lnTo>
                      <a:lnTo>
                        <a:pt x="78" y="4"/>
                      </a:lnTo>
                      <a:lnTo>
                        <a:pt x="88" y="24"/>
                      </a:lnTo>
                      <a:lnTo>
                        <a:pt x="74" y="26"/>
                      </a:lnTo>
                      <a:lnTo>
                        <a:pt x="74" y="62"/>
                      </a:lnTo>
                      <a:lnTo>
                        <a:pt x="86" y="80"/>
                      </a:lnTo>
                      <a:lnTo>
                        <a:pt x="74" y="138"/>
                      </a:lnTo>
                      <a:lnTo>
                        <a:pt x="0" y="166"/>
                      </a:lnTo>
                      <a:lnTo>
                        <a:pt x="32" y="23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3" name="vMap : United Arab Emirates">
                  <a:extLst>
                    <a:ext uri="{FF2B5EF4-FFF2-40B4-BE49-F238E27FC236}">
                      <a16:creationId xmlns:a16="http://schemas.microsoft.com/office/drawing/2014/main" xmlns="" id="{197306DA-AA9C-E149-A290-1B98167B3F9D}"/>
                    </a:ext>
                  </a:extLst>
                </p:cNvPr>
                <p:cNvSpPr>
                  <a:spLocks noChangeAspect="1"/>
                </p:cNvSpPr>
                <p:nvPr>
                  <p:custDataLst>
                    <p:tags r:id="rId93"/>
                  </p:custDataLst>
                </p:nvPr>
              </p:nvSpPr>
              <p:spPr bwMode="gray">
                <a:xfrm>
                  <a:off x="5214547" y="3545579"/>
                  <a:ext cx="114096" cy="88635"/>
                </a:xfrm>
                <a:custGeom>
                  <a:avLst/>
                  <a:gdLst>
                    <a:gd name="T0" fmla="*/ 46 w 122"/>
                    <a:gd name="T1" fmla="*/ 11 h 91"/>
                    <a:gd name="T2" fmla="*/ 45 w 122"/>
                    <a:gd name="T3" fmla="*/ 4 h 91"/>
                    <a:gd name="T4" fmla="*/ 44 w 122"/>
                    <a:gd name="T5" fmla="*/ 0 h 91"/>
                    <a:gd name="T6" fmla="*/ 26 w 122"/>
                    <a:gd name="T7" fmla="*/ 21 h 91"/>
                    <a:gd name="T8" fmla="*/ 7 w 122"/>
                    <a:gd name="T9" fmla="*/ 21 h 91"/>
                    <a:gd name="T10" fmla="*/ 3 w 122"/>
                    <a:gd name="T11" fmla="*/ 18 h 91"/>
                    <a:gd name="T12" fmla="*/ 3 w 122"/>
                    <a:gd name="T13" fmla="*/ 14 h 91"/>
                    <a:gd name="T14" fmla="*/ 0 w 122"/>
                    <a:gd name="T15" fmla="*/ 16 h 91"/>
                    <a:gd name="T16" fmla="*/ 10 w 122"/>
                    <a:gd name="T17" fmla="*/ 33 h 91"/>
                    <a:gd name="T18" fmla="*/ 39 w 122"/>
                    <a:gd name="T19" fmla="*/ 36 h 91"/>
                    <a:gd name="T20" fmla="*/ 39 w 122"/>
                    <a:gd name="T21" fmla="*/ 21 h 91"/>
                    <a:gd name="T22" fmla="*/ 45 w 122"/>
                    <a:gd name="T23" fmla="*/ 21 h 91"/>
                    <a:gd name="T24" fmla="*/ 41 w 122"/>
                    <a:gd name="T25" fmla="*/ 13 h 91"/>
                    <a:gd name="T26" fmla="*/ 46 w 122"/>
                    <a:gd name="T27" fmla="*/ 11 h 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2" h="91">
                      <a:moveTo>
                        <a:pt x="122" y="29"/>
                      </a:moveTo>
                      <a:lnTo>
                        <a:pt x="118" y="10"/>
                      </a:lnTo>
                      <a:lnTo>
                        <a:pt x="116" y="0"/>
                      </a:lnTo>
                      <a:lnTo>
                        <a:pt x="68" y="53"/>
                      </a:lnTo>
                      <a:lnTo>
                        <a:pt x="20" y="53"/>
                      </a:lnTo>
                      <a:lnTo>
                        <a:pt x="8" y="45"/>
                      </a:lnTo>
                      <a:lnTo>
                        <a:pt x="8" y="37"/>
                      </a:lnTo>
                      <a:lnTo>
                        <a:pt x="0" y="41"/>
                      </a:lnTo>
                      <a:lnTo>
                        <a:pt x="26" y="83"/>
                      </a:lnTo>
                      <a:lnTo>
                        <a:pt x="104" y="91"/>
                      </a:lnTo>
                      <a:lnTo>
                        <a:pt x="104" y="55"/>
                      </a:lnTo>
                      <a:lnTo>
                        <a:pt x="118" y="53"/>
                      </a:lnTo>
                      <a:lnTo>
                        <a:pt x="108" y="33"/>
                      </a:lnTo>
                      <a:lnTo>
                        <a:pt x="122" y="2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4" name="vMap : Pakistan">
                  <a:extLst>
                    <a:ext uri="{FF2B5EF4-FFF2-40B4-BE49-F238E27FC236}">
                      <a16:creationId xmlns:a16="http://schemas.microsoft.com/office/drawing/2014/main" xmlns="" id="{89D05C73-952B-3E42-B3D4-3C34FFE2E42D}"/>
                    </a:ext>
                  </a:extLst>
                </p:cNvPr>
                <p:cNvSpPr>
                  <a:spLocks noChangeAspect="1"/>
                </p:cNvSpPr>
                <p:nvPr>
                  <p:custDataLst>
                    <p:tags r:id="rId94"/>
                  </p:custDataLst>
                </p:nvPr>
              </p:nvSpPr>
              <p:spPr bwMode="gray">
                <a:xfrm>
                  <a:off x="5416877" y="3257904"/>
                  <a:ext cx="337724" cy="346765"/>
                </a:xfrm>
                <a:custGeom>
                  <a:avLst/>
                  <a:gdLst>
                    <a:gd name="T0" fmla="*/ 71 w 361"/>
                    <a:gd name="T1" fmla="*/ 137 h 362"/>
                    <a:gd name="T2" fmla="*/ 67 w 361"/>
                    <a:gd name="T3" fmla="*/ 136 h 362"/>
                    <a:gd name="T4" fmla="*/ 55 w 361"/>
                    <a:gd name="T5" fmla="*/ 122 h 362"/>
                    <a:gd name="T6" fmla="*/ 42 w 361"/>
                    <a:gd name="T7" fmla="*/ 122 h 362"/>
                    <a:gd name="T8" fmla="*/ 12 w 361"/>
                    <a:gd name="T9" fmla="*/ 123 h 362"/>
                    <a:gd name="T10" fmla="*/ 14 w 361"/>
                    <a:gd name="T11" fmla="*/ 113 h 362"/>
                    <a:gd name="T12" fmla="*/ 25 w 361"/>
                    <a:gd name="T13" fmla="*/ 103 h 362"/>
                    <a:gd name="T14" fmla="*/ 20 w 361"/>
                    <a:gd name="T15" fmla="*/ 101 h 362"/>
                    <a:gd name="T16" fmla="*/ 19 w 361"/>
                    <a:gd name="T17" fmla="*/ 91 h 362"/>
                    <a:gd name="T18" fmla="*/ 7 w 361"/>
                    <a:gd name="T19" fmla="*/ 87 h 362"/>
                    <a:gd name="T20" fmla="*/ 0 w 361"/>
                    <a:gd name="T21" fmla="*/ 76 h 362"/>
                    <a:gd name="T22" fmla="*/ 15 w 361"/>
                    <a:gd name="T23" fmla="*/ 80 h 362"/>
                    <a:gd name="T24" fmla="*/ 47 w 361"/>
                    <a:gd name="T25" fmla="*/ 76 h 362"/>
                    <a:gd name="T26" fmla="*/ 50 w 361"/>
                    <a:gd name="T27" fmla="*/ 60 h 362"/>
                    <a:gd name="T28" fmla="*/ 71 w 361"/>
                    <a:gd name="T29" fmla="*/ 54 h 362"/>
                    <a:gd name="T30" fmla="*/ 71 w 361"/>
                    <a:gd name="T31" fmla="*/ 41 h 362"/>
                    <a:gd name="T32" fmla="*/ 77 w 361"/>
                    <a:gd name="T33" fmla="*/ 38 h 362"/>
                    <a:gd name="T34" fmla="*/ 72 w 361"/>
                    <a:gd name="T35" fmla="*/ 30 h 362"/>
                    <a:gd name="T36" fmla="*/ 81 w 361"/>
                    <a:gd name="T37" fmla="*/ 30 h 362"/>
                    <a:gd name="T38" fmla="*/ 84 w 361"/>
                    <a:gd name="T39" fmla="*/ 19 h 362"/>
                    <a:gd name="T40" fmla="*/ 80 w 361"/>
                    <a:gd name="T41" fmla="*/ 9 h 362"/>
                    <a:gd name="T42" fmla="*/ 90 w 361"/>
                    <a:gd name="T43" fmla="*/ 1 h 362"/>
                    <a:gd name="T44" fmla="*/ 99 w 361"/>
                    <a:gd name="T45" fmla="*/ 1 h 362"/>
                    <a:gd name="T46" fmla="*/ 106 w 361"/>
                    <a:gd name="T47" fmla="*/ 0 h 362"/>
                    <a:gd name="T48" fmla="*/ 117 w 361"/>
                    <a:gd name="T49" fmla="*/ 3 h 362"/>
                    <a:gd name="T50" fmla="*/ 123 w 361"/>
                    <a:gd name="T51" fmla="*/ 11 h 362"/>
                    <a:gd name="T52" fmla="*/ 137 w 361"/>
                    <a:gd name="T53" fmla="*/ 16 h 362"/>
                    <a:gd name="T54" fmla="*/ 130 w 361"/>
                    <a:gd name="T55" fmla="*/ 23 h 362"/>
                    <a:gd name="T56" fmla="*/ 106 w 361"/>
                    <a:gd name="T57" fmla="*/ 23 h 362"/>
                    <a:gd name="T58" fmla="*/ 106 w 361"/>
                    <a:gd name="T59" fmla="*/ 30 h 362"/>
                    <a:gd name="T60" fmla="*/ 110 w 361"/>
                    <a:gd name="T61" fmla="*/ 31 h 362"/>
                    <a:gd name="T62" fmla="*/ 108 w 361"/>
                    <a:gd name="T63" fmla="*/ 39 h 362"/>
                    <a:gd name="T64" fmla="*/ 123 w 361"/>
                    <a:gd name="T65" fmla="*/ 51 h 362"/>
                    <a:gd name="T66" fmla="*/ 117 w 361"/>
                    <a:gd name="T67" fmla="*/ 54 h 362"/>
                    <a:gd name="T68" fmla="*/ 119 w 361"/>
                    <a:gd name="T69" fmla="*/ 61 h 362"/>
                    <a:gd name="T70" fmla="*/ 121 w 361"/>
                    <a:gd name="T71" fmla="*/ 63 h 362"/>
                    <a:gd name="T72" fmla="*/ 113 w 361"/>
                    <a:gd name="T73" fmla="*/ 70 h 362"/>
                    <a:gd name="T74" fmla="*/ 99 w 361"/>
                    <a:gd name="T75" fmla="*/ 96 h 362"/>
                    <a:gd name="T76" fmla="*/ 91 w 361"/>
                    <a:gd name="T77" fmla="*/ 97 h 362"/>
                    <a:gd name="T78" fmla="*/ 87 w 361"/>
                    <a:gd name="T79" fmla="*/ 94 h 362"/>
                    <a:gd name="T80" fmla="*/ 81 w 361"/>
                    <a:gd name="T81" fmla="*/ 103 h 362"/>
                    <a:gd name="T82" fmla="*/ 81 w 361"/>
                    <a:gd name="T83" fmla="*/ 109 h 362"/>
                    <a:gd name="T84" fmla="*/ 87 w 361"/>
                    <a:gd name="T85" fmla="*/ 110 h 362"/>
                    <a:gd name="T86" fmla="*/ 87 w 361"/>
                    <a:gd name="T87" fmla="*/ 116 h 362"/>
                    <a:gd name="T88" fmla="*/ 91 w 361"/>
                    <a:gd name="T89" fmla="*/ 119 h 362"/>
                    <a:gd name="T90" fmla="*/ 99 w 361"/>
                    <a:gd name="T91" fmla="*/ 132 h 362"/>
                    <a:gd name="T92" fmla="*/ 77 w 361"/>
                    <a:gd name="T93" fmla="*/ 132 h 362"/>
                    <a:gd name="T94" fmla="*/ 77 w 361"/>
                    <a:gd name="T95" fmla="*/ 136 h 362"/>
                    <a:gd name="T96" fmla="*/ 71 w 361"/>
                    <a:gd name="T97" fmla="*/ 137 h 36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1" h="362">
                      <a:moveTo>
                        <a:pt x="187" y="362"/>
                      </a:moveTo>
                      <a:lnTo>
                        <a:pt x="178" y="358"/>
                      </a:lnTo>
                      <a:lnTo>
                        <a:pt x="146" y="321"/>
                      </a:lnTo>
                      <a:lnTo>
                        <a:pt x="112" y="321"/>
                      </a:lnTo>
                      <a:lnTo>
                        <a:pt x="32" y="325"/>
                      </a:lnTo>
                      <a:lnTo>
                        <a:pt x="36" y="299"/>
                      </a:lnTo>
                      <a:lnTo>
                        <a:pt x="66" y="271"/>
                      </a:lnTo>
                      <a:lnTo>
                        <a:pt x="54" y="267"/>
                      </a:lnTo>
                      <a:lnTo>
                        <a:pt x="50" y="241"/>
                      </a:lnTo>
                      <a:lnTo>
                        <a:pt x="20" y="229"/>
                      </a:lnTo>
                      <a:lnTo>
                        <a:pt x="0" y="199"/>
                      </a:lnTo>
                      <a:lnTo>
                        <a:pt x="40" y="211"/>
                      </a:lnTo>
                      <a:lnTo>
                        <a:pt x="124" y="199"/>
                      </a:lnTo>
                      <a:lnTo>
                        <a:pt x="132" y="157"/>
                      </a:lnTo>
                      <a:lnTo>
                        <a:pt x="187" y="141"/>
                      </a:lnTo>
                      <a:lnTo>
                        <a:pt x="187" y="107"/>
                      </a:lnTo>
                      <a:lnTo>
                        <a:pt x="203" y="99"/>
                      </a:lnTo>
                      <a:lnTo>
                        <a:pt x="191" y="79"/>
                      </a:lnTo>
                      <a:lnTo>
                        <a:pt x="215" y="79"/>
                      </a:lnTo>
                      <a:lnTo>
                        <a:pt x="223" y="50"/>
                      </a:lnTo>
                      <a:lnTo>
                        <a:pt x="211" y="24"/>
                      </a:lnTo>
                      <a:lnTo>
                        <a:pt x="237" y="4"/>
                      </a:lnTo>
                      <a:lnTo>
                        <a:pt x="261" y="4"/>
                      </a:lnTo>
                      <a:lnTo>
                        <a:pt x="279" y="0"/>
                      </a:lnTo>
                      <a:lnTo>
                        <a:pt x="311" y="8"/>
                      </a:lnTo>
                      <a:lnTo>
                        <a:pt x="325" y="30"/>
                      </a:lnTo>
                      <a:lnTo>
                        <a:pt x="361" y="42"/>
                      </a:lnTo>
                      <a:lnTo>
                        <a:pt x="345" y="61"/>
                      </a:lnTo>
                      <a:lnTo>
                        <a:pt x="279" y="61"/>
                      </a:lnTo>
                      <a:lnTo>
                        <a:pt x="279" y="79"/>
                      </a:lnTo>
                      <a:lnTo>
                        <a:pt x="291" y="83"/>
                      </a:lnTo>
                      <a:lnTo>
                        <a:pt x="287" y="103"/>
                      </a:lnTo>
                      <a:lnTo>
                        <a:pt x="325" y="133"/>
                      </a:lnTo>
                      <a:lnTo>
                        <a:pt x="311" y="141"/>
                      </a:lnTo>
                      <a:lnTo>
                        <a:pt x="315" y="161"/>
                      </a:lnTo>
                      <a:lnTo>
                        <a:pt x="319" y="165"/>
                      </a:lnTo>
                      <a:lnTo>
                        <a:pt x="299" y="183"/>
                      </a:lnTo>
                      <a:lnTo>
                        <a:pt x="261" y="253"/>
                      </a:lnTo>
                      <a:lnTo>
                        <a:pt x="241" y="257"/>
                      </a:lnTo>
                      <a:lnTo>
                        <a:pt x="229" y="249"/>
                      </a:lnTo>
                      <a:lnTo>
                        <a:pt x="215" y="271"/>
                      </a:lnTo>
                      <a:lnTo>
                        <a:pt x="215" y="287"/>
                      </a:lnTo>
                      <a:lnTo>
                        <a:pt x="229" y="291"/>
                      </a:lnTo>
                      <a:lnTo>
                        <a:pt x="229" y="307"/>
                      </a:lnTo>
                      <a:lnTo>
                        <a:pt x="241" y="313"/>
                      </a:lnTo>
                      <a:lnTo>
                        <a:pt x="261" y="348"/>
                      </a:lnTo>
                      <a:lnTo>
                        <a:pt x="203" y="348"/>
                      </a:lnTo>
                      <a:lnTo>
                        <a:pt x="203" y="358"/>
                      </a:lnTo>
                      <a:lnTo>
                        <a:pt x="187" y="36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5" name="vMap : Qatar">
                  <a:extLst>
                    <a:ext uri="{FF2B5EF4-FFF2-40B4-BE49-F238E27FC236}">
                      <a16:creationId xmlns:a16="http://schemas.microsoft.com/office/drawing/2014/main" xmlns="" id="{5AB8DDF0-2C82-AE42-8271-A4F5D5252438}"/>
                    </a:ext>
                  </a:extLst>
                </p:cNvPr>
                <p:cNvSpPr>
                  <a:spLocks noChangeAspect="1"/>
                </p:cNvSpPr>
                <p:nvPr>
                  <p:custDataLst>
                    <p:tags r:id="rId95"/>
                  </p:custDataLst>
                </p:nvPr>
              </p:nvSpPr>
              <p:spPr bwMode="gray">
                <a:xfrm>
                  <a:off x="5206940" y="3542469"/>
                  <a:ext cx="15213" cy="45094"/>
                </a:xfrm>
                <a:custGeom>
                  <a:avLst/>
                  <a:gdLst>
                    <a:gd name="T0" fmla="*/ 6 w 16"/>
                    <a:gd name="T1" fmla="*/ 17 h 45"/>
                    <a:gd name="T2" fmla="*/ 6 w 16"/>
                    <a:gd name="T3" fmla="*/ 3 h 45"/>
                    <a:gd name="T4" fmla="*/ 3 w 16"/>
                    <a:gd name="T5" fmla="*/ 0 h 45"/>
                    <a:gd name="T6" fmla="*/ 0 w 16"/>
                    <a:gd name="T7" fmla="*/ 15 h 45"/>
                    <a:gd name="T8" fmla="*/ 3 w 16"/>
                    <a:gd name="T9" fmla="*/ 19 h 45"/>
                    <a:gd name="T10" fmla="*/ 6 w 16"/>
                    <a:gd name="T11" fmla="*/ 17 h 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45">
                      <a:moveTo>
                        <a:pt x="16" y="41"/>
                      </a:moveTo>
                      <a:lnTo>
                        <a:pt x="16" y="8"/>
                      </a:lnTo>
                      <a:lnTo>
                        <a:pt x="8" y="0"/>
                      </a:lnTo>
                      <a:lnTo>
                        <a:pt x="0" y="37"/>
                      </a:lnTo>
                      <a:lnTo>
                        <a:pt x="8" y="45"/>
                      </a:lnTo>
                      <a:lnTo>
                        <a:pt x="16" y="4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6" name="vMap : Cyprus">
                  <a:extLst>
                    <a:ext uri="{FF2B5EF4-FFF2-40B4-BE49-F238E27FC236}">
                      <a16:creationId xmlns:a16="http://schemas.microsoft.com/office/drawing/2014/main" xmlns="" id="{308A15EA-BE5C-9D49-BBF0-1A97040FCE93}"/>
                    </a:ext>
                  </a:extLst>
                </p:cNvPr>
                <p:cNvSpPr>
                  <a:spLocks noChangeAspect="1"/>
                </p:cNvSpPr>
                <p:nvPr>
                  <p:custDataLst>
                    <p:tags r:id="rId96"/>
                  </p:custDataLst>
                </p:nvPr>
              </p:nvSpPr>
              <p:spPr bwMode="gray">
                <a:xfrm>
                  <a:off x="4782502" y="3290560"/>
                  <a:ext cx="47160" cy="31100"/>
                </a:xfrm>
                <a:custGeom>
                  <a:avLst/>
                  <a:gdLst>
                    <a:gd name="T0" fmla="*/ 15 w 50"/>
                    <a:gd name="T1" fmla="*/ 3 h 31"/>
                    <a:gd name="T2" fmla="*/ 19 w 50"/>
                    <a:gd name="T3" fmla="*/ 0 h 31"/>
                    <a:gd name="T4" fmla="*/ 15 w 50"/>
                    <a:gd name="T5" fmla="*/ 10 h 31"/>
                    <a:gd name="T6" fmla="*/ 7 w 50"/>
                    <a:gd name="T7" fmla="*/ 13 h 31"/>
                    <a:gd name="T8" fmla="*/ 0 w 50"/>
                    <a:gd name="T9" fmla="*/ 8 h 31"/>
                    <a:gd name="T10" fmla="*/ 15 w 50"/>
                    <a:gd name="T11" fmla="*/ 3 h 3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 h="31">
                      <a:moveTo>
                        <a:pt x="38" y="8"/>
                      </a:moveTo>
                      <a:lnTo>
                        <a:pt x="50" y="0"/>
                      </a:lnTo>
                      <a:lnTo>
                        <a:pt x="38" y="23"/>
                      </a:lnTo>
                      <a:lnTo>
                        <a:pt x="18" y="31"/>
                      </a:lnTo>
                      <a:lnTo>
                        <a:pt x="0" y="19"/>
                      </a:lnTo>
                      <a:lnTo>
                        <a:pt x="38"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587" name="vMap : Turkey">
                  <a:extLst>
                    <a:ext uri="{FF2B5EF4-FFF2-40B4-BE49-F238E27FC236}">
                      <a16:creationId xmlns:a16="http://schemas.microsoft.com/office/drawing/2014/main" xmlns="" id="{4EA92639-BFC4-FE4A-A14F-E9E3ED95165F}"/>
                    </a:ext>
                  </a:extLst>
                </p:cNvPr>
                <p:cNvGrpSpPr/>
                <p:nvPr/>
              </p:nvGrpSpPr>
              <p:grpSpPr>
                <a:xfrm>
                  <a:off x="4639502" y="3122619"/>
                  <a:ext cx="401619" cy="164830"/>
                  <a:chOff x="5895364" y="1898741"/>
                  <a:chExt cx="657753" cy="269960"/>
                </a:xfrm>
                <a:solidFill>
                  <a:srgbClr val="0F4DBC"/>
                </a:solidFill>
              </p:grpSpPr>
              <p:sp>
                <p:nvSpPr>
                  <p:cNvPr id="813" name="vMap : Turkey (East)">
                    <a:extLst>
                      <a:ext uri="{FF2B5EF4-FFF2-40B4-BE49-F238E27FC236}">
                        <a16:creationId xmlns:a16="http://schemas.microsoft.com/office/drawing/2014/main" xmlns="" id="{F188318C-F10D-3C4B-9F65-A3C524872C50}"/>
                      </a:ext>
                    </a:extLst>
                  </p:cNvPr>
                  <p:cNvSpPr>
                    <a:spLocks noChangeAspect="1"/>
                  </p:cNvSpPr>
                  <p:nvPr>
                    <p:custDataLst>
                      <p:tags r:id="rId308"/>
                    </p:custDataLst>
                  </p:nvPr>
                </p:nvSpPr>
                <p:spPr bwMode="gray">
                  <a:xfrm>
                    <a:off x="5905330" y="1898741"/>
                    <a:ext cx="647787" cy="269960"/>
                  </a:xfrm>
                  <a:custGeom>
                    <a:avLst/>
                    <a:gdLst>
                      <a:gd name="T0" fmla="*/ 1 w 424"/>
                      <a:gd name="T1" fmla="*/ 22 h 172"/>
                      <a:gd name="T2" fmla="*/ 4 w 424"/>
                      <a:gd name="T3" fmla="*/ 17 h 172"/>
                      <a:gd name="T4" fmla="*/ 29 w 424"/>
                      <a:gd name="T5" fmla="*/ 14 h 172"/>
                      <a:gd name="T6" fmla="*/ 24 w 424"/>
                      <a:gd name="T7" fmla="*/ 13 h 172"/>
                      <a:gd name="T8" fmla="*/ 24 w 424"/>
                      <a:gd name="T9" fmla="*/ 9 h 172"/>
                      <a:gd name="T10" fmla="*/ 40 w 424"/>
                      <a:gd name="T11" fmla="*/ 11 h 172"/>
                      <a:gd name="T12" fmla="*/ 58 w 424"/>
                      <a:gd name="T13" fmla="*/ 1 h 172"/>
                      <a:gd name="T14" fmla="*/ 74 w 424"/>
                      <a:gd name="T15" fmla="*/ 0 h 172"/>
                      <a:gd name="T16" fmla="*/ 83 w 424"/>
                      <a:gd name="T17" fmla="*/ 9 h 172"/>
                      <a:gd name="T18" fmla="*/ 99 w 424"/>
                      <a:gd name="T19" fmla="*/ 11 h 172"/>
                      <a:gd name="T20" fmla="*/ 117 w 424"/>
                      <a:gd name="T21" fmla="*/ 11 h 172"/>
                      <a:gd name="T22" fmla="*/ 126 w 424"/>
                      <a:gd name="T23" fmla="*/ 6 h 172"/>
                      <a:gd name="T24" fmla="*/ 137 w 424"/>
                      <a:gd name="T25" fmla="*/ 6 h 172"/>
                      <a:gd name="T26" fmla="*/ 140 w 424"/>
                      <a:gd name="T27" fmla="*/ 9 h 172"/>
                      <a:gd name="T28" fmla="*/ 155 w 424"/>
                      <a:gd name="T29" fmla="*/ 23 h 172"/>
                      <a:gd name="T30" fmla="*/ 152 w 424"/>
                      <a:gd name="T31" fmla="*/ 29 h 172"/>
                      <a:gd name="T32" fmla="*/ 155 w 424"/>
                      <a:gd name="T33" fmla="*/ 44 h 172"/>
                      <a:gd name="T34" fmla="*/ 159 w 424"/>
                      <a:gd name="T35" fmla="*/ 51 h 172"/>
                      <a:gd name="T36" fmla="*/ 143 w 424"/>
                      <a:gd name="T37" fmla="*/ 48 h 172"/>
                      <a:gd name="T38" fmla="*/ 140 w 424"/>
                      <a:gd name="T39" fmla="*/ 51 h 172"/>
                      <a:gd name="T40" fmla="*/ 113 w 424"/>
                      <a:gd name="T41" fmla="*/ 57 h 172"/>
                      <a:gd name="T42" fmla="*/ 92 w 424"/>
                      <a:gd name="T43" fmla="*/ 55 h 172"/>
                      <a:gd name="T44" fmla="*/ 92 w 424"/>
                      <a:gd name="T45" fmla="*/ 62 h 172"/>
                      <a:gd name="T46" fmla="*/ 86 w 424"/>
                      <a:gd name="T47" fmla="*/ 65 h 172"/>
                      <a:gd name="T48" fmla="*/ 86 w 424"/>
                      <a:gd name="T49" fmla="*/ 55 h 172"/>
                      <a:gd name="T50" fmla="*/ 82 w 424"/>
                      <a:gd name="T51" fmla="*/ 59 h 172"/>
                      <a:gd name="T52" fmla="*/ 74 w 424"/>
                      <a:gd name="T53" fmla="*/ 55 h 172"/>
                      <a:gd name="T54" fmla="*/ 58 w 424"/>
                      <a:gd name="T55" fmla="*/ 64 h 172"/>
                      <a:gd name="T56" fmla="*/ 42 w 424"/>
                      <a:gd name="T57" fmla="*/ 55 h 172"/>
                      <a:gd name="T58" fmla="*/ 33 w 424"/>
                      <a:gd name="T59" fmla="*/ 63 h 172"/>
                      <a:gd name="T60" fmla="*/ 22 w 424"/>
                      <a:gd name="T61" fmla="*/ 55 h 172"/>
                      <a:gd name="T62" fmla="*/ 12 w 424"/>
                      <a:gd name="T63" fmla="*/ 57 h 172"/>
                      <a:gd name="T64" fmla="*/ 20 w 424"/>
                      <a:gd name="T65" fmla="*/ 52 h 172"/>
                      <a:gd name="T66" fmla="*/ 11 w 424"/>
                      <a:gd name="T67" fmla="*/ 54 h 172"/>
                      <a:gd name="T68" fmla="*/ 8 w 424"/>
                      <a:gd name="T69" fmla="*/ 43 h 172"/>
                      <a:gd name="T70" fmla="*/ 1 w 424"/>
                      <a:gd name="T71" fmla="*/ 41 h 172"/>
                      <a:gd name="T72" fmla="*/ 3 w 424"/>
                      <a:gd name="T73" fmla="*/ 36 h 172"/>
                      <a:gd name="T74" fmla="*/ 8 w 424"/>
                      <a:gd name="T75" fmla="*/ 38 h 172"/>
                      <a:gd name="T76" fmla="*/ 6 w 424"/>
                      <a:gd name="T77" fmla="*/ 36 h 172"/>
                      <a:gd name="T78" fmla="*/ 6 w 424"/>
                      <a:gd name="T79" fmla="*/ 27 h 172"/>
                      <a:gd name="T80" fmla="*/ 0 w 424"/>
                      <a:gd name="T81" fmla="*/ 28 h 172"/>
                      <a:gd name="T82" fmla="*/ 1 w 424"/>
                      <a:gd name="T83" fmla="*/ 22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24" h="172">
                        <a:moveTo>
                          <a:pt x="4" y="58"/>
                        </a:moveTo>
                        <a:lnTo>
                          <a:pt x="12" y="46"/>
                        </a:lnTo>
                        <a:lnTo>
                          <a:pt x="79" y="38"/>
                        </a:lnTo>
                        <a:lnTo>
                          <a:pt x="63" y="34"/>
                        </a:lnTo>
                        <a:lnTo>
                          <a:pt x="63" y="24"/>
                        </a:lnTo>
                        <a:lnTo>
                          <a:pt x="107" y="30"/>
                        </a:lnTo>
                        <a:lnTo>
                          <a:pt x="155" y="4"/>
                        </a:lnTo>
                        <a:lnTo>
                          <a:pt x="195" y="0"/>
                        </a:lnTo>
                        <a:lnTo>
                          <a:pt x="221" y="24"/>
                        </a:lnTo>
                        <a:lnTo>
                          <a:pt x="263" y="30"/>
                        </a:lnTo>
                        <a:lnTo>
                          <a:pt x="312" y="30"/>
                        </a:lnTo>
                        <a:lnTo>
                          <a:pt x="336" y="16"/>
                        </a:lnTo>
                        <a:lnTo>
                          <a:pt x="366" y="16"/>
                        </a:lnTo>
                        <a:lnTo>
                          <a:pt x="374" y="24"/>
                        </a:lnTo>
                        <a:lnTo>
                          <a:pt x="412" y="62"/>
                        </a:lnTo>
                        <a:lnTo>
                          <a:pt x="404" y="76"/>
                        </a:lnTo>
                        <a:lnTo>
                          <a:pt x="412" y="116"/>
                        </a:lnTo>
                        <a:lnTo>
                          <a:pt x="424" y="134"/>
                        </a:lnTo>
                        <a:lnTo>
                          <a:pt x="382" y="126"/>
                        </a:lnTo>
                        <a:lnTo>
                          <a:pt x="374" y="134"/>
                        </a:lnTo>
                        <a:lnTo>
                          <a:pt x="300" y="150"/>
                        </a:lnTo>
                        <a:lnTo>
                          <a:pt x="245" y="146"/>
                        </a:lnTo>
                        <a:lnTo>
                          <a:pt x="245" y="162"/>
                        </a:lnTo>
                        <a:lnTo>
                          <a:pt x="229" y="172"/>
                        </a:lnTo>
                        <a:lnTo>
                          <a:pt x="229" y="146"/>
                        </a:lnTo>
                        <a:lnTo>
                          <a:pt x="217" y="154"/>
                        </a:lnTo>
                        <a:lnTo>
                          <a:pt x="195" y="146"/>
                        </a:lnTo>
                        <a:lnTo>
                          <a:pt x="155" y="168"/>
                        </a:lnTo>
                        <a:lnTo>
                          <a:pt x="113" y="146"/>
                        </a:lnTo>
                        <a:lnTo>
                          <a:pt x="87" y="166"/>
                        </a:lnTo>
                        <a:lnTo>
                          <a:pt x="59" y="146"/>
                        </a:lnTo>
                        <a:lnTo>
                          <a:pt x="33" y="150"/>
                        </a:lnTo>
                        <a:lnTo>
                          <a:pt x="53" y="138"/>
                        </a:lnTo>
                        <a:lnTo>
                          <a:pt x="30" y="142"/>
                        </a:lnTo>
                        <a:lnTo>
                          <a:pt x="22" y="112"/>
                        </a:lnTo>
                        <a:lnTo>
                          <a:pt x="4" y="108"/>
                        </a:lnTo>
                        <a:lnTo>
                          <a:pt x="8" y="96"/>
                        </a:lnTo>
                        <a:lnTo>
                          <a:pt x="22" y="100"/>
                        </a:lnTo>
                        <a:lnTo>
                          <a:pt x="14" y="96"/>
                        </a:lnTo>
                        <a:lnTo>
                          <a:pt x="14" y="70"/>
                        </a:lnTo>
                        <a:lnTo>
                          <a:pt x="0" y="74"/>
                        </a:lnTo>
                        <a:lnTo>
                          <a:pt x="4" y="58"/>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814" name="vMap : Turkey (West)">
                    <a:extLst>
                      <a:ext uri="{FF2B5EF4-FFF2-40B4-BE49-F238E27FC236}">
                        <a16:creationId xmlns:a16="http://schemas.microsoft.com/office/drawing/2014/main" xmlns="" id="{66DB7C72-B0FE-314C-AF45-C1C34DF5EA6E}"/>
                      </a:ext>
                    </a:extLst>
                  </p:cNvPr>
                  <p:cNvSpPr>
                    <a:spLocks noChangeAspect="1"/>
                  </p:cNvSpPr>
                  <p:nvPr>
                    <p:custDataLst>
                      <p:tags r:id="rId309"/>
                    </p:custDataLst>
                  </p:nvPr>
                </p:nvSpPr>
                <p:spPr bwMode="gray">
                  <a:xfrm>
                    <a:off x="5895364" y="1911475"/>
                    <a:ext cx="102152" cy="78951"/>
                  </a:xfrm>
                  <a:custGeom>
                    <a:avLst/>
                    <a:gdLst>
                      <a:gd name="T0" fmla="*/ 15 w 67"/>
                      <a:gd name="T1" fmla="*/ 0 h 50"/>
                      <a:gd name="T2" fmla="*/ 3 w 67"/>
                      <a:gd name="T3" fmla="*/ 1 h 50"/>
                      <a:gd name="T4" fmla="*/ 4 w 67"/>
                      <a:gd name="T5" fmla="*/ 4 h 50"/>
                      <a:gd name="T6" fmla="*/ 0 w 67"/>
                      <a:gd name="T7" fmla="*/ 12 h 50"/>
                      <a:gd name="T8" fmla="*/ 7 w 67"/>
                      <a:gd name="T9" fmla="*/ 12 h 50"/>
                      <a:gd name="T10" fmla="*/ 3 w 67"/>
                      <a:gd name="T11" fmla="*/ 19 h 50"/>
                      <a:gd name="T12" fmla="*/ 13 w 67"/>
                      <a:gd name="T13" fmla="*/ 9 h 50"/>
                      <a:gd name="T14" fmla="*/ 24 w 67"/>
                      <a:gd name="T15" fmla="*/ 9 h 50"/>
                      <a:gd name="T16" fmla="*/ 25 w 67"/>
                      <a:gd name="T17" fmla="*/ 6 h 50"/>
                      <a:gd name="T18" fmla="*/ 18 w 67"/>
                      <a:gd name="T19" fmla="*/ 3 h 50"/>
                      <a:gd name="T20" fmla="*/ 15 w 67"/>
                      <a:gd name="T21" fmla="*/ 0 h 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7" h="50">
                        <a:moveTo>
                          <a:pt x="41" y="0"/>
                        </a:moveTo>
                        <a:lnTo>
                          <a:pt x="8" y="4"/>
                        </a:lnTo>
                        <a:lnTo>
                          <a:pt x="12" y="12"/>
                        </a:lnTo>
                        <a:lnTo>
                          <a:pt x="0" y="30"/>
                        </a:lnTo>
                        <a:lnTo>
                          <a:pt x="20" y="30"/>
                        </a:lnTo>
                        <a:lnTo>
                          <a:pt x="8" y="50"/>
                        </a:lnTo>
                        <a:lnTo>
                          <a:pt x="34" y="22"/>
                        </a:lnTo>
                        <a:lnTo>
                          <a:pt x="65" y="22"/>
                        </a:lnTo>
                        <a:lnTo>
                          <a:pt x="67" y="16"/>
                        </a:lnTo>
                        <a:lnTo>
                          <a:pt x="49" y="8"/>
                        </a:lnTo>
                        <a:lnTo>
                          <a:pt x="41"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588" name="vMap : Montenegro">
                  <a:extLst>
                    <a:ext uri="{FF2B5EF4-FFF2-40B4-BE49-F238E27FC236}">
                      <a16:creationId xmlns:a16="http://schemas.microsoft.com/office/drawing/2014/main" xmlns="" id="{5CE3473E-D4DA-7E4B-8E31-2121748D0CBA}"/>
                    </a:ext>
                  </a:extLst>
                </p:cNvPr>
                <p:cNvSpPr>
                  <a:spLocks noChangeAspect="1"/>
                </p:cNvSpPr>
                <p:nvPr>
                  <p:custDataLst>
                    <p:tags r:id="rId97"/>
                  </p:custDataLst>
                </p:nvPr>
              </p:nvSpPr>
              <p:spPr bwMode="gray">
                <a:xfrm>
                  <a:off x="4481289" y="3086854"/>
                  <a:ext cx="38033" cy="43541"/>
                </a:xfrm>
                <a:custGeom>
                  <a:avLst/>
                  <a:gdLst>
                    <a:gd name="T0" fmla="*/ 14 w 42"/>
                    <a:gd name="T1" fmla="*/ 10 h 46"/>
                    <a:gd name="T2" fmla="*/ 15 w 42"/>
                    <a:gd name="T3" fmla="*/ 7 h 46"/>
                    <a:gd name="T4" fmla="*/ 5 w 42"/>
                    <a:gd name="T5" fmla="*/ 1 h 46"/>
                    <a:gd name="T6" fmla="*/ 5 w 42"/>
                    <a:gd name="T7" fmla="*/ 0 h 46"/>
                    <a:gd name="T8" fmla="*/ 4 w 42"/>
                    <a:gd name="T9" fmla="*/ 0 h 46"/>
                    <a:gd name="T10" fmla="*/ 1 w 42"/>
                    <a:gd name="T11" fmla="*/ 0 h 46"/>
                    <a:gd name="T12" fmla="*/ 2 w 42"/>
                    <a:gd name="T13" fmla="*/ 4 h 46"/>
                    <a:gd name="T14" fmla="*/ 0 w 42"/>
                    <a:gd name="T15" fmla="*/ 11 h 46"/>
                    <a:gd name="T16" fmla="*/ 7 w 42"/>
                    <a:gd name="T17" fmla="*/ 17 h 46"/>
                    <a:gd name="T18" fmla="*/ 11 w 42"/>
                    <a:gd name="T19" fmla="*/ 8 h 46"/>
                    <a:gd name="T20" fmla="*/ 14 w 42"/>
                    <a:gd name="T21" fmla="*/ 10 h 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46">
                      <a:moveTo>
                        <a:pt x="38" y="26"/>
                      </a:moveTo>
                      <a:lnTo>
                        <a:pt x="42" y="18"/>
                      </a:lnTo>
                      <a:lnTo>
                        <a:pt x="14" y="4"/>
                      </a:lnTo>
                      <a:lnTo>
                        <a:pt x="14" y="0"/>
                      </a:lnTo>
                      <a:lnTo>
                        <a:pt x="10" y="0"/>
                      </a:lnTo>
                      <a:lnTo>
                        <a:pt x="2" y="0"/>
                      </a:lnTo>
                      <a:lnTo>
                        <a:pt x="6" y="12"/>
                      </a:lnTo>
                      <a:lnTo>
                        <a:pt x="0" y="30"/>
                      </a:lnTo>
                      <a:lnTo>
                        <a:pt x="18" y="46"/>
                      </a:lnTo>
                      <a:lnTo>
                        <a:pt x="30" y="22"/>
                      </a:lnTo>
                      <a:lnTo>
                        <a:pt x="38" y="2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89" name="vMap : Kuwait">
                  <a:extLst>
                    <a:ext uri="{FF2B5EF4-FFF2-40B4-BE49-F238E27FC236}">
                      <a16:creationId xmlns:a16="http://schemas.microsoft.com/office/drawing/2014/main" xmlns="" id="{FD38C73B-FA89-F745-AF48-4168A447DE89}"/>
                    </a:ext>
                  </a:extLst>
                </p:cNvPr>
                <p:cNvSpPr>
                  <a:spLocks noChangeAspect="1"/>
                </p:cNvSpPr>
                <p:nvPr>
                  <p:custDataLst>
                    <p:tags r:id="rId98"/>
                  </p:custDataLst>
                </p:nvPr>
              </p:nvSpPr>
              <p:spPr bwMode="gray">
                <a:xfrm>
                  <a:off x="5106535" y="3442950"/>
                  <a:ext cx="39554" cy="35765"/>
                </a:xfrm>
                <a:custGeom>
                  <a:avLst/>
                  <a:gdLst>
                    <a:gd name="T0" fmla="*/ 16 w 41"/>
                    <a:gd name="T1" fmla="*/ 14 h 38"/>
                    <a:gd name="T2" fmla="*/ 0 w 41"/>
                    <a:gd name="T3" fmla="*/ 8 h 38"/>
                    <a:gd name="T4" fmla="*/ 5 w 41"/>
                    <a:gd name="T5" fmla="*/ 0 h 38"/>
                    <a:gd name="T6" fmla="*/ 13 w 41"/>
                    <a:gd name="T7" fmla="*/ 0 h 38"/>
                    <a:gd name="T8" fmla="*/ 16 w 41"/>
                    <a:gd name="T9" fmla="*/ 3 h 38"/>
                    <a:gd name="T10" fmla="*/ 10 w 41"/>
                    <a:gd name="T11" fmla="*/ 6 h 38"/>
                    <a:gd name="T12" fmla="*/ 16 w 41"/>
                    <a:gd name="T13" fmla="*/ 14 h 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38">
                      <a:moveTo>
                        <a:pt x="41" y="38"/>
                      </a:moveTo>
                      <a:lnTo>
                        <a:pt x="0" y="22"/>
                      </a:lnTo>
                      <a:lnTo>
                        <a:pt x="12" y="0"/>
                      </a:lnTo>
                      <a:lnTo>
                        <a:pt x="31" y="0"/>
                      </a:lnTo>
                      <a:lnTo>
                        <a:pt x="39" y="8"/>
                      </a:lnTo>
                      <a:lnTo>
                        <a:pt x="24" y="16"/>
                      </a:lnTo>
                      <a:lnTo>
                        <a:pt x="41" y="3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0" name="vMap : Lebanon">
                  <a:extLst>
                    <a:ext uri="{FF2B5EF4-FFF2-40B4-BE49-F238E27FC236}">
                      <a16:creationId xmlns:a16="http://schemas.microsoft.com/office/drawing/2014/main" xmlns="" id="{B243EE62-B974-BF40-BB4F-3D46F94C1B74}"/>
                    </a:ext>
                  </a:extLst>
                </p:cNvPr>
                <p:cNvSpPr>
                  <a:spLocks noChangeAspect="1"/>
                </p:cNvSpPr>
                <p:nvPr>
                  <p:custDataLst>
                    <p:tags r:id="rId99"/>
                  </p:custDataLst>
                </p:nvPr>
              </p:nvSpPr>
              <p:spPr bwMode="gray">
                <a:xfrm>
                  <a:off x="4844874" y="3316994"/>
                  <a:ext cx="33468" cy="45094"/>
                </a:xfrm>
                <a:custGeom>
                  <a:avLst/>
                  <a:gdLst>
                    <a:gd name="T0" fmla="*/ 4 w 36"/>
                    <a:gd name="T1" fmla="*/ 16 h 46"/>
                    <a:gd name="T2" fmla="*/ 0 w 36"/>
                    <a:gd name="T3" fmla="*/ 18 h 46"/>
                    <a:gd name="T4" fmla="*/ 7 w 36"/>
                    <a:gd name="T5" fmla="*/ 0 h 46"/>
                    <a:gd name="T6" fmla="*/ 12 w 36"/>
                    <a:gd name="T7" fmla="*/ 0 h 46"/>
                    <a:gd name="T8" fmla="*/ 13 w 36"/>
                    <a:gd name="T9" fmla="*/ 6 h 46"/>
                    <a:gd name="T10" fmla="*/ 4 w 36"/>
                    <a:gd name="T11" fmla="*/ 16 h 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6" h="46">
                      <a:moveTo>
                        <a:pt x="12" y="42"/>
                      </a:moveTo>
                      <a:lnTo>
                        <a:pt x="0" y="46"/>
                      </a:lnTo>
                      <a:lnTo>
                        <a:pt x="20" y="0"/>
                      </a:lnTo>
                      <a:lnTo>
                        <a:pt x="32" y="0"/>
                      </a:lnTo>
                      <a:lnTo>
                        <a:pt x="36" y="14"/>
                      </a:lnTo>
                      <a:lnTo>
                        <a:pt x="12" y="4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1" name="vMap : Israel">
                  <a:extLst>
                    <a:ext uri="{FF2B5EF4-FFF2-40B4-BE49-F238E27FC236}">
                      <a16:creationId xmlns:a16="http://schemas.microsoft.com/office/drawing/2014/main" xmlns="" id="{CC4493A0-5C69-E24E-A432-6AFBFA3B32A6}"/>
                    </a:ext>
                  </a:extLst>
                </p:cNvPr>
                <p:cNvSpPr>
                  <a:spLocks noChangeAspect="1"/>
                </p:cNvSpPr>
                <p:nvPr>
                  <p:custDataLst>
                    <p:tags r:id="rId100"/>
                  </p:custDataLst>
                </p:nvPr>
              </p:nvSpPr>
              <p:spPr bwMode="gray">
                <a:xfrm>
                  <a:off x="4829662" y="3357424"/>
                  <a:ext cx="28905" cy="102631"/>
                </a:xfrm>
                <a:custGeom>
                  <a:avLst/>
                  <a:gdLst>
                    <a:gd name="T0" fmla="*/ 0 w 30"/>
                    <a:gd name="T1" fmla="*/ 20 h 108"/>
                    <a:gd name="T2" fmla="*/ 7 w 30"/>
                    <a:gd name="T3" fmla="*/ 1 h 108"/>
                    <a:gd name="T4" fmla="*/ 12 w 30"/>
                    <a:gd name="T5" fmla="*/ 0 h 108"/>
                    <a:gd name="T6" fmla="*/ 12 w 30"/>
                    <a:gd name="T7" fmla="*/ 6 h 108"/>
                    <a:gd name="T8" fmla="*/ 12 w 30"/>
                    <a:gd name="T9" fmla="*/ 8 h 108"/>
                    <a:gd name="T10" fmla="*/ 7 w 30"/>
                    <a:gd name="T11" fmla="*/ 7 h 108"/>
                    <a:gd name="T12" fmla="*/ 6 w 30"/>
                    <a:gd name="T13" fmla="*/ 10 h 108"/>
                    <a:gd name="T14" fmla="*/ 9 w 30"/>
                    <a:gd name="T15" fmla="*/ 16 h 108"/>
                    <a:gd name="T16" fmla="*/ 6 w 30"/>
                    <a:gd name="T17" fmla="*/ 20 h 108"/>
                    <a:gd name="T18" fmla="*/ 12 w 30"/>
                    <a:gd name="T19" fmla="*/ 19 h 108"/>
                    <a:gd name="T20" fmla="*/ 9 w 30"/>
                    <a:gd name="T21" fmla="*/ 40 h 108"/>
                    <a:gd name="T22" fmla="*/ 7 w 30"/>
                    <a:gd name="T23" fmla="*/ 40 h 108"/>
                    <a:gd name="T24" fmla="*/ 0 w 30"/>
                    <a:gd name="T25" fmla="*/ 20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108">
                      <a:moveTo>
                        <a:pt x="0" y="54"/>
                      </a:moveTo>
                      <a:lnTo>
                        <a:pt x="18" y="4"/>
                      </a:lnTo>
                      <a:lnTo>
                        <a:pt x="30" y="0"/>
                      </a:lnTo>
                      <a:lnTo>
                        <a:pt x="30" y="16"/>
                      </a:lnTo>
                      <a:lnTo>
                        <a:pt x="30" y="22"/>
                      </a:lnTo>
                      <a:lnTo>
                        <a:pt x="18" y="18"/>
                      </a:lnTo>
                      <a:lnTo>
                        <a:pt x="14" y="26"/>
                      </a:lnTo>
                      <a:lnTo>
                        <a:pt x="22" y="42"/>
                      </a:lnTo>
                      <a:lnTo>
                        <a:pt x="14" y="54"/>
                      </a:lnTo>
                      <a:lnTo>
                        <a:pt x="30" y="50"/>
                      </a:lnTo>
                      <a:lnTo>
                        <a:pt x="22" y="108"/>
                      </a:lnTo>
                      <a:lnTo>
                        <a:pt x="18" y="108"/>
                      </a:lnTo>
                      <a:lnTo>
                        <a:pt x="0" y="5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2" name="vMap : Yemen">
                  <a:extLst>
                    <a:ext uri="{FF2B5EF4-FFF2-40B4-BE49-F238E27FC236}">
                      <a16:creationId xmlns:a16="http://schemas.microsoft.com/office/drawing/2014/main" xmlns="" id="{15F6DE90-5676-0D4E-A542-56A0AACC56BA}"/>
                    </a:ext>
                  </a:extLst>
                </p:cNvPr>
                <p:cNvSpPr>
                  <a:spLocks noChangeAspect="1"/>
                </p:cNvSpPr>
                <p:nvPr>
                  <p:custDataLst>
                    <p:tags r:id="rId101"/>
                  </p:custDataLst>
                </p:nvPr>
              </p:nvSpPr>
              <p:spPr bwMode="gray">
                <a:xfrm>
                  <a:off x="5039599" y="3733735"/>
                  <a:ext cx="232756" cy="164830"/>
                </a:xfrm>
                <a:custGeom>
                  <a:avLst/>
                  <a:gdLst>
                    <a:gd name="T0" fmla="*/ 9 w 249"/>
                    <a:gd name="T1" fmla="*/ 66 h 171"/>
                    <a:gd name="T2" fmla="*/ 0 w 249"/>
                    <a:gd name="T3" fmla="*/ 38 h 171"/>
                    <a:gd name="T4" fmla="*/ 0 w 249"/>
                    <a:gd name="T5" fmla="*/ 28 h 171"/>
                    <a:gd name="T6" fmla="*/ 6 w 249"/>
                    <a:gd name="T7" fmla="*/ 20 h 171"/>
                    <a:gd name="T8" fmla="*/ 16 w 249"/>
                    <a:gd name="T9" fmla="*/ 18 h 171"/>
                    <a:gd name="T10" fmla="*/ 32 w 249"/>
                    <a:gd name="T11" fmla="*/ 23 h 171"/>
                    <a:gd name="T12" fmla="*/ 33 w 249"/>
                    <a:gd name="T13" fmla="*/ 35 h 171"/>
                    <a:gd name="T14" fmla="*/ 55 w 249"/>
                    <a:gd name="T15" fmla="*/ 7 h 171"/>
                    <a:gd name="T16" fmla="*/ 82 w 249"/>
                    <a:gd name="T17" fmla="*/ 0 h 171"/>
                    <a:gd name="T18" fmla="*/ 94 w 249"/>
                    <a:gd name="T19" fmla="*/ 25 h 171"/>
                    <a:gd name="T20" fmla="*/ 88 w 249"/>
                    <a:gd name="T21" fmla="*/ 29 h 171"/>
                    <a:gd name="T22" fmla="*/ 87 w 249"/>
                    <a:gd name="T23" fmla="*/ 35 h 171"/>
                    <a:gd name="T24" fmla="*/ 63 w 249"/>
                    <a:gd name="T25" fmla="*/ 45 h 171"/>
                    <a:gd name="T26" fmla="*/ 57 w 249"/>
                    <a:gd name="T27" fmla="*/ 53 h 171"/>
                    <a:gd name="T28" fmla="*/ 29 w 249"/>
                    <a:gd name="T29" fmla="*/ 60 h 171"/>
                    <a:gd name="T30" fmla="*/ 22 w 249"/>
                    <a:gd name="T31" fmla="*/ 66 h 171"/>
                    <a:gd name="T32" fmla="*/ 9 w 249"/>
                    <a:gd name="T33" fmla="*/ 66 h 17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9" h="171">
                      <a:moveTo>
                        <a:pt x="22" y="171"/>
                      </a:moveTo>
                      <a:lnTo>
                        <a:pt x="0" y="98"/>
                      </a:lnTo>
                      <a:lnTo>
                        <a:pt x="0" y="72"/>
                      </a:lnTo>
                      <a:lnTo>
                        <a:pt x="16" y="52"/>
                      </a:lnTo>
                      <a:lnTo>
                        <a:pt x="42" y="46"/>
                      </a:lnTo>
                      <a:lnTo>
                        <a:pt x="84" y="60"/>
                      </a:lnTo>
                      <a:lnTo>
                        <a:pt x="88" y="92"/>
                      </a:lnTo>
                      <a:lnTo>
                        <a:pt x="145" y="18"/>
                      </a:lnTo>
                      <a:lnTo>
                        <a:pt x="217" y="0"/>
                      </a:lnTo>
                      <a:lnTo>
                        <a:pt x="249" y="64"/>
                      </a:lnTo>
                      <a:lnTo>
                        <a:pt x="233" y="76"/>
                      </a:lnTo>
                      <a:lnTo>
                        <a:pt x="229" y="92"/>
                      </a:lnTo>
                      <a:lnTo>
                        <a:pt x="167" y="117"/>
                      </a:lnTo>
                      <a:lnTo>
                        <a:pt x="149" y="137"/>
                      </a:lnTo>
                      <a:lnTo>
                        <a:pt x="76" y="155"/>
                      </a:lnTo>
                      <a:lnTo>
                        <a:pt x="58" y="171"/>
                      </a:lnTo>
                      <a:lnTo>
                        <a:pt x="22" y="17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3" name="vMap : Reunion (Island)">
                  <a:extLst>
                    <a:ext uri="{FF2B5EF4-FFF2-40B4-BE49-F238E27FC236}">
                      <a16:creationId xmlns:a16="http://schemas.microsoft.com/office/drawing/2014/main" xmlns="" id="{3554ECC6-446B-CF45-8265-087D9A6A33FA}"/>
                    </a:ext>
                  </a:extLst>
                </p:cNvPr>
                <p:cNvSpPr>
                  <a:spLocks noChangeAspect="1"/>
                </p:cNvSpPr>
                <p:nvPr>
                  <p:custDataLst>
                    <p:tags r:id="rId102"/>
                  </p:custDataLst>
                </p:nvPr>
              </p:nvSpPr>
              <p:spPr bwMode="gray">
                <a:xfrm>
                  <a:off x="5307345" y="4783359"/>
                  <a:ext cx="15213" cy="12440"/>
                </a:xfrm>
                <a:custGeom>
                  <a:avLst/>
                  <a:gdLst>
                    <a:gd name="T0" fmla="*/ 0 w 16"/>
                    <a:gd name="T1" fmla="*/ 0 h 12"/>
                    <a:gd name="T2" fmla="*/ 5 w 16"/>
                    <a:gd name="T3" fmla="*/ 0 h 12"/>
                    <a:gd name="T4" fmla="*/ 6 w 16"/>
                    <a:gd name="T5" fmla="*/ 5 h 12"/>
                    <a:gd name="T6" fmla="*/ 0 w 16"/>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12">
                      <a:moveTo>
                        <a:pt x="0" y="0"/>
                      </a:moveTo>
                      <a:lnTo>
                        <a:pt x="12" y="0"/>
                      </a:lnTo>
                      <a:lnTo>
                        <a:pt x="16" y="12"/>
                      </a:lnTo>
                      <a:lnTo>
                        <a:pt x="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4" name="vMap : Socotra">
                  <a:extLst>
                    <a:ext uri="{FF2B5EF4-FFF2-40B4-BE49-F238E27FC236}">
                      <a16:creationId xmlns:a16="http://schemas.microsoft.com/office/drawing/2014/main" xmlns="" id="{0D815851-37D7-3444-A2AB-944DD65DC650}"/>
                    </a:ext>
                  </a:extLst>
                </p:cNvPr>
                <p:cNvSpPr>
                  <a:spLocks noChangeAspect="1"/>
                </p:cNvSpPr>
                <p:nvPr>
                  <p:custDataLst>
                    <p:tags r:id="rId103"/>
                  </p:custDataLst>
                </p:nvPr>
              </p:nvSpPr>
              <p:spPr bwMode="gray">
                <a:xfrm>
                  <a:off x="5281483" y="3901674"/>
                  <a:ext cx="22820" cy="6220"/>
                </a:xfrm>
                <a:custGeom>
                  <a:avLst/>
                  <a:gdLst>
                    <a:gd name="T0" fmla="*/ 9 w 24"/>
                    <a:gd name="T1" fmla="*/ 0 h 8"/>
                    <a:gd name="T2" fmla="*/ 6 w 24"/>
                    <a:gd name="T3" fmla="*/ 2 h 8"/>
                    <a:gd name="T4" fmla="*/ 0 w 24"/>
                    <a:gd name="T5" fmla="*/ 0 h 8"/>
                    <a:gd name="T6" fmla="*/ 9 w 24"/>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8">
                      <a:moveTo>
                        <a:pt x="24" y="0"/>
                      </a:moveTo>
                      <a:lnTo>
                        <a:pt x="16" y="8"/>
                      </a:lnTo>
                      <a:lnTo>
                        <a:pt x="0" y="0"/>
                      </a:lnTo>
                      <a:lnTo>
                        <a:pt x="24"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5" name="vMap : Democratic Republic of the Congo">
                  <a:extLst>
                    <a:ext uri="{FF2B5EF4-FFF2-40B4-BE49-F238E27FC236}">
                      <a16:creationId xmlns:a16="http://schemas.microsoft.com/office/drawing/2014/main" xmlns="" id="{3A3E487F-3732-9549-BF34-045E597B0153}"/>
                    </a:ext>
                  </a:extLst>
                </p:cNvPr>
                <p:cNvSpPr>
                  <a:spLocks noChangeAspect="1"/>
                </p:cNvSpPr>
                <p:nvPr>
                  <p:custDataLst>
                    <p:tags r:id="rId104"/>
                  </p:custDataLst>
                </p:nvPr>
              </p:nvSpPr>
              <p:spPr bwMode="gray">
                <a:xfrm>
                  <a:off x="4353501" y="4094494"/>
                  <a:ext cx="433566" cy="485160"/>
                </a:xfrm>
                <a:custGeom>
                  <a:avLst/>
                  <a:gdLst>
                    <a:gd name="T0" fmla="*/ 168 w 464"/>
                    <a:gd name="T1" fmla="*/ 39 h 508"/>
                    <a:gd name="T2" fmla="*/ 163 w 464"/>
                    <a:gd name="T3" fmla="*/ 49 h 508"/>
                    <a:gd name="T4" fmla="*/ 160 w 464"/>
                    <a:gd name="T5" fmla="*/ 68 h 508"/>
                    <a:gd name="T6" fmla="*/ 155 w 464"/>
                    <a:gd name="T7" fmla="*/ 79 h 508"/>
                    <a:gd name="T8" fmla="*/ 155 w 464"/>
                    <a:gd name="T9" fmla="*/ 82 h 508"/>
                    <a:gd name="T10" fmla="*/ 156 w 464"/>
                    <a:gd name="T11" fmla="*/ 88 h 508"/>
                    <a:gd name="T12" fmla="*/ 158 w 464"/>
                    <a:gd name="T13" fmla="*/ 121 h 508"/>
                    <a:gd name="T14" fmla="*/ 166 w 464"/>
                    <a:gd name="T15" fmla="*/ 132 h 508"/>
                    <a:gd name="T16" fmla="*/ 168 w 464"/>
                    <a:gd name="T17" fmla="*/ 138 h 508"/>
                    <a:gd name="T18" fmla="*/ 155 w 464"/>
                    <a:gd name="T19" fmla="*/ 142 h 508"/>
                    <a:gd name="T20" fmla="*/ 150 w 464"/>
                    <a:gd name="T21" fmla="*/ 149 h 508"/>
                    <a:gd name="T22" fmla="*/ 152 w 464"/>
                    <a:gd name="T23" fmla="*/ 162 h 508"/>
                    <a:gd name="T24" fmla="*/ 149 w 464"/>
                    <a:gd name="T25" fmla="*/ 176 h 508"/>
                    <a:gd name="T26" fmla="*/ 152 w 464"/>
                    <a:gd name="T27" fmla="*/ 179 h 508"/>
                    <a:gd name="T28" fmla="*/ 159 w 464"/>
                    <a:gd name="T29" fmla="*/ 179 h 508"/>
                    <a:gd name="T30" fmla="*/ 159 w 464"/>
                    <a:gd name="T31" fmla="*/ 192 h 508"/>
                    <a:gd name="T32" fmla="*/ 152 w 464"/>
                    <a:gd name="T33" fmla="*/ 190 h 508"/>
                    <a:gd name="T34" fmla="*/ 135 w 464"/>
                    <a:gd name="T35" fmla="*/ 176 h 508"/>
                    <a:gd name="T36" fmla="*/ 127 w 464"/>
                    <a:gd name="T37" fmla="*/ 177 h 508"/>
                    <a:gd name="T38" fmla="*/ 117 w 464"/>
                    <a:gd name="T39" fmla="*/ 170 h 508"/>
                    <a:gd name="T40" fmla="*/ 111 w 464"/>
                    <a:gd name="T41" fmla="*/ 171 h 508"/>
                    <a:gd name="T42" fmla="*/ 107 w 464"/>
                    <a:gd name="T43" fmla="*/ 165 h 508"/>
                    <a:gd name="T44" fmla="*/ 88 w 464"/>
                    <a:gd name="T45" fmla="*/ 170 h 508"/>
                    <a:gd name="T46" fmla="*/ 91 w 464"/>
                    <a:gd name="T47" fmla="*/ 162 h 508"/>
                    <a:gd name="T48" fmla="*/ 87 w 464"/>
                    <a:gd name="T49" fmla="*/ 151 h 508"/>
                    <a:gd name="T50" fmla="*/ 87 w 464"/>
                    <a:gd name="T51" fmla="*/ 132 h 508"/>
                    <a:gd name="T52" fmla="*/ 77 w 464"/>
                    <a:gd name="T53" fmla="*/ 129 h 508"/>
                    <a:gd name="T54" fmla="*/ 78 w 464"/>
                    <a:gd name="T55" fmla="*/ 125 h 508"/>
                    <a:gd name="T56" fmla="*/ 67 w 464"/>
                    <a:gd name="T57" fmla="*/ 126 h 508"/>
                    <a:gd name="T58" fmla="*/ 64 w 464"/>
                    <a:gd name="T59" fmla="*/ 136 h 508"/>
                    <a:gd name="T60" fmla="*/ 51 w 464"/>
                    <a:gd name="T61" fmla="*/ 138 h 508"/>
                    <a:gd name="T62" fmla="*/ 42 w 464"/>
                    <a:gd name="T63" fmla="*/ 129 h 508"/>
                    <a:gd name="T64" fmla="*/ 36 w 464"/>
                    <a:gd name="T65" fmla="*/ 113 h 508"/>
                    <a:gd name="T66" fmla="*/ 9 w 464"/>
                    <a:gd name="T67" fmla="*/ 115 h 508"/>
                    <a:gd name="T68" fmla="*/ 0 w 464"/>
                    <a:gd name="T69" fmla="*/ 119 h 508"/>
                    <a:gd name="T70" fmla="*/ 0 w 464"/>
                    <a:gd name="T71" fmla="*/ 115 h 508"/>
                    <a:gd name="T72" fmla="*/ 6 w 464"/>
                    <a:gd name="T73" fmla="*/ 102 h 508"/>
                    <a:gd name="T74" fmla="*/ 12 w 464"/>
                    <a:gd name="T75" fmla="*/ 104 h 508"/>
                    <a:gd name="T76" fmla="*/ 17 w 464"/>
                    <a:gd name="T77" fmla="*/ 99 h 508"/>
                    <a:gd name="T78" fmla="*/ 20 w 464"/>
                    <a:gd name="T79" fmla="*/ 104 h 508"/>
                    <a:gd name="T80" fmla="*/ 34 w 464"/>
                    <a:gd name="T81" fmla="*/ 93 h 508"/>
                    <a:gd name="T82" fmla="*/ 36 w 464"/>
                    <a:gd name="T83" fmla="*/ 76 h 508"/>
                    <a:gd name="T84" fmla="*/ 49 w 464"/>
                    <a:gd name="T85" fmla="*/ 61 h 508"/>
                    <a:gd name="T86" fmla="*/ 58 w 464"/>
                    <a:gd name="T87" fmla="*/ 15 h 508"/>
                    <a:gd name="T88" fmla="*/ 67 w 464"/>
                    <a:gd name="T89" fmla="*/ 0 h 508"/>
                    <a:gd name="T90" fmla="*/ 85 w 464"/>
                    <a:gd name="T91" fmla="*/ 8 h 508"/>
                    <a:gd name="T92" fmla="*/ 119 w 464"/>
                    <a:gd name="T93" fmla="*/ 0 h 508"/>
                    <a:gd name="T94" fmla="*/ 140 w 464"/>
                    <a:gd name="T95" fmla="*/ 0 h 508"/>
                    <a:gd name="T96" fmla="*/ 144 w 464"/>
                    <a:gd name="T97" fmla="*/ 6 h 508"/>
                    <a:gd name="T98" fmla="*/ 159 w 464"/>
                    <a:gd name="T99" fmla="*/ 5 h 508"/>
                    <a:gd name="T100" fmla="*/ 172 w 464"/>
                    <a:gd name="T101" fmla="*/ 15 h 508"/>
                    <a:gd name="T102" fmla="*/ 171 w 464"/>
                    <a:gd name="T103" fmla="*/ 25 h 508"/>
                    <a:gd name="T104" fmla="*/ 175 w 464"/>
                    <a:gd name="T105" fmla="*/ 30 h 508"/>
                    <a:gd name="T106" fmla="*/ 168 w 464"/>
                    <a:gd name="T107" fmla="*/ 39 h 50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64" h="508">
                      <a:moveTo>
                        <a:pt x="444" y="105"/>
                      </a:moveTo>
                      <a:lnTo>
                        <a:pt x="432" y="129"/>
                      </a:lnTo>
                      <a:lnTo>
                        <a:pt x="424" y="179"/>
                      </a:lnTo>
                      <a:lnTo>
                        <a:pt x="410" y="209"/>
                      </a:lnTo>
                      <a:lnTo>
                        <a:pt x="410" y="217"/>
                      </a:lnTo>
                      <a:lnTo>
                        <a:pt x="414" y="233"/>
                      </a:lnTo>
                      <a:lnTo>
                        <a:pt x="418" y="320"/>
                      </a:lnTo>
                      <a:lnTo>
                        <a:pt x="440" y="350"/>
                      </a:lnTo>
                      <a:lnTo>
                        <a:pt x="444" y="366"/>
                      </a:lnTo>
                      <a:lnTo>
                        <a:pt x="410" y="378"/>
                      </a:lnTo>
                      <a:lnTo>
                        <a:pt x="398" y="396"/>
                      </a:lnTo>
                      <a:lnTo>
                        <a:pt x="402" y="430"/>
                      </a:lnTo>
                      <a:lnTo>
                        <a:pt x="394" y="466"/>
                      </a:lnTo>
                      <a:lnTo>
                        <a:pt x="402" y="476"/>
                      </a:lnTo>
                      <a:lnTo>
                        <a:pt x="422" y="476"/>
                      </a:lnTo>
                      <a:lnTo>
                        <a:pt x="422" y="508"/>
                      </a:lnTo>
                      <a:lnTo>
                        <a:pt x="402" y="504"/>
                      </a:lnTo>
                      <a:lnTo>
                        <a:pt x="356" y="466"/>
                      </a:lnTo>
                      <a:lnTo>
                        <a:pt x="337" y="470"/>
                      </a:lnTo>
                      <a:lnTo>
                        <a:pt x="311" y="450"/>
                      </a:lnTo>
                      <a:lnTo>
                        <a:pt x="295" y="454"/>
                      </a:lnTo>
                      <a:lnTo>
                        <a:pt x="283" y="438"/>
                      </a:lnTo>
                      <a:lnTo>
                        <a:pt x="233" y="450"/>
                      </a:lnTo>
                      <a:lnTo>
                        <a:pt x="241" y="430"/>
                      </a:lnTo>
                      <a:lnTo>
                        <a:pt x="231" y="400"/>
                      </a:lnTo>
                      <a:lnTo>
                        <a:pt x="231" y="350"/>
                      </a:lnTo>
                      <a:lnTo>
                        <a:pt x="203" y="342"/>
                      </a:lnTo>
                      <a:lnTo>
                        <a:pt x="207" y="330"/>
                      </a:lnTo>
                      <a:lnTo>
                        <a:pt x="177" y="334"/>
                      </a:lnTo>
                      <a:lnTo>
                        <a:pt x="169" y="362"/>
                      </a:lnTo>
                      <a:lnTo>
                        <a:pt x="135" y="366"/>
                      </a:lnTo>
                      <a:lnTo>
                        <a:pt x="111" y="342"/>
                      </a:lnTo>
                      <a:lnTo>
                        <a:pt x="96" y="300"/>
                      </a:lnTo>
                      <a:lnTo>
                        <a:pt x="24" y="304"/>
                      </a:lnTo>
                      <a:lnTo>
                        <a:pt x="0" y="316"/>
                      </a:lnTo>
                      <a:lnTo>
                        <a:pt x="0" y="304"/>
                      </a:lnTo>
                      <a:lnTo>
                        <a:pt x="16" y="271"/>
                      </a:lnTo>
                      <a:lnTo>
                        <a:pt x="32" y="275"/>
                      </a:lnTo>
                      <a:lnTo>
                        <a:pt x="46" y="263"/>
                      </a:lnTo>
                      <a:lnTo>
                        <a:pt x="54" y="275"/>
                      </a:lnTo>
                      <a:lnTo>
                        <a:pt x="90" y="247"/>
                      </a:lnTo>
                      <a:lnTo>
                        <a:pt x="96" y="201"/>
                      </a:lnTo>
                      <a:lnTo>
                        <a:pt x="131" y="163"/>
                      </a:lnTo>
                      <a:lnTo>
                        <a:pt x="153" y="41"/>
                      </a:lnTo>
                      <a:lnTo>
                        <a:pt x="177" y="0"/>
                      </a:lnTo>
                      <a:lnTo>
                        <a:pt x="227" y="21"/>
                      </a:lnTo>
                      <a:lnTo>
                        <a:pt x="315" y="0"/>
                      </a:lnTo>
                      <a:lnTo>
                        <a:pt x="372" y="0"/>
                      </a:lnTo>
                      <a:lnTo>
                        <a:pt x="382" y="17"/>
                      </a:lnTo>
                      <a:lnTo>
                        <a:pt x="422" y="13"/>
                      </a:lnTo>
                      <a:lnTo>
                        <a:pt x="456" y="41"/>
                      </a:lnTo>
                      <a:lnTo>
                        <a:pt x="452" y="67"/>
                      </a:lnTo>
                      <a:lnTo>
                        <a:pt x="464" y="79"/>
                      </a:lnTo>
                      <a:lnTo>
                        <a:pt x="444" y="105"/>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6" name="vMap : Ethiopia">
                  <a:extLst>
                    <a:ext uri="{FF2B5EF4-FFF2-40B4-BE49-F238E27FC236}">
                      <a16:creationId xmlns:a16="http://schemas.microsoft.com/office/drawing/2014/main" xmlns="" id="{18D6DE5C-AC1C-E540-9496-F0545AD945F1}"/>
                    </a:ext>
                  </a:extLst>
                </p:cNvPr>
                <p:cNvSpPr>
                  <a:spLocks noChangeAspect="1"/>
                </p:cNvSpPr>
                <p:nvPr>
                  <p:custDataLst>
                    <p:tags r:id="rId105"/>
                  </p:custDataLst>
                </p:nvPr>
              </p:nvSpPr>
              <p:spPr bwMode="gray">
                <a:xfrm>
                  <a:off x="4823577" y="3839474"/>
                  <a:ext cx="340767" cy="300115"/>
                </a:xfrm>
                <a:custGeom>
                  <a:avLst/>
                  <a:gdLst>
                    <a:gd name="T0" fmla="*/ 83 w 366"/>
                    <a:gd name="T1" fmla="*/ 28 h 314"/>
                    <a:gd name="T2" fmla="*/ 62 w 366"/>
                    <a:gd name="T3" fmla="*/ 4 h 314"/>
                    <a:gd name="T4" fmla="*/ 53 w 366"/>
                    <a:gd name="T5" fmla="*/ 2 h 314"/>
                    <a:gd name="T6" fmla="*/ 47 w 366"/>
                    <a:gd name="T7" fmla="*/ 6 h 314"/>
                    <a:gd name="T8" fmla="*/ 42 w 366"/>
                    <a:gd name="T9" fmla="*/ 0 h 314"/>
                    <a:gd name="T10" fmla="*/ 40 w 366"/>
                    <a:gd name="T11" fmla="*/ 9 h 314"/>
                    <a:gd name="T12" fmla="*/ 37 w 366"/>
                    <a:gd name="T13" fmla="*/ 6 h 314"/>
                    <a:gd name="T14" fmla="*/ 30 w 366"/>
                    <a:gd name="T15" fmla="*/ 6 h 314"/>
                    <a:gd name="T16" fmla="*/ 29 w 366"/>
                    <a:gd name="T17" fmla="*/ 20 h 314"/>
                    <a:gd name="T18" fmla="*/ 11 w 366"/>
                    <a:gd name="T19" fmla="*/ 47 h 314"/>
                    <a:gd name="T20" fmla="*/ 10 w 366"/>
                    <a:gd name="T21" fmla="*/ 65 h 314"/>
                    <a:gd name="T22" fmla="*/ 3 w 366"/>
                    <a:gd name="T23" fmla="*/ 68 h 314"/>
                    <a:gd name="T24" fmla="*/ 0 w 366"/>
                    <a:gd name="T25" fmla="*/ 72 h 314"/>
                    <a:gd name="T26" fmla="*/ 8 w 366"/>
                    <a:gd name="T27" fmla="*/ 77 h 314"/>
                    <a:gd name="T28" fmla="*/ 17 w 366"/>
                    <a:gd name="T29" fmla="*/ 85 h 314"/>
                    <a:gd name="T30" fmla="*/ 21 w 366"/>
                    <a:gd name="T31" fmla="*/ 97 h 314"/>
                    <a:gd name="T32" fmla="*/ 27 w 366"/>
                    <a:gd name="T33" fmla="*/ 100 h 314"/>
                    <a:gd name="T34" fmla="*/ 27 w 366"/>
                    <a:gd name="T35" fmla="*/ 106 h 314"/>
                    <a:gd name="T36" fmla="*/ 56 w 366"/>
                    <a:gd name="T37" fmla="*/ 119 h 314"/>
                    <a:gd name="T38" fmla="*/ 72 w 366"/>
                    <a:gd name="T39" fmla="*/ 111 h 314"/>
                    <a:gd name="T40" fmla="*/ 81 w 366"/>
                    <a:gd name="T41" fmla="*/ 114 h 314"/>
                    <a:gd name="T42" fmla="*/ 100 w 366"/>
                    <a:gd name="T43" fmla="*/ 104 h 314"/>
                    <a:gd name="T44" fmla="*/ 111 w 366"/>
                    <a:gd name="T45" fmla="*/ 103 h 314"/>
                    <a:gd name="T46" fmla="*/ 136 w 366"/>
                    <a:gd name="T47" fmla="*/ 74 h 314"/>
                    <a:gd name="T48" fmla="*/ 137 w 366"/>
                    <a:gd name="T49" fmla="*/ 72 h 314"/>
                    <a:gd name="T50" fmla="*/ 129 w 366"/>
                    <a:gd name="T51" fmla="*/ 72 h 314"/>
                    <a:gd name="T52" fmla="*/ 100 w 366"/>
                    <a:gd name="T53" fmla="*/ 61 h 314"/>
                    <a:gd name="T54" fmla="*/ 90 w 366"/>
                    <a:gd name="T55" fmla="*/ 48 h 314"/>
                    <a:gd name="T56" fmla="*/ 90 w 366"/>
                    <a:gd name="T57" fmla="*/ 42 h 314"/>
                    <a:gd name="T58" fmla="*/ 81 w 366"/>
                    <a:gd name="T59" fmla="*/ 42 h 314"/>
                    <a:gd name="T60" fmla="*/ 80 w 366"/>
                    <a:gd name="T61" fmla="*/ 39 h 314"/>
                    <a:gd name="T62" fmla="*/ 83 w 366"/>
                    <a:gd name="T63" fmla="*/ 28 h 3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66" h="314">
                      <a:moveTo>
                        <a:pt x="221" y="73"/>
                      </a:moveTo>
                      <a:lnTo>
                        <a:pt x="167" y="11"/>
                      </a:lnTo>
                      <a:lnTo>
                        <a:pt x="141" y="7"/>
                      </a:lnTo>
                      <a:lnTo>
                        <a:pt x="125" y="15"/>
                      </a:lnTo>
                      <a:lnTo>
                        <a:pt x="113" y="0"/>
                      </a:lnTo>
                      <a:lnTo>
                        <a:pt x="107" y="23"/>
                      </a:lnTo>
                      <a:lnTo>
                        <a:pt x="99" y="15"/>
                      </a:lnTo>
                      <a:lnTo>
                        <a:pt x="80" y="15"/>
                      </a:lnTo>
                      <a:lnTo>
                        <a:pt x="76" y="53"/>
                      </a:lnTo>
                      <a:lnTo>
                        <a:pt x="30" y="123"/>
                      </a:lnTo>
                      <a:lnTo>
                        <a:pt x="26" y="173"/>
                      </a:lnTo>
                      <a:lnTo>
                        <a:pt x="8" y="179"/>
                      </a:lnTo>
                      <a:lnTo>
                        <a:pt x="0" y="191"/>
                      </a:lnTo>
                      <a:lnTo>
                        <a:pt x="22" y="203"/>
                      </a:lnTo>
                      <a:lnTo>
                        <a:pt x="46" y="225"/>
                      </a:lnTo>
                      <a:lnTo>
                        <a:pt x="58" y="257"/>
                      </a:lnTo>
                      <a:lnTo>
                        <a:pt x="72" y="265"/>
                      </a:lnTo>
                      <a:lnTo>
                        <a:pt x="72" y="282"/>
                      </a:lnTo>
                      <a:lnTo>
                        <a:pt x="149" y="314"/>
                      </a:lnTo>
                      <a:lnTo>
                        <a:pt x="191" y="294"/>
                      </a:lnTo>
                      <a:lnTo>
                        <a:pt x="217" y="302"/>
                      </a:lnTo>
                      <a:lnTo>
                        <a:pt x="267" y="275"/>
                      </a:lnTo>
                      <a:lnTo>
                        <a:pt x="295" y="271"/>
                      </a:lnTo>
                      <a:lnTo>
                        <a:pt x="362" y="195"/>
                      </a:lnTo>
                      <a:lnTo>
                        <a:pt x="366" y="191"/>
                      </a:lnTo>
                      <a:lnTo>
                        <a:pt x="344" y="191"/>
                      </a:lnTo>
                      <a:lnTo>
                        <a:pt x="267" y="161"/>
                      </a:lnTo>
                      <a:lnTo>
                        <a:pt x="241" y="127"/>
                      </a:lnTo>
                      <a:lnTo>
                        <a:pt x="241" y="111"/>
                      </a:lnTo>
                      <a:lnTo>
                        <a:pt x="217" y="111"/>
                      </a:lnTo>
                      <a:lnTo>
                        <a:pt x="213" y="103"/>
                      </a:lnTo>
                      <a:lnTo>
                        <a:pt x="221" y="73"/>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7" name="vMap : Sudan">
                  <a:extLst>
                    <a:ext uri="{FF2B5EF4-FFF2-40B4-BE49-F238E27FC236}">
                      <a16:creationId xmlns:a16="http://schemas.microsoft.com/office/drawing/2014/main" xmlns="" id="{6CE72C7E-AFAB-8D47-AB4D-2F9BE562C1B2}"/>
                    </a:ext>
                  </a:extLst>
                </p:cNvPr>
                <p:cNvSpPr>
                  <a:spLocks noChangeAspect="1"/>
                </p:cNvSpPr>
                <p:nvPr>
                  <p:custDataLst>
                    <p:tags r:id="rId106"/>
                  </p:custDataLst>
                </p:nvPr>
              </p:nvSpPr>
              <p:spPr bwMode="gray">
                <a:xfrm>
                  <a:off x="4568002" y="3623329"/>
                  <a:ext cx="371193" cy="511595"/>
                </a:xfrm>
                <a:custGeom>
                  <a:avLst/>
                  <a:gdLst>
                    <a:gd name="T0" fmla="*/ 133 w 396"/>
                    <a:gd name="T1" fmla="*/ 91 h 536"/>
                    <a:gd name="T2" fmla="*/ 139 w 396"/>
                    <a:gd name="T3" fmla="*/ 62 h 536"/>
                    <a:gd name="T4" fmla="*/ 149 w 396"/>
                    <a:gd name="T5" fmla="*/ 56 h 536"/>
                    <a:gd name="T6" fmla="*/ 150 w 396"/>
                    <a:gd name="T7" fmla="*/ 52 h 536"/>
                    <a:gd name="T8" fmla="*/ 140 w 396"/>
                    <a:gd name="T9" fmla="*/ 44 h 536"/>
                    <a:gd name="T10" fmla="*/ 135 w 396"/>
                    <a:gd name="T11" fmla="*/ 11 h 536"/>
                    <a:gd name="T12" fmla="*/ 123 w 396"/>
                    <a:gd name="T13" fmla="*/ 0 h 536"/>
                    <a:gd name="T14" fmla="*/ 110 w 396"/>
                    <a:gd name="T15" fmla="*/ 9 h 536"/>
                    <a:gd name="T16" fmla="*/ 108 w 396"/>
                    <a:gd name="T17" fmla="*/ 13 h 536"/>
                    <a:gd name="T18" fmla="*/ 102 w 396"/>
                    <a:gd name="T19" fmla="*/ 11 h 536"/>
                    <a:gd name="T20" fmla="*/ 27 w 396"/>
                    <a:gd name="T21" fmla="*/ 11 h 536"/>
                    <a:gd name="T22" fmla="*/ 27 w 396"/>
                    <a:gd name="T23" fmla="*/ 30 h 536"/>
                    <a:gd name="T24" fmla="*/ 18 w 396"/>
                    <a:gd name="T25" fmla="*/ 30 h 536"/>
                    <a:gd name="T26" fmla="*/ 18 w 396"/>
                    <a:gd name="T27" fmla="*/ 37 h 536"/>
                    <a:gd name="T28" fmla="*/ 20 w 396"/>
                    <a:gd name="T29" fmla="*/ 77 h 536"/>
                    <a:gd name="T30" fmla="*/ 10 w 396"/>
                    <a:gd name="T31" fmla="*/ 79 h 536"/>
                    <a:gd name="T32" fmla="*/ 0 w 396"/>
                    <a:gd name="T33" fmla="*/ 105 h 536"/>
                    <a:gd name="T34" fmla="*/ 0 w 396"/>
                    <a:gd name="T35" fmla="*/ 108 h 536"/>
                    <a:gd name="T36" fmla="*/ 4 w 396"/>
                    <a:gd name="T37" fmla="*/ 107 h 536"/>
                    <a:gd name="T38" fmla="*/ 9 w 396"/>
                    <a:gd name="T39" fmla="*/ 125 h 536"/>
                    <a:gd name="T40" fmla="*/ 16 w 396"/>
                    <a:gd name="T41" fmla="*/ 135 h 536"/>
                    <a:gd name="T42" fmla="*/ 16 w 396"/>
                    <a:gd name="T43" fmla="*/ 147 h 536"/>
                    <a:gd name="T44" fmla="*/ 32 w 396"/>
                    <a:gd name="T45" fmla="*/ 156 h 536"/>
                    <a:gd name="T46" fmla="*/ 54 w 396"/>
                    <a:gd name="T47" fmla="*/ 187 h 536"/>
                    <a:gd name="T48" fmla="*/ 57 w 396"/>
                    <a:gd name="T49" fmla="*/ 193 h 536"/>
                    <a:gd name="T50" fmla="*/ 73 w 396"/>
                    <a:gd name="T51" fmla="*/ 192 h 536"/>
                    <a:gd name="T52" fmla="*/ 86 w 396"/>
                    <a:gd name="T53" fmla="*/ 202 h 536"/>
                    <a:gd name="T54" fmla="*/ 113 w 396"/>
                    <a:gd name="T55" fmla="*/ 198 h 536"/>
                    <a:gd name="T56" fmla="*/ 117 w 396"/>
                    <a:gd name="T57" fmla="*/ 193 h 536"/>
                    <a:gd name="T58" fmla="*/ 130 w 396"/>
                    <a:gd name="T59" fmla="*/ 192 h 536"/>
                    <a:gd name="T60" fmla="*/ 130 w 396"/>
                    <a:gd name="T61" fmla="*/ 185 h 536"/>
                    <a:gd name="T62" fmla="*/ 125 w 396"/>
                    <a:gd name="T63" fmla="*/ 182 h 536"/>
                    <a:gd name="T64" fmla="*/ 120 w 396"/>
                    <a:gd name="T65" fmla="*/ 170 h 536"/>
                    <a:gd name="T66" fmla="*/ 112 w 396"/>
                    <a:gd name="T67" fmla="*/ 161 h 536"/>
                    <a:gd name="T68" fmla="*/ 103 w 396"/>
                    <a:gd name="T69" fmla="*/ 157 h 536"/>
                    <a:gd name="T70" fmla="*/ 106 w 396"/>
                    <a:gd name="T71" fmla="*/ 153 h 536"/>
                    <a:gd name="T72" fmla="*/ 113 w 396"/>
                    <a:gd name="T73" fmla="*/ 150 h 536"/>
                    <a:gd name="T74" fmla="*/ 114 w 396"/>
                    <a:gd name="T75" fmla="*/ 131 h 536"/>
                    <a:gd name="T76" fmla="*/ 132 w 396"/>
                    <a:gd name="T77" fmla="*/ 105 h 536"/>
                    <a:gd name="T78" fmla="*/ 133 w 396"/>
                    <a:gd name="T79" fmla="*/ 91 h 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6" h="536">
                      <a:moveTo>
                        <a:pt x="351" y="241"/>
                      </a:moveTo>
                      <a:lnTo>
                        <a:pt x="366" y="164"/>
                      </a:lnTo>
                      <a:lnTo>
                        <a:pt x="392" y="150"/>
                      </a:lnTo>
                      <a:lnTo>
                        <a:pt x="396" y="138"/>
                      </a:lnTo>
                      <a:lnTo>
                        <a:pt x="370" y="116"/>
                      </a:lnTo>
                      <a:lnTo>
                        <a:pt x="355" y="30"/>
                      </a:lnTo>
                      <a:lnTo>
                        <a:pt x="325" y="0"/>
                      </a:lnTo>
                      <a:lnTo>
                        <a:pt x="289" y="22"/>
                      </a:lnTo>
                      <a:lnTo>
                        <a:pt x="285" y="34"/>
                      </a:lnTo>
                      <a:lnTo>
                        <a:pt x="267" y="30"/>
                      </a:lnTo>
                      <a:lnTo>
                        <a:pt x="72" y="30"/>
                      </a:lnTo>
                      <a:lnTo>
                        <a:pt x="72" y="80"/>
                      </a:lnTo>
                      <a:lnTo>
                        <a:pt x="48" y="80"/>
                      </a:lnTo>
                      <a:lnTo>
                        <a:pt x="48" y="100"/>
                      </a:lnTo>
                      <a:lnTo>
                        <a:pt x="52" y="204"/>
                      </a:lnTo>
                      <a:lnTo>
                        <a:pt x="26" y="208"/>
                      </a:lnTo>
                      <a:lnTo>
                        <a:pt x="0" y="279"/>
                      </a:lnTo>
                      <a:lnTo>
                        <a:pt x="0" y="287"/>
                      </a:lnTo>
                      <a:lnTo>
                        <a:pt x="10" y="283"/>
                      </a:lnTo>
                      <a:lnTo>
                        <a:pt x="22" y="333"/>
                      </a:lnTo>
                      <a:lnTo>
                        <a:pt x="42" y="359"/>
                      </a:lnTo>
                      <a:lnTo>
                        <a:pt x="42" y="391"/>
                      </a:lnTo>
                      <a:lnTo>
                        <a:pt x="84" y="413"/>
                      </a:lnTo>
                      <a:lnTo>
                        <a:pt x="141" y="495"/>
                      </a:lnTo>
                      <a:lnTo>
                        <a:pt x="151" y="512"/>
                      </a:lnTo>
                      <a:lnTo>
                        <a:pt x="191" y="508"/>
                      </a:lnTo>
                      <a:lnTo>
                        <a:pt x="225" y="536"/>
                      </a:lnTo>
                      <a:lnTo>
                        <a:pt x="297" y="524"/>
                      </a:lnTo>
                      <a:lnTo>
                        <a:pt x="309" y="512"/>
                      </a:lnTo>
                      <a:lnTo>
                        <a:pt x="343" y="508"/>
                      </a:lnTo>
                      <a:lnTo>
                        <a:pt x="343" y="491"/>
                      </a:lnTo>
                      <a:lnTo>
                        <a:pt x="329" y="483"/>
                      </a:lnTo>
                      <a:lnTo>
                        <a:pt x="317" y="451"/>
                      </a:lnTo>
                      <a:lnTo>
                        <a:pt x="293" y="429"/>
                      </a:lnTo>
                      <a:lnTo>
                        <a:pt x="271" y="417"/>
                      </a:lnTo>
                      <a:lnTo>
                        <a:pt x="279" y="405"/>
                      </a:lnTo>
                      <a:lnTo>
                        <a:pt x="297" y="399"/>
                      </a:lnTo>
                      <a:lnTo>
                        <a:pt x="301" y="349"/>
                      </a:lnTo>
                      <a:lnTo>
                        <a:pt x="347" y="279"/>
                      </a:lnTo>
                      <a:lnTo>
                        <a:pt x="351" y="241"/>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8" name="vMap : Eritrea">
                  <a:extLst>
                    <a:ext uri="{FF2B5EF4-FFF2-40B4-BE49-F238E27FC236}">
                      <a16:creationId xmlns:a16="http://schemas.microsoft.com/office/drawing/2014/main" xmlns="" id="{A40399D9-27F4-964D-9DBF-93A7D2F919AD}"/>
                    </a:ext>
                  </a:extLst>
                </p:cNvPr>
                <p:cNvSpPr>
                  <a:spLocks noChangeAspect="1"/>
                </p:cNvSpPr>
                <p:nvPr>
                  <p:custDataLst>
                    <p:tags r:id="rId107"/>
                  </p:custDataLst>
                </p:nvPr>
              </p:nvSpPr>
              <p:spPr bwMode="gray">
                <a:xfrm>
                  <a:off x="4896598" y="3753949"/>
                  <a:ext cx="149086" cy="153945"/>
                </a:xfrm>
                <a:custGeom>
                  <a:avLst/>
                  <a:gdLst>
                    <a:gd name="T0" fmla="*/ 52 w 161"/>
                    <a:gd name="T1" fmla="*/ 61 h 161"/>
                    <a:gd name="T2" fmla="*/ 32 w 161"/>
                    <a:gd name="T3" fmla="*/ 38 h 161"/>
                    <a:gd name="T4" fmla="*/ 23 w 161"/>
                    <a:gd name="T5" fmla="*/ 36 h 161"/>
                    <a:gd name="T6" fmla="*/ 16 w 161"/>
                    <a:gd name="T7" fmla="*/ 39 h 161"/>
                    <a:gd name="T8" fmla="*/ 12 w 161"/>
                    <a:gd name="T9" fmla="*/ 33 h 161"/>
                    <a:gd name="T10" fmla="*/ 10 w 161"/>
                    <a:gd name="T11" fmla="*/ 42 h 161"/>
                    <a:gd name="T12" fmla="*/ 7 w 161"/>
                    <a:gd name="T13" fmla="*/ 39 h 161"/>
                    <a:gd name="T14" fmla="*/ 0 w 161"/>
                    <a:gd name="T15" fmla="*/ 39 h 161"/>
                    <a:gd name="T16" fmla="*/ 5 w 161"/>
                    <a:gd name="T17" fmla="*/ 10 h 161"/>
                    <a:gd name="T18" fmla="*/ 15 w 161"/>
                    <a:gd name="T19" fmla="*/ 4 h 161"/>
                    <a:gd name="T20" fmla="*/ 16 w 161"/>
                    <a:gd name="T21" fmla="*/ 0 h 161"/>
                    <a:gd name="T22" fmla="*/ 29 w 161"/>
                    <a:gd name="T23" fmla="*/ 30 h 161"/>
                    <a:gd name="T24" fmla="*/ 31 w 161"/>
                    <a:gd name="T25" fmla="*/ 28 h 161"/>
                    <a:gd name="T26" fmla="*/ 33 w 161"/>
                    <a:gd name="T27" fmla="*/ 33 h 161"/>
                    <a:gd name="T28" fmla="*/ 44 w 161"/>
                    <a:gd name="T29" fmla="*/ 36 h 161"/>
                    <a:gd name="T30" fmla="*/ 60 w 161"/>
                    <a:gd name="T31" fmla="*/ 55 h 161"/>
                    <a:gd name="T32" fmla="*/ 52 w 161"/>
                    <a:gd name="T33" fmla="*/ 61 h 1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1" h="161">
                      <a:moveTo>
                        <a:pt x="141" y="161"/>
                      </a:moveTo>
                      <a:lnTo>
                        <a:pt x="87" y="99"/>
                      </a:lnTo>
                      <a:lnTo>
                        <a:pt x="61" y="95"/>
                      </a:lnTo>
                      <a:lnTo>
                        <a:pt x="45" y="103"/>
                      </a:lnTo>
                      <a:lnTo>
                        <a:pt x="33" y="88"/>
                      </a:lnTo>
                      <a:lnTo>
                        <a:pt x="27" y="111"/>
                      </a:lnTo>
                      <a:lnTo>
                        <a:pt x="19" y="103"/>
                      </a:lnTo>
                      <a:lnTo>
                        <a:pt x="0" y="103"/>
                      </a:lnTo>
                      <a:lnTo>
                        <a:pt x="15" y="26"/>
                      </a:lnTo>
                      <a:lnTo>
                        <a:pt x="41" y="12"/>
                      </a:lnTo>
                      <a:lnTo>
                        <a:pt x="45" y="0"/>
                      </a:lnTo>
                      <a:lnTo>
                        <a:pt x="79" y="80"/>
                      </a:lnTo>
                      <a:lnTo>
                        <a:pt x="83" y="74"/>
                      </a:lnTo>
                      <a:lnTo>
                        <a:pt x="91" y="88"/>
                      </a:lnTo>
                      <a:lnTo>
                        <a:pt x="119" y="95"/>
                      </a:lnTo>
                      <a:lnTo>
                        <a:pt x="161" y="145"/>
                      </a:lnTo>
                      <a:lnTo>
                        <a:pt x="141" y="161"/>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599" name="vMap : Kenya (Water)">
                  <a:extLst>
                    <a:ext uri="{FF2B5EF4-FFF2-40B4-BE49-F238E27FC236}">
                      <a16:creationId xmlns:a16="http://schemas.microsoft.com/office/drawing/2014/main" xmlns="" id="{638E290D-6540-D549-BA6A-6C7D783286A0}"/>
                    </a:ext>
                  </a:extLst>
                </p:cNvPr>
                <p:cNvSpPr>
                  <a:spLocks noChangeAspect="1"/>
                </p:cNvSpPr>
                <p:nvPr>
                  <p:custDataLst>
                    <p:tags r:id="rId108"/>
                  </p:custDataLst>
                </p:nvPr>
              </p:nvSpPr>
              <p:spPr bwMode="gray">
                <a:xfrm>
                  <a:off x="4893556" y="4111599"/>
                  <a:ext cx="19777" cy="55980"/>
                </a:xfrm>
                <a:custGeom>
                  <a:avLst/>
                  <a:gdLst>
                    <a:gd name="T0" fmla="*/ 0 w 19"/>
                    <a:gd name="T1" fmla="*/ 0 h 58"/>
                    <a:gd name="T2" fmla="*/ 9 w 19"/>
                    <a:gd name="T3" fmla="*/ 22 h 58"/>
                    <a:gd name="T4" fmla="*/ 0 w 19"/>
                    <a:gd name="T5" fmla="*/ 11 h 58"/>
                    <a:gd name="T6" fmla="*/ 0 w 19"/>
                    <a:gd name="T7" fmla="*/ 0 h 5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58">
                      <a:moveTo>
                        <a:pt x="0" y="0"/>
                      </a:moveTo>
                      <a:lnTo>
                        <a:pt x="19" y="58"/>
                      </a:lnTo>
                      <a:lnTo>
                        <a:pt x="0" y="28"/>
                      </a:lnTo>
                      <a:lnTo>
                        <a:pt x="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0" name="vMap : Somalia">
                  <a:extLst>
                    <a:ext uri="{FF2B5EF4-FFF2-40B4-BE49-F238E27FC236}">
                      <a16:creationId xmlns:a16="http://schemas.microsoft.com/office/drawing/2014/main" xmlns="" id="{5803A1A7-43FA-144C-882D-29257F71893A}"/>
                    </a:ext>
                  </a:extLst>
                </p:cNvPr>
                <p:cNvSpPr>
                  <a:spLocks noChangeAspect="1"/>
                </p:cNvSpPr>
                <p:nvPr>
                  <p:custDataLst>
                    <p:tags r:id="rId109"/>
                  </p:custDataLst>
                </p:nvPr>
              </p:nvSpPr>
              <p:spPr bwMode="gray">
                <a:xfrm>
                  <a:off x="5009173" y="3918779"/>
                  <a:ext cx="226671" cy="356095"/>
                </a:xfrm>
                <a:custGeom>
                  <a:avLst/>
                  <a:gdLst>
                    <a:gd name="T0" fmla="*/ 19 w 243"/>
                    <a:gd name="T1" fmla="*/ 4 h 373"/>
                    <a:gd name="T2" fmla="*/ 16 w 243"/>
                    <a:gd name="T3" fmla="*/ 10 h 373"/>
                    <a:gd name="T4" fmla="*/ 16 w 243"/>
                    <a:gd name="T5" fmla="*/ 17 h 373"/>
                    <a:gd name="T6" fmla="*/ 26 w 243"/>
                    <a:gd name="T7" fmla="*/ 29 h 373"/>
                    <a:gd name="T8" fmla="*/ 55 w 243"/>
                    <a:gd name="T9" fmla="*/ 41 h 373"/>
                    <a:gd name="T10" fmla="*/ 63 w 243"/>
                    <a:gd name="T11" fmla="*/ 41 h 373"/>
                    <a:gd name="T12" fmla="*/ 61 w 243"/>
                    <a:gd name="T13" fmla="*/ 42 h 373"/>
                    <a:gd name="T14" fmla="*/ 36 w 243"/>
                    <a:gd name="T15" fmla="*/ 71 h 373"/>
                    <a:gd name="T16" fmla="*/ 26 w 243"/>
                    <a:gd name="T17" fmla="*/ 72 h 373"/>
                    <a:gd name="T18" fmla="*/ 7 w 243"/>
                    <a:gd name="T19" fmla="*/ 82 h 373"/>
                    <a:gd name="T20" fmla="*/ 0 w 243"/>
                    <a:gd name="T21" fmla="*/ 94 h 373"/>
                    <a:gd name="T22" fmla="*/ 0 w 243"/>
                    <a:gd name="T23" fmla="*/ 133 h 373"/>
                    <a:gd name="T24" fmla="*/ 4 w 243"/>
                    <a:gd name="T25" fmla="*/ 141 h 373"/>
                    <a:gd name="T26" fmla="*/ 14 w 243"/>
                    <a:gd name="T27" fmla="*/ 125 h 373"/>
                    <a:gd name="T28" fmla="*/ 43 w 243"/>
                    <a:gd name="T29" fmla="*/ 101 h 373"/>
                    <a:gd name="T30" fmla="*/ 59 w 243"/>
                    <a:gd name="T31" fmla="*/ 81 h 373"/>
                    <a:gd name="T32" fmla="*/ 72 w 243"/>
                    <a:gd name="T33" fmla="*/ 66 h 373"/>
                    <a:gd name="T34" fmla="*/ 82 w 243"/>
                    <a:gd name="T35" fmla="*/ 37 h 373"/>
                    <a:gd name="T36" fmla="*/ 88 w 243"/>
                    <a:gd name="T37" fmla="*/ 17 h 373"/>
                    <a:gd name="T38" fmla="*/ 91 w 243"/>
                    <a:gd name="T39" fmla="*/ 17 h 373"/>
                    <a:gd name="T40" fmla="*/ 89 w 243"/>
                    <a:gd name="T41" fmla="*/ 15 h 373"/>
                    <a:gd name="T42" fmla="*/ 91 w 243"/>
                    <a:gd name="T43" fmla="*/ 1 h 373"/>
                    <a:gd name="T44" fmla="*/ 86 w 243"/>
                    <a:gd name="T45" fmla="*/ 0 h 373"/>
                    <a:gd name="T46" fmla="*/ 72 w 243"/>
                    <a:gd name="T47" fmla="*/ 4 h 373"/>
                    <a:gd name="T48" fmla="*/ 29 w 243"/>
                    <a:gd name="T49" fmla="*/ 17 h 373"/>
                    <a:gd name="T50" fmla="*/ 19 w 243"/>
                    <a:gd name="T51" fmla="*/ 4 h 37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3" h="373">
                      <a:moveTo>
                        <a:pt x="50" y="12"/>
                      </a:moveTo>
                      <a:lnTo>
                        <a:pt x="42" y="28"/>
                      </a:lnTo>
                      <a:lnTo>
                        <a:pt x="42" y="44"/>
                      </a:lnTo>
                      <a:lnTo>
                        <a:pt x="68" y="78"/>
                      </a:lnTo>
                      <a:lnTo>
                        <a:pt x="145" y="108"/>
                      </a:lnTo>
                      <a:lnTo>
                        <a:pt x="167" y="108"/>
                      </a:lnTo>
                      <a:lnTo>
                        <a:pt x="163" y="112"/>
                      </a:lnTo>
                      <a:lnTo>
                        <a:pt x="96" y="188"/>
                      </a:lnTo>
                      <a:lnTo>
                        <a:pt x="68" y="192"/>
                      </a:lnTo>
                      <a:lnTo>
                        <a:pt x="18" y="219"/>
                      </a:lnTo>
                      <a:lnTo>
                        <a:pt x="0" y="249"/>
                      </a:lnTo>
                      <a:lnTo>
                        <a:pt x="0" y="353"/>
                      </a:lnTo>
                      <a:lnTo>
                        <a:pt x="10" y="373"/>
                      </a:lnTo>
                      <a:lnTo>
                        <a:pt x="38" y="333"/>
                      </a:lnTo>
                      <a:lnTo>
                        <a:pt x="114" y="269"/>
                      </a:lnTo>
                      <a:lnTo>
                        <a:pt x="159" y="215"/>
                      </a:lnTo>
                      <a:lnTo>
                        <a:pt x="191" y="174"/>
                      </a:lnTo>
                      <a:lnTo>
                        <a:pt x="217" y="100"/>
                      </a:lnTo>
                      <a:lnTo>
                        <a:pt x="233" y="46"/>
                      </a:lnTo>
                      <a:lnTo>
                        <a:pt x="243" y="44"/>
                      </a:lnTo>
                      <a:lnTo>
                        <a:pt x="237" y="40"/>
                      </a:lnTo>
                      <a:lnTo>
                        <a:pt x="241" y="4"/>
                      </a:lnTo>
                      <a:lnTo>
                        <a:pt x="229" y="0"/>
                      </a:lnTo>
                      <a:lnTo>
                        <a:pt x="191" y="12"/>
                      </a:lnTo>
                      <a:lnTo>
                        <a:pt x="76" y="44"/>
                      </a:lnTo>
                      <a:lnTo>
                        <a:pt x="50" y="12"/>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1" name="vMap : Central African Republic">
                  <a:extLst>
                    <a:ext uri="{FF2B5EF4-FFF2-40B4-BE49-F238E27FC236}">
                      <a16:creationId xmlns:a16="http://schemas.microsoft.com/office/drawing/2014/main" xmlns="" id="{A3F7C543-F4B5-7A40-AB37-B070D497BCEC}"/>
                    </a:ext>
                  </a:extLst>
                </p:cNvPr>
                <p:cNvSpPr>
                  <a:spLocks noChangeAspect="1"/>
                </p:cNvSpPr>
                <p:nvPr>
                  <p:custDataLst>
                    <p:tags r:id="rId110"/>
                  </p:custDataLst>
                </p:nvPr>
              </p:nvSpPr>
              <p:spPr bwMode="gray">
                <a:xfrm>
                  <a:off x="4405224" y="3942104"/>
                  <a:ext cx="295129" cy="214590"/>
                </a:xfrm>
                <a:custGeom>
                  <a:avLst/>
                  <a:gdLst>
                    <a:gd name="T0" fmla="*/ 74 w 318"/>
                    <a:gd name="T1" fmla="*/ 0 h 225"/>
                    <a:gd name="T2" fmla="*/ 66 w 318"/>
                    <a:gd name="T3" fmla="*/ 1 h 225"/>
                    <a:gd name="T4" fmla="*/ 66 w 318"/>
                    <a:gd name="T5" fmla="*/ 7 h 225"/>
                    <a:gd name="T6" fmla="*/ 54 w 318"/>
                    <a:gd name="T7" fmla="*/ 19 h 225"/>
                    <a:gd name="T8" fmla="*/ 41 w 318"/>
                    <a:gd name="T9" fmla="*/ 22 h 225"/>
                    <a:gd name="T10" fmla="*/ 41 w 318"/>
                    <a:gd name="T11" fmla="*/ 25 h 225"/>
                    <a:gd name="T12" fmla="*/ 37 w 318"/>
                    <a:gd name="T13" fmla="*/ 30 h 225"/>
                    <a:gd name="T14" fmla="*/ 7 w 318"/>
                    <a:gd name="T15" fmla="*/ 37 h 225"/>
                    <a:gd name="T16" fmla="*/ 0 w 318"/>
                    <a:gd name="T17" fmla="*/ 53 h 225"/>
                    <a:gd name="T18" fmla="*/ 0 w 318"/>
                    <a:gd name="T19" fmla="*/ 63 h 225"/>
                    <a:gd name="T20" fmla="*/ 7 w 318"/>
                    <a:gd name="T21" fmla="*/ 78 h 225"/>
                    <a:gd name="T22" fmla="*/ 14 w 318"/>
                    <a:gd name="T23" fmla="*/ 85 h 225"/>
                    <a:gd name="T24" fmla="*/ 23 w 318"/>
                    <a:gd name="T25" fmla="*/ 77 h 225"/>
                    <a:gd name="T26" fmla="*/ 31 w 318"/>
                    <a:gd name="T27" fmla="*/ 79 h 225"/>
                    <a:gd name="T28" fmla="*/ 37 w 318"/>
                    <a:gd name="T29" fmla="*/ 77 h 225"/>
                    <a:gd name="T30" fmla="*/ 46 w 318"/>
                    <a:gd name="T31" fmla="*/ 61 h 225"/>
                    <a:gd name="T32" fmla="*/ 65 w 318"/>
                    <a:gd name="T33" fmla="*/ 69 h 225"/>
                    <a:gd name="T34" fmla="*/ 97 w 318"/>
                    <a:gd name="T35" fmla="*/ 61 h 225"/>
                    <a:gd name="T36" fmla="*/ 118 w 318"/>
                    <a:gd name="T37" fmla="*/ 61 h 225"/>
                    <a:gd name="T38" fmla="*/ 97 w 318"/>
                    <a:gd name="T39" fmla="*/ 30 h 225"/>
                    <a:gd name="T40" fmla="*/ 82 w 318"/>
                    <a:gd name="T41" fmla="*/ 22 h 225"/>
                    <a:gd name="T42" fmla="*/ 82 w 318"/>
                    <a:gd name="T43" fmla="*/ 10 h 225"/>
                    <a:gd name="T44" fmla="*/ 74 w 318"/>
                    <a:gd name="T45" fmla="*/ 0 h 22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18" h="225">
                      <a:moveTo>
                        <a:pt x="199" y="0"/>
                      </a:moveTo>
                      <a:lnTo>
                        <a:pt x="179" y="4"/>
                      </a:lnTo>
                      <a:lnTo>
                        <a:pt x="177" y="20"/>
                      </a:lnTo>
                      <a:lnTo>
                        <a:pt x="145" y="50"/>
                      </a:lnTo>
                      <a:lnTo>
                        <a:pt x="111" y="58"/>
                      </a:lnTo>
                      <a:lnTo>
                        <a:pt x="111" y="66"/>
                      </a:lnTo>
                      <a:lnTo>
                        <a:pt x="99" y="80"/>
                      </a:lnTo>
                      <a:lnTo>
                        <a:pt x="20" y="100"/>
                      </a:lnTo>
                      <a:lnTo>
                        <a:pt x="0" y="142"/>
                      </a:lnTo>
                      <a:lnTo>
                        <a:pt x="0" y="168"/>
                      </a:lnTo>
                      <a:lnTo>
                        <a:pt x="20" y="207"/>
                      </a:lnTo>
                      <a:lnTo>
                        <a:pt x="38" y="225"/>
                      </a:lnTo>
                      <a:lnTo>
                        <a:pt x="61" y="203"/>
                      </a:lnTo>
                      <a:lnTo>
                        <a:pt x="83" y="209"/>
                      </a:lnTo>
                      <a:lnTo>
                        <a:pt x="99" y="203"/>
                      </a:lnTo>
                      <a:lnTo>
                        <a:pt x="123" y="162"/>
                      </a:lnTo>
                      <a:lnTo>
                        <a:pt x="173" y="183"/>
                      </a:lnTo>
                      <a:lnTo>
                        <a:pt x="261" y="162"/>
                      </a:lnTo>
                      <a:lnTo>
                        <a:pt x="318" y="162"/>
                      </a:lnTo>
                      <a:lnTo>
                        <a:pt x="261" y="80"/>
                      </a:lnTo>
                      <a:lnTo>
                        <a:pt x="219" y="58"/>
                      </a:lnTo>
                      <a:lnTo>
                        <a:pt x="219" y="26"/>
                      </a:lnTo>
                      <a:lnTo>
                        <a:pt x="199"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2" name="vMap : Chad">
                  <a:extLst>
                    <a:ext uri="{FF2B5EF4-FFF2-40B4-BE49-F238E27FC236}">
                      <a16:creationId xmlns:a16="http://schemas.microsoft.com/office/drawing/2014/main" xmlns="" id="{193B8360-FDDD-704C-AA8E-A3965BCD7E6C}"/>
                    </a:ext>
                  </a:extLst>
                </p:cNvPr>
                <p:cNvSpPr>
                  <a:spLocks noChangeAspect="1"/>
                </p:cNvSpPr>
                <p:nvPr>
                  <p:custDataLst>
                    <p:tags r:id="rId111"/>
                  </p:custDataLst>
                </p:nvPr>
              </p:nvSpPr>
              <p:spPr bwMode="gray">
                <a:xfrm>
                  <a:off x="4379362" y="3615555"/>
                  <a:ext cx="237320" cy="418295"/>
                </a:xfrm>
                <a:custGeom>
                  <a:avLst/>
                  <a:gdLst>
                    <a:gd name="T0" fmla="*/ 14 w 255"/>
                    <a:gd name="T1" fmla="*/ 3 h 441"/>
                    <a:gd name="T2" fmla="*/ 23 w 255"/>
                    <a:gd name="T3" fmla="*/ 0 h 441"/>
                    <a:gd name="T4" fmla="*/ 94 w 255"/>
                    <a:gd name="T5" fmla="*/ 40 h 441"/>
                    <a:gd name="T6" fmla="*/ 95 w 255"/>
                    <a:gd name="T7" fmla="*/ 79 h 441"/>
                    <a:gd name="T8" fmla="*/ 86 w 255"/>
                    <a:gd name="T9" fmla="*/ 81 h 441"/>
                    <a:gd name="T10" fmla="*/ 76 w 255"/>
                    <a:gd name="T11" fmla="*/ 107 h 441"/>
                    <a:gd name="T12" fmla="*/ 76 w 255"/>
                    <a:gd name="T13" fmla="*/ 110 h 441"/>
                    <a:gd name="T14" fmla="*/ 80 w 255"/>
                    <a:gd name="T15" fmla="*/ 109 h 441"/>
                    <a:gd name="T16" fmla="*/ 84 w 255"/>
                    <a:gd name="T17" fmla="*/ 127 h 441"/>
                    <a:gd name="T18" fmla="*/ 76 w 255"/>
                    <a:gd name="T19" fmla="*/ 128 h 441"/>
                    <a:gd name="T20" fmla="*/ 76 w 255"/>
                    <a:gd name="T21" fmla="*/ 134 h 441"/>
                    <a:gd name="T22" fmla="*/ 64 w 255"/>
                    <a:gd name="T23" fmla="*/ 146 h 441"/>
                    <a:gd name="T24" fmla="*/ 51 w 255"/>
                    <a:gd name="T25" fmla="*/ 148 h 441"/>
                    <a:gd name="T26" fmla="*/ 51 w 255"/>
                    <a:gd name="T27" fmla="*/ 151 h 441"/>
                    <a:gd name="T28" fmla="*/ 46 w 255"/>
                    <a:gd name="T29" fmla="*/ 157 h 441"/>
                    <a:gd name="T30" fmla="*/ 17 w 255"/>
                    <a:gd name="T31" fmla="*/ 164 h 441"/>
                    <a:gd name="T32" fmla="*/ 14 w 255"/>
                    <a:gd name="T33" fmla="*/ 151 h 441"/>
                    <a:gd name="T34" fmla="*/ 6 w 255"/>
                    <a:gd name="T35" fmla="*/ 141 h 441"/>
                    <a:gd name="T36" fmla="*/ 7 w 255"/>
                    <a:gd name="T37" fmla="*/ 137 h 441"/>
                    <a:gd name="T38" fmla="*/ 17 w 255"/>
                    <a:gd name="T39" fmla="*/ 137 h 441"/>
                    <a:gd name="T40" fmla="*/ 11 w 255"/>
                    <a:gd name="T41" fmla="*/ 127 h 441"/>
                    <a:gd name="T42" fmla="*/ 10 w 255"/>
                    <a:gd name="T43" fmla="*/ 109 h 441"/>
                    <a:gd name="T44" fmla="*/ 14 w 255"/>
                    <a:gd name="T45" fmla="*/ 106 h 441"/>
                    <a:gd name="T46" fmla="*/ 14 w 255"/>
                    <a:gd name="T47" fmla="*/ 101 h 441"/>
                    <a:gd name="T48" fmla="*/ 6 w 255"/>
                    <a:gd name="T49" fmla="*/ 101 h 441"/>
                    <a:gd name="T50" fmla="*/ 0 w 255"/>
                    <a:gd name="T51" fmla="*/ 93 h 441"/>
                    <a:gd name="T52" fmla="*/ 17 w 255"/>
                    <a:gd name="T53" fmla="*/ 65 h 441"/>
                    <a:gd name="T54" fmla="*/ 23 w 255"/>
                    <a:gd name="T55" fmla="*/ 30 h 441"/>
                    <a:gd name="T56" fmla="*/ 14 w 255"/>
                    <a:gd name="T57" fmla="*/ 18 h 441"/>
                    <a:gd name="T58" fmla="*/ 14 w 255"/>
                    <a:gd name="T59" fmla="*/ 3 h 4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55" h="441">
                      <a:moveTo>
                        <a:pt x="38" y="8"/>
                      </a:moveTo>
                      <a:lnTo>
                        <a:pt x="62" y="0"/>
                      </a:lnTo>
                      <a:lnTo>
                        <a:pt x="251" y="108"/>
                      </a:lnTo>
                      <a:lnTo>
                        <a:pt x="255" y="212"/>
                      </a:lnTo>
                      <a:lnTo>
                        <a:pt x="229" y="216"/>
                      </a:lnTo>
                      <a:lnTo>
                        <a:pt x="203" y="287"/>
                      </a:lnTo>
                      <a:lnTo>
                        <a:pt x="203" y="295"/>
                      </a:lnTo>
                      <a:lnTo>
                        <a:pt x="213" y="291"/>
                      </a:lnTo>
                      <a:lnTo>
                        <a:pt x="225" y="341"/>
                      </a:lnTo>
                      <a:lnTo>
                        <a:pt x="205" y="345"/>
                      </a:lnTo>
                      <a:lnTo>
                        <a:pt x="203" y="361"/>
                      </a:lnTo>
                      <a:lnTo>
                        <a:pt x="171" y="391"/>
                      </a:lnTo>
                      <a:lnTo>
                        <a:pt x="137" y="399"/>
                      </a:lnTo>
                      <a:lnTo>
                        <a:pt x="137" y="407"/>
                      </a:lnTo>
                      <a:lnTo>
                        <a:pt x="125" y="421"/>
                      </a:lnTo>
                      <a:lnTo>
                        <a:pt x="46" y="441"/>
                      </a:lnTo>
                      <a:lnTo>
                        <a:pt x="38" y="407"/>
                      </a:lnTo>
                      <a:lnTo>
                        <a:pt x="16" y="379"/>
                      </a:lnTo>
                      <a:lnTo>
                        <a:pt x="18" y="367"/>
                      </a:lnTo>
                      <a:lnTo>
                        <a:pt x="46" y="367"/>
                      </a:lnTo>
                      <a:lnTo>
                        <a:pt x="30" y="341"/>
                      </a:lnTo>
                      <a:lnTo>
                        <a:pt x="26" y="291"/>
                      </a:lnTo>
                      <a:lnTo>
                        <a:pt x="38" y="283"/>
                      </a:lnTo>
                      <a:lnTo>
                        <a:pt x="38" y="271"/>
                      </a:lnTo>
                      <a:lnTo>
                        <a:pt x="16" y="271"/>
                      </a:lnTo>
                      <a:lnTo>
                        <a:pt x="0" y="249"/>
                      </a:lnTo>
                      <a:lnTo>
                        <a:pt x="46" y="176"/>
                      </a:lnTo>
                      <a:lnTo>
                        <a:pt x="62" y="80"/>
                      </a:lnTo>
                      <a:lnTo>
                        <a:pt x="38" y="50"/>
                      </a:lnTo>
                      <a:lnTo>
                        <a:pt x="38"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3" name="vMap : Mali">
                  <a:extLst>
                    <a:ext uri="{FF2B5EF4-FFF2-40B4-BE49-F238E27FC236}">
                      <a16:creationId xmlns:a16="http://schemas.microsoft.com/office/drawing/2014/main" xmlns="" id="{1704800A-0C37-224D-A48A-D1133DE7453C}"/>
                    </a:ext>
                  </a:extLst>
                </p:cNvPr>
                <p:cNvSpPr>
                  <a:spLocks noChangeAspect="1"/>
                </p:cNvSpPr>
                <p:nvPr>
                  <p:custDataLst>
                    <p:tags r:id="rId112"/>
                  </p:custDataLst>
                </p:nvPr>
              </p:nvSpPr>
              <p:spPr bwMode="gray">
                <a:xfrm>
                  <a:off x="3804318" y="3570459"/>
                  <a:ext cx="369672" cy="391860"/>
                </a:xfrm>
                <a:custGeom>
                  <a:avLst/>
                  <a:gdLst>
                    <a:gd name="T0" fmla="*/ 68 w 395"/>
                    <a:gd name="T1" fmla="*/ 0 h 408"/>
                    <a:gd name="T2" fmla="*/ 121 w 395"/>
                    <a:gd name="T3" fmla="*/ 41 h 408"/>
                    <a:gd name="T4" fmla="*/ 127 w 395"/>
                    <a:gd name="T5" fmla="*/ 48 h 408"/>
                    <a:gd name="T6" fmla="*/ 139 w 395"/>
                    <a:gd name="T7" fmla="*/ 54 h 408"/>
                    <a:gd name="T8" fmla="*/ 140 w 395"/>
                    <a:gd name="T9" fmla="*/ 63 h 408"/>
                    <a:gd name="T10" fmla="*/ 148 w 395"/>
                    <a:gd name="T11" fmla="*/ 61 h 408"/>
                    <a:gd name="T12" fmla="*/ 149 w 395"/>
                    <a:gd name="T13" fmla="*/ 95 h 408"/>
                    <a:gd name="T14" fmla="*/ 142 w 395"/>
                    <a:gd name="T15" fmla="*/ 102 h 408"/>
                    <a:gd name="T16" fmla="*/ 111 w 395"/>
                    <a:gd name="T17" fmla="*/ 105 h 408"/>
                    <a:gd name="T18" fmla="*/ 103 w 395"/>
                    <a:gd name="T19" fmla="*/ 106 h 408"/>
                    <a:gd name="T20" fmla="*/ 88 w 395"/>
                    <a:gd name="T21" fmla="*/ 119 h 408"/>
                    <a:gd name="T22" fmla="*/ 74 w 395"/>
                    <a:gd name="T23" fmla="*/ 124 h 408"/>
                    <a:gd name="T24" fmla="*/ 63 w 395"/>
                    <a:gd name="T25" fmla="*/ 143 h 408"/>
                    <a:gd name="T26" fmla="*/ 62 w 395"/>
                    <a:gd name="T27" fmla="*/ 153 h 408"/>
                    <a:gd name="T28" fmla="*/ 54 w 395"/>
                    <a:gd name="T29" fmla="*/ 155 h 408"/>
                    <a:gd name="T30" fmla="*/ 52 w 395"/>
                    <a:gd name="T31" fmla="*/ 150 h 408"/>
                    <a:gd name="T32" fmla="*/ 45 w 395"/>
                    <a:gd name="T33" fmla="*/ 156 h 408"/>
                    <a:gd name="T34" fmla="*/ 41 w 395"/>
                    <a:gd name="T35" fmla="*/ 153 h 408"/>
                    <a:gd name="T36" fmla="*/ 36 w 395"/>
                    <a:gd name="T37" fmla="*/ 156 h 408"/>
                    <a:gd name="T38" fmla="*/ 33 w 395"/>
                    <a:gd name="T39" fmla="*/ 146 h 408"/>
                    <a:gd name="T40" fmla="*/ 30 w 395"/>
                    <a:gd name="T41" fmla="*/ 147 h 408"/>
                    <a:gd name="T42" fmla="*/ 33 w 395"/>
                    <a:gd name="T43" fmla="*/ 143 h 408"/>
                    <a:gd name="T44" fmla="*/ 29 w 395"/>
                    <a:gd name="T45" fmla="*/ 140 h 408"/>
                    <a:gd name="T46" fmla="*/ 27 w 395"/>
                    <a:gd name="T47" fmla="*/ 131 h 408"/>
                    <a:gd name="T48" fmla="*/ 13 w 395"/>
                    <a:gd name="T49" fmla="*/ 137 h 408"/>
                    <a:gd name="T50" fmla="*/ 6 w 395"/>
                    <a:gd name="T51" fmla="*/ 136 h 408"/>
                    <a:gd name="T52" fmla="*/ 6 w 395"/>
                    <a:gd name="T53" fmla="*/ 131 h 408"/>
                    <a:gd name="T54" fmla="*/ 0 w 395"/>
                    <a:gd name="T55" fmla="*/ 107 h 408"/>
                    <a:gd name="T56" fmla="*/ 7 w 395"/>
                    <a:gd name="T57" fmla="*/ 95 h 408"/>
                    <a:gd name="T58" fmla="*/ 13 w 395"/>
                    <a:gd name="T59" fmla="*/ 103 h 408"/>
                    <a:gd name="T60" fmla="*/ 19 w 395"/>
                    <a:gd name="T61" fmla="*/ 99 h 408"/>
                    <a:gd name="T62" fmla="*/ 60 w 395"/>
                    <a:gd name="T63" fmla="*/ 101 h 408"/>
                    <a:gd name="T64" fmla="*/ 62 w 395"/>
                    <a:gd name="T65" fmla="*/ 92 h 408"/>
                    <a:gd name="T66" fmla="*/ 60 w 395"/>
                    <a:gd name="T67" fmla="*/ 90 h 408"/>
                    <a:gd name="T68" fmla="*/ 52 w 395"/>
                    <a:gd name="T69" fmla="*/ 0 h 408"/>
                    <a:gd name="T70" fmla="*/ 68 w 395"/>
                    <a:gd name="T71" fmla="*/ 0 h 4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95" h="408">
                      <a:moveTo>
                        <a:pt x="180" y="0"/>
                      </a:moveTo>
                      <a:lnTo>
                        <a:pt x="321" y="107"/>
                      </a:lnTo>
                      <a:lnTo>
                        <a:pt x="337" y="125"/>
                      </a:lnTo>
                      <a:lnTo>
                        <a:pt x="367" y="141"/>
                      </a:lnTo>
                      <a:lnTo>
                        <a:pt x="371" y="165"/>
                      </a:lnTo>
                      <a:lnTo>
                        <a:pt x="391" y="161"/>
                      </a:lnTo>
                      <a:lnTo>
                        <a:pt x="395" y="249"/>
                      </a:lnTo>
                      <a:lnTo>
                        <a:pt x="375" y="267"/>
                      </a:lnTo>
                      <a:lnTo>
                        <a:pt x="295" y="275"/>
                      </a:lnTo>
                      <a:lnTo>
                        <a:pt x="271" y="279"/>
                      </a:lnTo>
                      <a:lnTo>
                        <a:pt x="233" y="312"/>
                      </a:lnTo>
                      <a:lnTo>
                        <a:pt x="196" y="324"/>
                      </a:lnTo>
                      <a:lnTo>
                        <a:pt x="168" y="374"/>
                      </a:lnTo>
                      <a:lnTo>
                        <a:pt x="164" y="402"/>
                      </a:lnTo>
                      <a:lnTo>
                        <a:pt x="142" y="406"/>
                      </a:lnTo>
                      <a:lnTo>
                        <a:pt x="138" y="394"/>
                      </a:lnTo>
                      <a:lnTo>
                        <a:pt x="118" y="408"/>
                      </a:lnTo>
                      <a:lnTo>
                        <a:pt x="108" y="402"/>
                      </a:lnTo>
                      <a:lnTo>
                        <a:pt x="96" y="408"/>
                      </a:lnTo>
                      <a:lnTo>
                        <a:pt x="88" y="382"/>
                      </a:lnTo>
                      <a:lnTo>
                        <a:pt x="80" y="386"/>
                      </a:lnTo>
                      <a:lnTo>
                        <a:pt x="88" y="374"/>
                      </a:lnTo>
                      <a:lnTo>
                        <a:pt x="76" y="366"/>
                      </a:lnTo>
                      <a:lnTo>
                        <a:pt x="72" y="344"/>
                      </a:lnTo>
                      <a:lnTo>
                        <a:pt x="34" y="358"/>
                      </a:lnTo>
                      <a:lnTo>
                        <a:pt x="16" y="356"/>
                      </a:lnTo>
                      <a:lnTo>
                        <a:pt x="16" y="344"/>
                      </a:lnTo>
                      <a:lnTo>
                        <a:pt x="0" y="282"/>
                      </a:lnTo>
                      <a:lnTo>
                        <a:pt x="18" y="249"/>
                      </a:lnTo>
                      <a:lnTo>
                        <a:pt x="34" y="271"/>
                      </a:lnTo>
                      <a:lnTo>
                        <a:pt x="50" y="261"/>
                      </a:lnTo>
                      <a:lnTo>
                        <a:pt x="158" y="265"/>
                      </a:lnTo>
                      <a:lnTo>
                        <a:pt x="164" y="241"/>
                      </a:lnTo>
                      <a:lnTo>
                        <a:pt x="158" y="237"/>
                      </a:lnTo>
                      <a:lnTo>
                        <a:pt x="138" y="0"/>
                      </a:lnTo>
                      <a:lnTo>
                        <a:pt x="18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4" name="vMap : Mauritania">
                  <a:extLst>
                    <a:ext uri="{FF2B5EF4-FFF2-40B4-BE49-F238E27FC236}">
                      <a16:creationId xmlns:a16="http://schemas.microsoft.com/office/drawing/2014/main" xmlns="" id="{CCDDDB29-FEB4-1440-AE72-1317EDBF6961}"/>
                    </a:ext>
                  </a:extLst>
                </p:cNvPr>
                <p:cNvSpPr>
                  <a:spLocks noChangeAspect="1"/>
                </p:cNvSpPr>
                <p:nvPr>
                  <p:custDataLst>
                    <p:tags r:id="rId113"/>
                  </p:custDataLst>
                </p:nvPr>
              </p:nvSpPr>
              <p:spPr bwMode="gray">
                <a:xfrm>
                  <a:off x="3699350" y="3512924"/>
                  <a:ext cx="273831" cy="329660"/>
                </a:xfrm>
                <a:custGeom>
                  <a:avLst/>
                  <a:gdLst>
                    <a:gd name="T0" fmla="*/ 0 w 291"/>
                    <a:gd name="T1" fmla="*/ 64 h 344"/>
                    <a:gd name="T2" fmla="*/ 7 w 291"/>
                    <a:gd name="T3" fmla="*/ 71 h 344"/>
                    <a:gd name="T4" fmla="*/ 4 w 291"/>
                    <a:gd name="T5" fmla="*/ 82 h 344"/>
                    <a:gd name="T6" fmla="*/ 7 w 291"/>
                    <a:gd name="T7" fmla="*/ 92 h 344"/>
                    <a:gd name="T8" fmla="*/ 1 w 291"/>
                    <a:gd name="T9" fmla="*/ 116 h 344"/>
                    <a:gd name="T10" fmla="*/ 4 w 291"/>
                    <a:gd name="T11" fmla="*/ 112 h 344"/>
                    <a:gd name="T12" fmla="*/ 22 w 291"/>
                    <a:gd name="T13" fmla="*/ 110 h 344"/>
                    <a:gd name="T14" fmla="*/ 43 w 291"/>
                    <a:gd name="T15" fmla="*/ 131 h 344"/>
                    <a:gd name="T16" fmla="*/ 49 w 291"/>
                    <a:gd name="T17" fmla="*/ 118 h 344"/>
                    <a:gd name="T18" fmla="*/ 56 w 291"/>
                    <a:gd name="T19" fmla="*/ 126 h 344"/>
                    <a:gd name="T20" fmla="*/ 62 w 291"/>
                    <a:gd name="T21" fmla="*/ 123 h 344"/>
                    <a:gd name="T22" fmla="*/ 103 w 291"/>
                    <a:gd name="T23" fmla="*/ 124 h 344"/>
                    <a:gd name="T24" fmla="*/ 105 w 291"/>
                    <a:gd name="T25" fmla="*/ 115 h 344"/>
                    <a:gd name="T26" fmla="*/ 103 w 291"/>
                    <a:gd name="T27" fmla="*/ 113 h 344"/>
                    <a:gd name="T28" fmla="*/ 95 w 291"/>
                    <a:gd name="T29" fmla="*/ 23 h 344"/>
                    <a:gd name="T30" fmla="*/ 111 w 291"/>
                    <a:gd name="T31" fmla="*/ 23 h 344"/>
                    <a:gd name="T32" fmla="*/ 79 w 291"/>
                    <a:gd name="T33" fmla="*/ 0 h 344"/>
                    <a:gd name="T34" fmla="*/ 78 w 291"/>
                    <a:gd name="T35" fmla="*/ 12 h 344"/>
                    <a:gd name="T36" fmla="*/ 49 w 291"/>
                    <a:gd name="T37" fmla="*/ 12 h 344"/>
                    <a:gd name="T38" fmla="*/ 49 w 291"/>
                    <a:gd name="T39" fmla="*/ 39 h 344"/>
                    <a:gd name="T40" fmla="*/ 36 w 291"/>
                    <a:gd name="T41" fmla="*/ 45 h 344"/>
                    <a:gd name="T42" fmla="*/ 36 w 291"/>
                    <a:gd name="T43" fmla="*/ 61 h 344"/>
                    <a:gd name="T44" fmla="*/ 3 w 291"/>
                    <a:gd name="T45" fmla="*/ 61 h 344"/>
                    <a:gd name="T46" fmla="*/ 0 w 291"/>
                    <a:gd name="T47" fmla="*/ 64 h 3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91" h="344">
                      <a:moveTo>
                        <a:pt x="0" y="169"/>
                      </a:moveTo>
                      <a:lnTo>
                        <a:pt x="20" y="187"/>
                      </a:lnTo>
                      <a:lnTo>
                        <a:pt x="12" y="215"/>
                      </a:lnTo>
                      <a:lnTo>
                        <a:pt x="20" y="241"/>
                      </a:lnTo>
                      <a:lnTo>
                        <a:pt x="4" y="307"/>
                      </a:lnTo>
                      <a:lnTo>
                        <a:pt x="12" y="295"/>
                      </a:lnTo>
                      <a:lnTo>
                        <a:pt x="58" y="291"/>
                      </a:lnTo>
                      <a:lnTo>
                        <a:pt x="111" y="344"/>
                      </a:lnTo>
                      <a:lnTo>
                        <a:pt x="129" y="311"/>
                      </a:lnTo>
                      <a:lnTo>
                        <a:pt x="145" y="333"/>
                      </a:lnTo>
                      <a:lnTo>
                        <a:pt x="161" y="323"/>
                      </a:lnTo>
                      <a:lnTo>
                        <a:pt x="269" y="327"/>
                      </a:lnTo>
                      <a:lnTo>
                        <a:pt x="275" y="303"/>
                      </a:lnTo>
                      <a:lnTo>
                        <a:pt x="269" y="299"/>
                      </a:lnTo>
                      <a:lnTo>
                        <a:pt x="249" y="62"/>
                      </a:lnTo>
                      <a:lnTo>
                        <a:pt x="291" y="62"/>
                      </a:lnTo>
                      <a:lnTo>
                        <a:pt x="207" y="0"/>
                      </a:lnTo>
                      <a:lnTo>
                        <a:pt x="203" y="32"/>
                      </a:lnTo>
                      <a:lnTo>
                        <a:pt x="129" y="32"/>
                      </a:lnTo>
                      <a:lnTo>
                        <a:pt x="127" y="103"/>
                      </a:lnTo>
                      <a:lnTo>
                        <a:pt x="95" y="119"/>
                      </a:lnTo>
                      <a:lnTo>
                        <a:pt x="95" y="161"/>
                      </a:lnTo>
                      <a:lnTo>
                        <a:pt x="8" y="161"/>
                      </a:lnTo>
                      <a:lnTo>
                        <a:pt x="0" y="16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5" name="vMap : Niger">
                  <a:extLst>
                    <a:ext uri="{FF2B5EF4-FFF2-40B4-BE49-F238E27FC236}">
                      <a16:creationId xmlns:a16="http://schemas.microsoft.com/office/drawing/2014/main" xmlns="" id="{9336707F-A5FB-9047-8237-7B9291F23E22}"/>
                    </a:ext>
                  </a:extLst>
                </p:cNvPr>
                <p:cNvSpPr>
                  <a:spLocks noChangeAspect="1"/>
                </p:cNvSpPr>
                <p:nvPr>
                  <p:custDataLst>
                    <p:tags r:id="rId114"/>
                  </p:custDataLst>
                </p:nvPr>
              </p:nvSpPr>
              <p:spPr bwMode="gray">
                <a:xfrm>
                  <a:off x="4081191" y="3612444"/>
                  <a:ext cx="355980" cy="309446"/>
                </a:xfrm>
                <a:custGeom>
                  <a:avLst/>
                  <a:gdLst>
                    <a:gd name="T0" fmla="*/ 134 w 383"/>
                    <a:gd name="T1" fmla="*/ 4 h 325"/>
                    <a:gd name="T2" fmla="*/ 124 w 383"/>
                    <a:gd name="T3" fmla="*/ 0 h 325"/>
                    <a:gd name="T4" fmla="*/ 104 w 383"/>
                    <a:gd name="T5" fmla="*/ 0 h 325"/>
                    <a:gd name="T6" fmla="*/ 50 w 383"/>
                    <a:gd name="T7" fmla="*/ 42 h 325"/>
                    <a:gd name="T8" fmla="*/ 36 w 383"/>
                    <a:gd name="T9" fmla="*/ 45 h 325"/>
                    <a:gd name="T10" fmla="*/ 37 w 383"/>
                    <a:gd name="T11" fmla="*/ 78 h 325"/>
                    <a:gd name="T12" fmla="*/ 30 w 383"/>
                    <a:gd name="T13" fmla="*/ 84 h 325"/>
                    <a:gd name="T14" fmla="*/ 0 w 383"/>
                    <a:gd name="T15" fmla="*/ 88 h 325"/>
                    <a:gd name="T16" fmla="*/ 1 w 383"/>
                    <a:gd name="T17" fmla="*/ 98 h 325"/>
                    <a:gd name="T18" fmla="*/ 11 w 383"/>
                    <a:gd name="T19" fmla="*/ 111 h 325"/>
                    <a:gd name="T20" fmla="*/ 17 w 383"/>
                    <a:gd name="T21" fmla="*/ 112 h 325"/>
                    <a:gd name="T22" fmla="*/ 20 w 383"/>
                    <a:gd name="T23" fmla="*/ 119 h 325"/>
                    <a:gd name="T24" fmla="*/ 24 w 383"/>
                    <a:gd name="T25" fmla="*/ 115 h 325"/>
                    <a:gd name="T26" fmla="*/ 31 w 383"/>
                    <a:gd name="T27" fmla="*/ 122 h 325"/>
                    <a:gd name="T28" fmla="*/ 31 w 383"/>
                    <a:gd name="T29" fmla="*/ 114 h 325"/>
                    <a:gd name="T30" fmla="*/ 36 w 383"/>
                    <a:gd name="T31" fmla="*/ 103 h 325"/>
                    <a:gd name="T32" fmla="*/ 41 w 383"/>
                    <a:gd name="T33" fmla="*/ 101 h 325"/>
                    <a:gd name="T34" fmla="*/ 50 w 383"/>
                    <a:gd name="T35" fmla="*/ 101 h 325"/>
                    <a:gd name="T36" fmla="*/ 61 w 383"/>
                    <a:gd name="T37" fmla="*/ 109 h 325"/>
                    <a:gd name="T38" fmla="*/ 70 w 383"/>
                    <a:gd name="T39" fmla="*/ 105 h 325"/>
                    <a:gd name="T40" fmla="*/ 82 w 383"/>
                    <a:gd name="T41" fmla="*/ 111 h 325"/>
                    <a:gd name="T42" fmla="*/ 90 w 383"/>
                    <a:gd name="T43" fmla="*/ 105 h 325"/>
                    <a:gd name="T44" fmla="*/ 109 w 383"/>
                    <a:gd name="T45" fmla="*/ 106 h 325"/>
                    <a:gd name="T46" fmla="*/ 117 w 383"/>
                    <a:gd name="T47" fmla="*/ 99 h 325"/>
                    <a:gd name="T48" fmla="*/ 115 w 383"/>
                    <a:gd name="T49" fmla="*/ 98 h 325"/>
                    <a:gd name="T50" fmla="*/ 120 w 383"/>
                    <a:gd name="T51" fmla="*/ 95 h 325"/>
                    <a:gd name="T52" fmla="*/ 137 w 383"/>
                    <a:gd name="T53" fmla="*/ 67 h 325"/>
                    <a:gd name="T54" fmla="*/ 143 w 383"/>
                    <a:gd name="T55" fmla="*/ 31 h 325"/>
                    <a:gd name="T56" fmla="*/ 134 w 383"/>
                    <a:gd name="T57" fmla="*/ 20 h 325"/>
                    <a:gd name="T58" fmla="*/ 134 w 383"/>
                    <a:gd name="T59" fmla="*/ 4 h 3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383" h="325">
                      <a:moveTo>
                        <a:pt x="359" y="12"/>
                      </a:moveTo>
                      <a:lnTo>
                        <a:pt x="333" y="0"/>
                      </a:lnTo>
                      <a:lnTo>
                        <a:pt x="279" y="0"/>
                      </a:lnTo>
                      <a:lnTo>
                        <a:pt x="134" y="112"/>
                      </a:lnTo>
                      <a:lnTo>
                        <a:pt x="96" y="120"/>
                      </a:lnTo>
                      <a:lnTo>
                        <a:pt x="100" y="208"/>
                      </a:lnTo>
                      <a:lnTo>
                        <a:pt x="80" y="226"/>
                      </a:lnTo>
                      <a:lnTo>
                        <a:pt x="0" y="234"/>
                      </a:lnTo>
                      <a:lnTo>
                        <a:pt x="4" y="261"/>
                      </a:lnTo>
                      <a:lnTo>
                        <a:pt x="30" y="295"/>
                      </a:lnTo>
                      <a:lnTo>
                        <a:pt x="46" y="299"/>
                      </a:lnTo>
                      <a:lnTo>
                        <a:pt x="52" y="317"/>
                      </a:lnTo>
                      <a:lnTo>
                        <a:pt x="64" y="307"/>
                      </a:lnTo>
                      <a:lnTo>
                        <a:pt x="84" y="325"/>
                      </a:lnTo>
                      <a:lnTo>
                        <a:pt x="84" y="303"/>
                      </a:lnTo>
                      <a:lnTo>
                        <a:pt x="96" y="275"/>
                      </a:lnTo>
                      <a:lnTo>
                        <a:pt x="110" y="269"/>
                      </a:lnTo>
                      <a:lnTo>
                        <a:pt x="134" y="269"/>
                      </a:lnTo>
                      <a:lnTo>
                        <a:pt x="163" y="291"/>
                      </a:lnTo>
                      <a:lnTo>
                        <a:pt x="187" y="279"/>
                      </a:lnTo>
                      <a:lnTo>
                        <a:pt x="221" y="295"/>
                      </a:lnTo>
                      <a:lnTo>
                        <a:pt x="243" y="279"/>
                      </a:lnTo>
                      <a:lnTo>
                        <a:pt x="293" y="283"/>
                      </a:lnTo>
                      <a:lnTo>
                        <a:pt x="313" y="265"/>
                      </a:lnTo>
                      <a:lnTo>
                        <a:pt x="309" y="261"/>
                      </a:lnTo>
                      <a:lnTo>
                        <a:pt x="321" y="253"/>
                      </a:lnTo>
                      <a:lnTo>
                        <a:pt x="367" y="180"/>
                      </a:lnTo>
                      <a:lnTo>
                        <a:pt x="383" y="84"/>
                      </a:lnTo>
                      <a:lnTo>
                        <a:pt x="359" y="54"/>
                      </a:lnTo>
                      <a:lnTo>
                        <a:pt x="359" y="1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6" name="vMap : Western Sahara">
                  <a:extLst>
                    <a:ext uri="{FF2B5EF4-FFF2-40B4-BE49-F238E27FC236}">
                      <a16:creationId xmlns:a16="http://schemas.microsoft.com/office/drawing/2014/main" xmlns="" id="{1186D257-D901-8F48-8D18-620C28DD903B}"/>
                    </a:ext>
                  </a:extLst>
                </p:cNvPr>
                <p:cNvSpPr>
                  <a:spLocks noChangeAspect="1"/>
                </p:cNvSpPr>
                <p:nvPr>
                  <p:custDataLst>
                    <p:tags r:id="rId115"/>
                  </p:custDataLst>
                </p:nvPr>
              </p:nvSpPr>
              <p:spPr bwMode="gray">
                <a:xfrm>
                  <a:off x="3699350" y="3497375"/>
                  <a:ext cx="194724" cy="178825"/>
                </a:xfrm>
                <a:custGeom>
                  <a:avLst/>
                  <a:gdLst>
                    <a:gd name="T0" fmla="*/ 0 w 207"/>
                    <a:gd name="T1" fmla="*/ 72 h 183"/>
                    <a:gd name="T2" fmla="*/ 3 w 207"/>
                    <a:gd name="T3" fmla="*/ 60 h 183"/>
                    <a:gd name="T4" fmla="*/ 22 w 207"/>
                    <a:gd name="T5" fmla="*/ 30 h 183"/>
                    <a:gd name="T6" fmla="*/ 27 w 207"/>
                    <a:gd name="T7" fmla="*/ 18 h 183"/>
                    <a:gd name="T8" fmla="*/ 35 w 207"/>
                    <a:gd name="T9" fmla="*/ 10 h 183"/>
                    <a:gd name="T10" fmla="*/ 40 w 207"/>
                    <a:gd name="T11" fmla="*/ 0 h 183"/>
                    <a:gd name="T12" fmla="*/ 79 w 207"/>
                    <a:gd name="T13" fmla="*/ 0 h 183"/>
                    <a:gd name="T14" fmla="*/ 79 w 207"/>
                    <a:gd name="T15" fmla="*/ 6 h 183"/>
                    <a:gd name="T16" fmla="*/ 78 w 207"/>
                    <a:gd name="T17" fmla="*/ 18 h 183"/>
                    <a:gd name="T18" fmla="*/ 49 w 207"/>
                    <a:gd name="T19" fmla="*/ 18 h 183"/>
                    <a:gd name="T20" fmla="*/ 49 w 207"/>
                    <a:gd name="T21" fmla="*/ 47 h 183"/>
                    <a:gd name="T22" fmla="*/ 36 w 207"/>
                    <a:gd name="T23" fmla="*/ 53 h 183"/>
                    <a:gd name="T24" fmla="*/ 36 w 207"/>
                    <a:gd name="T25" fmla="*/ 69 h 183"/>
                    <a:gd name="T26" fmla="*/ 3 w 207"/>
                    <a:gd name="T27" fmla="*/ 69 h 183"/>
                    <a:gd name="T28" fmla="*/ 0 w 207"/>
                    <a:gd name="T29" fmla="*/ 72 h 1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7" h="183">
                      <a:moveTo>
                        <a:pt x="0" y="183"/>
                      </a:moveTo>
                      <a:lnTo>
                        <a:pt x="8" y="151"/>
                      </a:lnTo>
                      <a:lnTo>
                        <a:pt x="58" y="76"/>
                      </a:lnTo>
                      <a:lnTo>
                        <a:pt x="70" y="46"/>
                      </a:lnTo>
                      <a:lnTo>
                        <a:pt x="91" y="26"/>
                      </a:lnTo>
                      <a:lnTo>
                        <a:pt x="103" y="0"/>
                      </a:lnTo>
                      <a:lnTo>
                        <a:pt x="207" y="0"/>
                      </a:lnTo>
                      <a:lnTo>
                        <a:pt x="207" y="14"/>
                      </a:lnTo>
                      <a:lnTo>
                        <a:pt x="203" y="46"/>
                      </a:lnTo>
                      <a:lnTo>
                        <a:pt x="129" y="46"/>
                      </a:lnTo>
                      <a:lnTo>
                        <a:pt x="127" y="117"/>
                      </a:lnTo>
                      <a:lnTo>
                        <a:pt x="95" y="133"/>
                      </a:lnTo>
                      <a:lnTo>
                        <a:pt x="95" y="175"/>
                      </a:lnTo>
                      <a:lnTo>
                        <a:pt x="8" y="175"/>
                      </a:lnTo>
                      <a:lnTo>
                        <a:pt x="0" y="183"/>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7" name="vMap : Benin">
                  <a:extLst>
                    <a:ext uri="{FF2B5EF4-FFF2-40B4-BE49-F238E27FC236}">
                      <a16:creationId xmlns:a16="http://schemas.microsoft.com/office/drawing/2014/main" xmlns="" id="{FF11CCE3-64A1-8F40-A31E-5838729E44BD}"/>
                    </a:ext>
                  </a:extLst>
                </p:cNvPr>
                <p:cNvSpPr>
                  <a:spLocks noChangeAspect="1"/>
                </p:cNvSpPr>
                <p:nvPr>
                  <p:custDataLst>
                    <p:tags r:id="rId116"/>
                  </p:custDataLst>
                </p:nvPr>
              </p:nvSpPr>
              <p:spPr bwMode="gray">
                <a:xfrm>
                  <a:off x="4094883" y="3904785"/>
                  <a:ext cx="65416" cy="158610"/>
                </a:xfrm>
                <a:custGeom>
                  <a:avLst/>
                  <a:gdLst>
                    <a:gd name="T0" fmla="*/ 17 w 74"/>
                    <a:gd name="T1" fmla="*/ 62 h 168"/>
                    <a:gd name="T2" fmla="*/ 9 w 74"/>
                    <a:gd name="T3" fmla="*/ 62 h 168"/>
                    <a:gd name="T4" fmla="*/ 8 w 74"/>
                    <a:gd name="T5" fmla="*/ 38 h 168"/>
                    <a:gd name="T6" fmla="*/ 4 w 74"/>
                    <a:gd name="T7" fmla="*/ 25 h 168"/>
                    <a:gd name="T8" fmla="*/ 0 w 74"/>
                    <a:gd name="T9" fmla="*/ 20 h 168"/>
                    <a:gd name="T10" fmla="*/ 0 w 74"/>
                    <a:gd name="T11" fmla="*/ 14 h 168"/>
                    <a:gd name="T12" fmla="*/ 13 w 74"/>
                    <a:gd name="T13" fmla="*/ 4 h 168"/>
                    <a:gd name="T14" fmla="*/ 17 w 74"/>
                    <a:gd name="T15" fmla="*/ 0 h 168"/>
                    <a:gd name="T16" fmla="*/ 24 w 74"/>
                    <a:gd name="T17" fmla="*/ 7 h 168"/>
                    <a:gd name="T18" fmla="*/ 25 w 74"/>
                    <a:gd name="T19" fmla="*/ 20 h 168"/>
                    <a:gd name="T20" fmla="*/ 17 w 74"/>
                    <a:gd name="T21" fmla="*/ 39 h 168"/>
                    <a:gd name="T22" fmla="*/ 17 w 74"/>
                    <a:gd name="T23" fmla="*/ 62 h 1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4" h="168">
                      <a:moveTo>
                        <a:pt x="50" y="168"/>
                      </a:moveTo>
                      <a:lnTo>
                        <a:pt x="28" y="168"/>
                      </a:lnTo>
                      <a:lnTo>
                        <a:pt x="24" y="104"/>
                      </a:lnTo>
                      <a:lnTo>
                        <a:pt x="12" y="68"/>
                      </a:lnTo>
                      <a:lnTo>
                        <a:pt x="0" y="54"/>
                      </a:lnTo>
                      <a:lnTo>
                        <a:pt x="0" y="38"/>
                      </a:lnTo>
                      <a:lnTo>
                        <a:pt x="38" y="10"/>
                      </a:lnTo>
                      <a:lnTo>
                        <a:pt x="50" y="0"/>
                      </a:lnTo>
                      <a:lnTo>
                        <a:pt x="70" y="18"/>
                      </a:lnTo>
                      <a:lnTo>
                        <a:pt x="74" y="54"/>
                      </a:lnTo>
                      <a:lnTo>
                        <a:pt x="50" y="106"/>
                      </a:lnTo>
                      <a:lnTo>
                        <a:pt x="50" y="16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8" name="vMap : Ghana">
                  <a:extLst>
                    <a:ext uri="{FF2B5EF4-FFF2-40B4-BE49-F238E27FC236}">
                      <a16:creationId xmlns:a16="http://schemas.microsoft.com/office/drawing/2014/main" xmlns="" id="{75977CA5-5A34-8246-B3EE-AF395BBCC76A}"/>
                    </a:ext>
                  </a:extLst>
                </p:cNvPr>
                <p:cNvSpPr>
                  <a:spLocks noChangeAspect="1"/>
                </p:cNvSpPr>
                <p:nvPr>
                  <p:custDataLst>
                    <p:tags r:id="rId117"/>
                  </p:custDataLst>
                </p:nvPr>
              </p:nvSpPr>
              <p:spPr bwMode="gray">
                <a:xfrm>
                  <a:off x="4005127" y="3937439"/>
                  <a:ext cx="98884" cy="169495"/>
                </a:xfrm>
                <a:custGeom>
                  <a:avLst/>
                  <a:gdLst>
                    <a:gd name="T0" fmla="*/ 39 w 108"/>
                    <a:gd name="T1" fmla="*/ 52 h 179"/>
                    <a:gd name="T2" fmla="*/ 10 w 108"/>
                    <a:gd name="T3" fmla="*/ 66 h 179"/>
                    <a:gd name="T4" fmla="*/ 0 w 108"/>
                    <a:gd name="T5" fmla="*/ 62 h 179"/>
                    <a:gd name="T6" fmla="*/ 4 w 108"/>
                    <a:gd name="T7" fmla="*/ 62 h 179"/>
                    <a:gd name="T8" fmla="*/ 0 w 108"/>
                    <a:gd name="T9" fmla="*/ 47 h 179"/>
                    <a:gd name="T10" fmla="*/ 7 w 108"/>
                    <a:gd name="T11" fmla="*/ 30 h 179"/>
                    <a:gd name="T12" fmla="*/ 4 w 108"/>
                    <a:gd name="T13" fmla="*/ 17 h 179"/>
                    <a:gd name="T14" fmla="*/ 3 w 108"/>
                    <a:gd name="T15" fmla="*/ 1 h 179"/>
                    <a:gd name="T16" fmla="*/ 27 w 108"/>
                    <a:gd name="T17" fmla="*/ 0 h 179"/>
                    <a:gd name="T18" fmla="*/ 32 w 108"/>
                    <a:gd name="T19" fmla="*/ 18 h 179"/>
                    <a:gd name="T20" fmla="*/ 33 w 108"/>
                    <a:gd name="T21" fmla="*/ 44 h 179"/>
                    <a:gd name="T22" fmla="*/ 39 w 108"/>
                    <a:gd name="T23" fmla="*/ 52 h 1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8" h="179">
                      <a:moveTo>
                        <a:pt x="108" y="142"/>
                      </a:moveTo>
                      <a:lnTo>
                        <a:pt x="28" y="179"/>
                      </a:lnTo>
                      <a:lnTo>
                        <a:pt x="0" y="168"/>
                      </a:lnTo>
                      <a:lnTo>
                        <a:pt x="12" y="166"/>
                      </a:lnTo>
                      <a:lnTo>
                        <a:pt x="0" y="126"/>
                      </a:lnTo>
                      <a:lnTo>
                        <a:pt x="20" y="80"/>
                      </a:lnTo>
                      <a:lnTo>
                        <a:pt x="12" y="46"/>
                      </a:lnTo>
                      <a:lnTo>
                        <a:pt x="8" y="4"/>
                      </a:lnTo>
                      <a:lnTo>
                        <a:pt x="74" y="0"/>
                      </a:lnTo>
                      <a:lnTo>
                        <a:pt x="88" y="50"/>
                      </a:lnTo>
                      <a:lnTo>
                        <a:pt x="92" y="120"/>
                      </a:lnTo>
                      <a:lnTo>
                        <a:pt x="108" y="14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09" name="vMap : Guinea">
                  <a:extLst>
                    <a:ext uri="{FF2B5EF4-FFF2-40B4-BE49-F238E27FC236}">
                      <a16:creationId xmlns:a16="http://schemas.microsoft.com/office/drawing/2014/main" xmlns="" id="{C742C15C-DB63-F84E-93C3-5278E58E16D1}"/>
                    </a:ext>
                  </a:extLst>
                </p:cNvPr>
                <p:cNvSpPr>
                  <a:spLocks noChangeAspect="1"/>
                </p:cNvSpPr>
                <p:nvPr>
                  <p:custDataLst>
                    <p:tags r:id="rId118"/>
                  </p:custDataLst>
                </p:nvPr>
              </p:nvSpPr>
              <p:spPr bwMode="gray">
                <a:xfrm>
                  <a:off x="3734339" y="3895454"/>
                  <a:ext cx="167341" cy="138395"/>
                </a:xfrm>
                <a:custGeom>
                  <a:avLst/>
                  <a:gdLst>
                    <a:gd name="T0" fmla="*/ 0 w 177"/>
                    <a:gd name="T1" fmla="*/ 18 h 150"/>
                    <a:gd name="T2" fmla="*/ 16 w 177"/>
                    <a:gd name="T3" fmla="*/ 37 h 150"/>
                    <a:gd name="T4" fmla="*/ 24 w 177"/>
                    <a:gd name="T5" fmla="*/ 28 h 150"/>
                    <a:gd name="T6" fmla="*/ 35 w 177"/>
                    <a:gd name="T7" fmla="*/ 27 h 150"/>
                    <a:gd name="T8" fmla="*/ 41 w 177"/>
                    <a:gd name="T9" fmla="*/ 38 h 150"/>
                    <a:gd name="T10" fmla="*/ 40 w 177"/>
                    <a:gd name="T11" fmla="*/ 43 h 150"/>
                    <a:gd name="T12" fmla="*/ 43 w 177"/>
                    <a:gd name="T13" fmla="*/ 43 h 150"/>
                    <a:gd name="T14" fmla="*/ 52 w 177"/>
                    <a:gd name="T15" fmla="*/ 43 h 150"/>
                    <a:gd name="T16" fmla="*/ 52 w 177"/>
                    <a:gd name="T17" fmla="*/ 53 h 150"/>
                    <a:gd name="T18" fmla="*/ 61 w 177"/>
                    <a:gd name="T19" fmla="*/ 52 h 150"/>
                    <a:gd name="T20" fmla="*/ 65 w 177"/>
                    <a:gd name="T21" fmla="*/ 46 h 150"/>
                    <a:gd name="T22" fmla="*/ 64 w 177"/>
                    <a:gd name="T23" fmla="*/ 42 h 150"/>
                    <a:gd name="T24" fmla="*/ 68 w 177"/>
                    <a:gd name="T25" fmla="*/ 43 h 150"/>
                    <a:gd name="T26" fmla="*/ 64 w 177"/>
                    <a:gd name="T27" fmla="*/ 33 h 150"/>
                    <a:gd name="T28" fmla="*/ 65 w 177"/>
                    <a:gd name="T29" fmla="*/ 26 h 150"/>
                    <a:gd name="T30" fmla="*/ 62 w 177"/>
                    <a:gd name="T31" fmla="*/ 16 h 150"/>
                    <a:gd name="T32" fmla="*/ 59 w 177"/>
                    <a:gd name="T33" fmla="*/ 18 h 150"/>
                    <a:gd name="T34" fmla="*/ 62 w 177"/>
                    <a:gd name="T35" fmla="*/ 14 h 150"/>
                    <a:gd name="T36" fmla="*/ 58 w 177"/>
                    <a:gd name="T37" fmla="*/ 11 h 150"/>
                    <a:gd name="T38" fmla="*/ 56 w 177"/>
                    <a:gd name="T39" fmla="*/ 3 h 150"/>
                    <a:gd name="T40" fmla="*/ 41 w 177"/>
                    <a:gd name="T41" fmla="*/ 8 h 150"/>
                    <a:gd name="T42" fmla="*/ 34 w 177"/>
                    <a:gd name="T43" fmla="*/ 7 h 150"/>
                    <a:gd name="T44" fmla="*/ 34 w 177"/>
                    <a:gd name="T45" fmla="*/ 3 h 150"/>
                    <a:gd name="T46" fmla="*/ 14 w 177"/>
                    <a:gd name="T47" fmla="*/ 0 h 150"/>
                    <a:gd name="T48" fmla="*/ 12 w 177"/>
                    <a:gd name="T49" fmla="*/ 11 h 150"/>
                    <a:gd name="T50" fmla="*/ 4 w 177"/>
                    <a:gd name="T51" fmla="*/ 12 h 150"/>
                    <a:gd name="T52" fmla="*/ 0 w 177"/>
                    <a:gd name="T53" fmla="*/ 18 h 1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77" h="150">
                      <a:moveTo>
                        <a:pt x="0" y="50"/>
                      </a:moveTo>
                      <a:lnTo>
                        <a:pt x="41" y="104"/>
                      </a:lnTo>
                      <a:lnTo>
                        <a:pt x="61" y="80"/>
                      </a:lnTo>
                      <a:lnTo>
                        <a:pt x="91" y="76"/>
                      </a:lnTo>
                      <a:lnTo>
                        <a:pt x="107" y="108"/>
                      </a:lnTo>
                      <a:lnTo>
                        <a:pt x="103" y="122"/>
                      </a:lnTo>
                      <a:lnTo>
                        <a:pt x="111" y="122"/>
                      </a:lnTo>
                      <a:lnTo>
                        <a:pt x="135" y="122"/>
                      </a:lnTo>
                      <a:lnTo>
                        <a:pt x="135" y="150"/>
                      </a:lnTo>
                      <a:lnTo>
                        <a:pt x="157" y="146"/>
                      </a:lnTo>
                      <a:lnTo>
                        <a:pt x="169" y="130"/>
                      </a:lnTo>
                      <a:lnTo>
                        <a:pt x="165" y="118"/>
                      </a:lnTo>
                      <a:lnTo>
                        <a:pt x="177" y="122"/>
                      </a:lnTo>
                      <a:lnTo>
                        <a:pt x="165" y="92"/>
                      </a:lnTo>
                      <a:lnTo>
                        <a:pt x="169" y="72"/>
                      </a:lnTo>
                      <a:lnTo>
                        <a:pt x="161" y="46"/>
                      </a:lnTo>
                      <a:lnTo>
                        <a:pt x="153" y="50"/>
                      </a:lnTo>
                      <a:lnTo>
                        <a:pt x="161" y="38"/>
                      </a:lnTo>
                      <a:lnTo>
                        <a:pt x="149" y="30"/>
                      </a:lnTo>
                      <a:lnTo>
                        <a:pt x="145" y="8"/>
                      </a:lnTo>
                      <a:lnTo>
                        <a:pt x="107" y="22"/>
                      </a:lnTo>
                      <a:lnTo>
                        <a:pt x="89" y="20"/>
                      </a:lnTo>
                      <a:lnTo>
                        <a:pt x="89" y="8"/>
                      </a:lnTo>
                      <a:lnTo>
                        <a:pt x="35" y="0"/>
                      </a:lnTo>
                      <a:lnTo>
                        <a:pt x="32" y="30"/>
                      </a:lnTo>
                      <a:lnTo>
                        <a:pt x="12" y="34"/>
                      </a:lnTo>
                      <a:lnTo>
                        <a:pt x="0" y="5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0" name="vMap : Cote d'Ivoire">
                  <a:extLst>
                    <a:ext uri="{FF2B5EF4-FFF2-40B4-BE49-F238E27FC236}">
                      <a16:creationId xmlns:a16="http://schemas.microsoft.com/office/drawing/2014/main" xmlns="" id="{E02C36AE-327B-FE4B-B91F-04888527E90A}"/>
                    </a:ext>
                  </a:extLst>
                </p:cNvPr>
                <p:cNvSpPr>
                  <a:spLocks noChangeAspect="1"/>
                </p:cNvSpPr>
                <p:nvPr>
                  <p:custDataLst>
                    <p:tags r:id="rId119"/>
                  </p:custDataLst>
                </p:nvPr>
              </p:nvSpPr>
              <p:spPr bwMode="gray">
                <a:xfrm>
                  <a:off x="3880382" y="3949879"/>
                  <a:ext cx="143001" cy="161721"/>
                </a:xfrm>
                <a:custGeom>
                  <a:avLst/>
                  <a:gdLst>
                    <a:gd name="T0" fmla="*/ 10 w 153"/>
                    <a:gd name="T1" fmla="*/ 63 h 171"/>
                    <a:gd name="T2" fmla="*/ 35 w 153"/>
                    <a:gd name="T3" fmla="*/ 57 h 171"/>
                    <a:gd name="T4" fmla="*/ 50 w 153"/>
                    <a:gd name="T5" fmla="*/ 58 h 171"/>
                    <a:gd name="T6" fmla="*/ 55 w 153"/>
                    <a:gd name="T7" fmla="*/ 57 h 171"/>
                    <a:gd name="T8" fmla="*/ 50 w 153"/>
                    <a:gd name="T9" fmla="*/ 42 h 171"/>
                    <a:gd name="T10" fmla="*/ 58 w 153"/>
                    <a:gd name="T11" fmla="*/ 25 h 171"/>
                    <a:gd name="T12" fmla="*/ 55 w 153"/>
                    <a:gd name="T13" fmla="*/ 13 h 171"/>
                    <a:gd name="T14" fmla="*/ 50 w 153"/>
                    <a:gd name="T15" fmla="*/ 7 h 171"/>
                    <a:gd name="T16" fmla="*/ 36 w 153"/>
                    <a:gd name="T17" fmla="*/ 10 h 171"/>
                    <a:gd name="T18" fmla="*/ 32 w 153"/>
                    <a:gd name="T19" fmla="*/ 3 h 171"/>
                    <a:gd name="T20" fmla="*/ 23 w 153"/>
                    <a:gd name="T21" fmla="*/ 4 h 171"/>
                    <a:gd name="T22" fmla="*/ 22 w 153"/>
                    <a:gd name="T23" fmla="*/ 0 h 171"/>
                    <a:gd name="T24" fmla="*/ 14 w 153"/>
                    <a:gd name="T25" fmla="*/ 5 h 171"/>
                    <a:gd name="T26" fmla="*/ 10 w 153"/>
                    <a:gd name="T27" fmla="*/ 3 h 171"/>
                    <a:gd name="T28" fmla="*/ 6 w 153"/>
                    <a:gd name="T29" fmla="*/ 5 h 171"/>
                    <a:gd name="T30" fmla="*/ 4 w 153"/>
                    <a:gd name="T31" fmla="*/ 13 h 171"/>
                    <a:gd name="T32" fmla="*/ 9 w 153"/>
                    <a:gd name="T33" fmla="*/ 24 h 171"/>
                    <a:gd name="T34" fmla="*/ 4 w 153"/>
                    <a:gd name="T35" fmla="*/ 22 h 171"/>
                    <a:gd name="T36" fmla="*/ 6 w 153"/>
                    <a:gd name="T37" fmla="*/ 27 h 171"/>
                    <a:gd name="T38" fmla="*/ 1 w 153"/>
                    <a:gd name="T39" fmla="*/ 33 h 171"/>
                    <a:gd name="T40" fmla="*/ 3 w 153"/>
                    <a:gd name="T41" fmla="*/ 37 h 171"/>
                    <a:gd name="T42" fmla="*/ 0 w 153"/>
                    <a:gd name="T43" fmla="*/ 42 h 171"/>
                    <a:gd name="T44" fmla="*/ 11 w 153"/>
                    <a:gd name="T45" fmla="*/ 49 h 171"/>
                    <a:gd name="T46" fmla="*/ 10 w 153"/>
                    <a:gd name="T47" fmla="*/ 63 h 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53" h="171">
                      <a:moveTo>
                        <a:pt x="28" y="171"/>
                      </a:moveTo>
                      <a:lnTo>
                        <a:pt x="92" y="154"/>
                      </a:lnTo>
                      <a:lnTo>
                        <a:pt x="133" y="156"/>
                      </a:lnTo>
                      <a:lnTo>
                        <a:pt x="145" y="154"/>
                      </a:lnTo>
                      <a:lnTo>
                        <a:pt x="133" y="114"/>
                      </a:lnTo>
                      <a:lnTo>
                        <a:pt x="153" y="68"/>
                      </a:lnTo>
                      <a:lnTo>
                        <a:pt x="145" y="34"/>
                      </a:lnTo>
                      <a:lnTo>
                        <a:pt x="133" y="18"/>
                      </a:lnTo>
                      <a:lnTo>
                        <a:pt x="96" y="26"/>
                      </a:lnTo>
                      <a:lnTo>
                        <a:pt x="84" y="8"/>
                      </a:lnTo>
                      <a:lnTo>
                        <a:pt x="62" y="12"/>
                      </a:lnTo>
                      <a:lnTo>
                        <a:pt x="58" y="0"/>
                      </a:lnTo>
                      <a:lnTo>
                        <a:pt x="38" y="14"/>
                      </a:lnTo>
                      <a:lnTo>
                        <a:pt x="28" y="8"/>
                      </a:lnTo>
                      <a:lnTo>
                        <a:pt x="16" y="14"/>
                      </a:lnTo>
                      <a:lnTo>
                        <a:pt x="12" y="34"/>
                      </a:lnTo>
                      <a:lnTo>
                        <a:pt x="24" y="64"/>
                      </a:lnTo>
                      <a:lnTo>
                        <a:pt x="12" y="60"/>
                      </a:lnTo>
                      <a:lnTo>
                        <a:pt x="16" y="72"/>
                      </a:lnTo>
                      <a:lnTo>
                        <a:pt x="4" y="88"/>
                      </a:lnTo>
                      <a:lnTo>
                        <a:pt x="8" y="100"/>
                      </a:lnTo>
                      <a:lnTo>
                        <a:pt x="0" y="114"/>
                      </a:lnTo>
                      <a:lnTo>
                        <a:pt x="30" y="134"/>
                      </a:lnTo>
                      <a:lnTo>
                        <a:pt x="28" y="17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1" name="vMap : Liberia">
                  <a:extLst>
                    <a:ext uri="{FF2B5EF4-FFF2-40B4-BE49-F238E27FC236}">
                      <a16:creationId xmlns:a16="http://schemas.microsoft.com/office/drawing/2014/main" xmlns="" id="{ED72F84D-DC59-EC4C-B824-52934C827A09}"/>
                    </a:ext>
                  </a:extLst>
                </p:cNvPr>
                <p:cNvSpPr>
                  <a:spLocks noChangeAspect="1"/>
                </p:cNvSpPr>
                <p:nvPr>
                  <p:custDataLst>
                    <p:tags r:id="rId120"/>
                  </p:custDataLst>
                </p:nvPr>
              </p:nvSpPr>
              <p:spPr bwMode="gray">
                <a:xfrm>
                  <a:off x="3814967" y="4008969"/>
                  <a:ext cx="91277" cy="102631"/>
                </a:xfrm>
                <a:custGeom>
                  <a:avLst/>
                  <a:gdLst>
                    <a:gd name="T0" fmla="*/ 0 w 98"/>
                    <a:gd name="T1" fmla="*/ 15 h 107"/>
                    <a:gd name="T2" fmla="*/ 19 w 98"/>
                    <a:gd name="T3" fmla="*/ 35 h 107"/>
                    <a:gd name="T4" fmla="*/ 36 w 98"/>
                    <a:gd name="T5" fmla="*/ 41 h 107"/>
                    <a:gd name="T6" fmla="*/ 37 w 98"/>
                    <a:gd name="T7" fmla="*/ 27 h 107"/>
                    <a:gd name="T8" fmla="*/ 26 w 98"/>
                    <a:gd name="T9" fmla="*/ 19 h 107"/>
                    <a:gd name="T10" fmla="*/ 29 w 98"/>
                    <a:gd name="T11" fmla="*/ 14 h 107"/>
                    <a:gd name="T12" fmla="*/ 27 w 98"/>
                    <a:gd name="T13" fmla="*/ 9 h 107"/>
                    <a:gd name="T14" fmla="*/ 19 w 98"/>
                    <a:gd name="T15" fmla="*/ 10 h 107"/>
                    <a:gd name="T16" fmla="*/ 19 w 98"/>
                    <a:gd name="T17" fmla="*/ 0 h 107"/>
                    <a:gd name="T18" fmla="*/ 10 w 98"/>
                    <a:gd name="T19" fmla="*/ 0 h 107"/>
                    <a:gd name="T20" fmla="*/ 0 w 98"/>
                    <a:gd name="T21" fmla="*/ 15 h 1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8" h="107">
                      <a:moveTo>
                        <a:pt x="0" y="40"/>
                      </a:moveTo>
                      <a:lnTo>
                        <a:pt x="50" y="90"/>
                      </a:lnTo>
                      <a:lnTo>
                        <a:pt x="96" y="107"/>
                      </a:lnTo>
                      <a:lnTo>
                        <a:pt x="98" y="70"/>
                      </a:lnTo>
                      <a:lnTo>
                        <a:pt x="68" y="50"/>
                      </a:lnTo>
                      <a:lnTo>
                        <a:pt x="76" y="36"/>
                      </a:lnTo>
                      <a:lnTo>
                        <a:pt x="72" y="24"/>
                      </a:lnTo>
                      <a:lnTo>
                        <a:pt x="50" y="28"/>
                      </a:lnTo>
                      <a:lnTo>
                        <a:pt x="50" y="0"/>
                      </a:lnTo>
                      <a:lnTo>
                        <a:pt x="26" y="0"/>
                      </a:lnTo>
                      <a:lnTo>
                        <a:pt x="0" y="4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2" name="vMap : Guinea-Bissau">
                  <a:extLst>
                    <a:ext uri="{FF2B5EF4-FFF2-40B4-BE49-F238E27FC236}">
                      <a16:creationId xmlns:a16="http://schemas.microsoft.com/office/drawing/2014/main" xmlns="" id="{288742F3-5F9B-6F4A-9019-431E38DE9B1A}"/>
                    </a:ext>
                  </a:extLst>
                </p:cNvPr>
                <p:cNvSpPr>
                  <a:spLocks noChangeAspect="1"/>
                </p:cNvSpPr>
                <p:nvPr>
                  <p:custDataLst>
                    <p:tags r:id="rId121"/>
                  </p:custDataLst>
                </p:nvPr>
              </p:nvSpPr>
              <p:spPr bwMode="gray">
                <a:xfrm>
                  <a:off x="3696307" y="3895454"/>
                  <a:ext cx="71501" cy="46650"/>
                </a:xfrm>
                <a:custGeom>
                  <a:avLst/>
                  <a:gdLst>
                    <a:gd name="T0" fmla="*/ 16 w 77"/>
                    <a:gd name="T1" fmla="*/ 18 h 50"/>
                    <a:gd name="T2" fmla="*/ 12 w 77"/>
                    <a:gd name="T3" fmla="*/ 11 h 50"/>
                    <a:gd name="T4" fmla="*/ 17 w 77"/>
                    <a:gd name="T5" fmla="*/ 8 h 50"/>
                    <a:gd name="T6" fmla="*/ 9 w 77"/>
                    <a:gd name="T7" fmla="*/ 11 h 50"/>
                    <a:gd name="T8" fmla="*/ 0 w 77"/>
                    <a:gd name="T9" fmla="*/ 3 h 50"/>
                    <a:gd name="T10" fmla="*/ 29 w 77"/>
                    <a:gd name="T11" fmla="*/ 0 h 50"/>
                    <a:gd name="T12" fmla="*/ 27 w 77"/>
                    <a:gd name="T13" fmla="*/ 11 h 50"/>
                    <a:gd name="T14" fmla="*/ 20 w 77"/>
                    <a:gd name="T15" fmla="*/ 12 h 50"/>
                    <a:gd name="T16" fmla="*/ 16 w 77"/>
                    <a:gd name="T17" fmla="*/ 18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7" h="50">
                      <a:moveTo>
                        <a:pt x="42" y="50"/>
                      </a:moveTo>
                      <a:lnTo>
                        <a:pt x="32" y="30"/>
                      </a:lnTo>
                      <a:lnTo>
                        <a:pt x="46" y="22"/>
                      </a:lnTo>
                      <a:lnTo>
                        <a:pt x="24" y="30"/>
                      </a:lnTo>
                      <a:lnTo>
                        <a:pt x="0" y="8"/>
                      </a:lnTo>
                      <a:lnTo>
                        <a:pt x="77" y="0"/>
                      </a:lnTo>
                      <a:lnTo>
                        <a:pt x="74" y="30"/>
                      </a:lnTo>
                      <a:lnTo>
                        <a:pt x="54" y="34"/>
                      </a:lnTo>
                      <a:lnTo>
                        <a:pt x="42" y="5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3" name="vMap : Senegal">
                  <a:extLst>
                    <a:ext uri="{FF2B5EF4-FFF2-40B4-BE49-F238E27FC236}">
                      <a16:creationId xmlns:a16="http://schemas.microsoft.com/office/drawing/2014/main" xmlns="" id="{863B0AE2-FB7A-7043-AFD4-B135CA4349B9}"/>
                    </a:ext>
                  </a:extLst>
                </p:cNvPr>
                <p:cNvSpPr>
                  <a:spLocks noChangeAspect="1"/>
                </p:cNvSpPr>
                <p:nvPr>
                  <p:custDataLst>
                    <p:tags r:id="rId122"/>
                  </p:custDataLst>
                </p:nvPr>
              </p:nvSpPr>
              <p:spPr bwMode="gray">
                <a:xfrm>
                  <a:off x="3684137" y="3791270"/>
                  <a:ext cx="135394" cy="110405"/>
                </a:xfrm>
                <a:custGeom>
                  <a:avLst/>
                  <a:gdLst>
                    <a:gd name="T0" fmla="*/ 6 w 145"/>
                    <a:gd name="T1" fmla="*/ 38 h 115"/>
                    <a:gd name="T2" fmla="*/ 6 w 145"/>
                    <a:gd name="T3" fmla="*/ 44 h 115"/>
                    <a:gd name="T4" fmla="*/ 34 w 145"/>
                    <a:gd name="T5" fmla="*/ 41 h 115"/>
                    <a:gd name="T6" fmla="*/ 55 w 145"/>
                    <a:gd name="T7" fmla="*/ 44 h 115"/>
                    <a:gd name="T8" fmla="*/ 48 w 145"/>
                    <a:gd name="T9" fmla="*/ 20 h 115"/>
                    <a:gd name="T10" fmla="*/ 29 w 145"/>
                    <a:gd name="T11" fmla="*/ 0 h 115"/>
                    <a:gd name="T12" fmla="*/ 11 w 145"/>
                    <a:gd name="T13" fmla="*/ 1 h 115"/>
                    <a:gd name="T14" fmla="*/ 9 w 145"/>
                    <a:gd name="T15" fmla="*/ 6 h 115"/>
                    <a:gd name="T16" fmla="*/ 6 w 145"/>
                    <a:gd name="T17" fmla="*/ 16 h 115"/>
                    <a:gd name="T18" fmla="*/ 0 w 145"/>
                    <a:gd name="T19" fmla="*/ 20 h 115"/>
                    <a:gd name="T20" fmla="*/ 9 w 145"/>
                    <a:gd name="T21" fmla="*/ 31 h 115"/>
                    <a:gd name="T22" fmla="*/ 21 w 145"/>
                    <a:gd name="T23" fmla="*/ 30 h 115"/>
                    <a:gd name="T24" fmla="*/ 33 w 145"/>
                    <a:gd name="T25" fmla="*/ 33 h 115"/>
                    <a:gd name="T26" fmla="*/ 21 w 145"/>
                    <a:gd name="T27" fmla="*/ 31 h 115"/>
                    <a:gd name="T28" fmla="*/ 6 w 145"/>
                    <a:gd name="T29" fmla="*/ 38 h 1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5" h="115">
                      <a:moveTo>
                        <a:pt x="14" y="99"/>
                      </a:moveTo>
                      <a:lnTo>
                        <a:pt x="14" y="115"/>
                      </a:lnTo>
                      <a:lnTo>
                        <a:pt x="91" y="107"/>
                      </a:lnTo>
                      <a:lnTo>
                        <a:pt x="145" y="115"/>
                      </a:lnTo>
                      <a:lnTo>
                        <a:pt x="129" y="53"/>
                      </a:lnTo>
                      <a:lnTo>
                        <a:pt x="76" y="0"/>
                      </a:lnTo>
                      <a:lnTo>
                        <a:pt x="30" y="4"/>
                      </a:lnTo>
                      <a:lnTo>
                        <a:pt x="22" y="16"/>
                      </a:lnTo>
                      <a:lnTo>
                        <a:pt x="14" y="42"/>
                      </a:lnTo>
                      <a:lnTo>
                        <a:pt x="0" y="53"/>
                      </a:lnTo>
                      <a:lnTo>
                        <a:pt x="22" y="83"/>
                      </a:lnTo>
                      <a:lnTo>
                        <a:pt x="56" y="77"/>
                      </a:lnTo>
                      <a:lnTo>
                        <a:pt x="88" y="87"/>
                      </a:lnTo>
                      <a:lnTo>
                        <a:pt x="56" y="83"/>
                      </a:lnTo>
                      <a:lnTo>
                        <a:pt x="14" y="9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4" name="vMap : Togo">
                  <a:extLst>
                    <a:ext uri="{FF2B5EF4-FFF2-40B4-BE49-F238E27FC236}">
                      <a16:creationId xmlns:a16="http://schemas.microsoft.com/office/drawing/2014/main" xmlns="" id="{CAA8FD68-C8C2-DA4D-B23C-2F989A440606}"/>
                    </a:ext>
                  </a:extLst>
                </p:cNvPr>
                <p:cNvSpPr>
                  <a:spLocks noChangeAspect="1"/>
                </p:cNvSpPr>
                <p:nvPr>
                  <p:custDataLst>
                    <p:tags r:id="rId123"/>
                  </p:custDataLst>
                </p:nvPr>
              </p:nvSpPr>
              <p:spPr bwMode="gray">
                <a:xfrm>
                  <a:off x="4072064" y="3937439"/>
                  <a:ext cx="45639" cy="133729"/>
                </a:xfrm>
                <a:custGeom>
                  <a:avLst/>
                  <a:gdLst>
                    <a:gd name="T0" fmla="*/ 18 w 50"/>
                    <a:gd name="T1" fmla="*/ 49 h 142"/>
                    <a:gd name="T2" fmla="*/ 12 w 50"/>
                    <a:gd name="T3" fmla="*/ 52 h 142"/>
                    <a:gd name="T4" fmla="*/ 7 w 50"/>
                    <a:gd name="T5" fmla="*/ 44 h 142"/>
                    <a:gd name="T6" fmla="*/ 5 w 50"/>
                    <a:gd name="T7" fmla="*/ 18 h 142"/>
                    <a:gd name="T8" fmla="*/ 0 w 50"/>
                    <a:gd name="T9" fmla="*/ 0 h 142"/>
                    <a:gd name="T10" fmla="*/ 8 w 50"/>
                    <a:gd name="T11" fmla="*/ 1 h 142"/>
                    <a:gd name="T12" fmla="*/ 8 w 50"/>
                    <a:gd name="T13" fmla="*/ 7 h 142"/>
                    <a:gd name="T14" fmla="*/ 12 w 50"/>
                    <a:gd name="T15" fmla="*/ 13 h 142"/>
                    <a:gd name="T16" fmla="*/ 17 w 50"/>
                    <a:gd name="T17" fmla="*/ 25 h 142"/>
                    <a:gd name="T18" fmla="*/ 18 w 50"/>
                    <a:gd name="T19" fmla="*/ 49 h 1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0" h="142">
                      <a:moveTo>
                        <a:pt x="50" y="134"/>
                      </a:moveTo>
                      <a:lnTo>
                        <a:pt x="34" y="142"/>
                      </a:lnTo>
                      <a:lnTo>
                        <a:pt x="18" y="120"/>
                      </a:lnTo>
                      <a:lnTo>
                        <a:pt x="14" y="50"/>
                      </a:lnTo>
                      <a:lnTo>
                        <a:pt x="0" y="0"/>
                      </a:lnTo>
                      <a:lnTo>
                        <a:pt x="22" y="4"/>
                      </a:lnTo>
                      <a:lnTo>
                        <a:pt x="22" y="20"/>
                      </a:lnTo>
                      <a:lnTo>
                        <a:pt x="34" y="34"/>
                      </a:lnTo>
                      <a:lnTo>
                        <a:pt x="46" y="70"/>
                      </a:lnTo>
                      <a:lnTo>
                        <a:pt x="50" y="13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5" name="vMap : Cape Verde">
                  <a:extLst>
                    <a:ext uri="{FF2B5EF4-FFF2-40B4-BE49-F238E27FC236}">
                      <a16:creationId xmlns:a16="http://schemas.microsoft.com/office/drawing/2014/main" xmlns="" id="{71741EA7-57AE-9346-AA77-6F4E7A8B8373}"/>
                    </a:ext>
                  </a:extLst>
                </p:cNvPr>
                <p:cNvSpPr>
                  <a:spLocks noChangeAspect="1"/>
                </p:cNvSpPr>
                <p:nvPr>
                  <p:custDataLst>
                    <p:tags r:id="rId124"/>
                  </p:custDataLst>
                </p:nvPr>
              </p:nvSpPr>
              <p:spPr bwMode="gray">
                <a:xfrm>
                  <a:off x="3542657" y="3827035"/>
                  <a:ext cx="4564" cy="12440"/>
                </a:xfrm>
                <a:custGeom>
                  <a:avLst/>
                  <a:gdLst>
                    <a:gd name="T0" fmla="*/ 1 w 8"/>
                    <a:gd name="T1" fmla="*/ 0 h 12"/>
                    <a:gd name="T2" fmla="*/ 0 w 8"/>
                    <a:gd name="T3" fmla="*/ 5 h 12"/>
                    <a:gd name="T4" fmla="*/ 1 w 8"/>
                    <a:gd name="T5" fmla="*/ 5 h 12"/>
                    <a:gd name="T6" fmla="*/ 1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4" y="0"/>
                      </a:moveTo>
                      <a:lnTo>
                        <a:pt x="0" y="12"/>
                      </a:lnTo>
                      <a:lnTo>
                        <a:pt x="8" y="12"/>
                      </a:lnTo>
                      <a:lnTo>
                        <a:pt x="4"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6" name="vMap : The Gambia">
                  <a:extLst>
                    <a:ext uri="{FF2B5EF4-FFF2-40B4-BE49-F238E27FC236}">
                      <a16:creationId xmlns:a16="http://schemas.microsoft.com/office/drawing/2014/main" xmlns="" id="{D56AF69A-4817-F14F-9683-06794A50714F}"/>
                    </a:ext>
                  </a:extLst>
                </p:cNvPr>
                <p:cNvSpPr>
                  <a:spLocks noChangeAspect="1"/>
                </p:cNvSpPr>
                <p:nvPr>
                  <p:custDataLst>
                    <p:tags r:id="rId125"/>
                  </p:custDataLst>
                </p:nvPr>
              </p:nvSpPr>
              <p:spPr bwMode="gray">
                <a:xfrm>
                  <a:off x="3696307" y="3865909"/>
                  <a:ext cx="68458" cy="20215"/>
                </a:xfrm>
                <a:custGeom>
                  <a:avLst/>
                  <a:gdLst>
                    <a:gd name="T0" fmla="*/ 3 w 74"/>
                    <a:gd name="T1" fmla="*/ 2 h 22"/>
                    <a:gd name="T2" fmla="*/ 0 w 74"/>
                    <a:gd name="T3" fmla="*/ 8 h 22"/>
                    <a:gd name="T4" fmla="*/ 16 w 74"/>
                    <a:gd name="T5" fmla="*/ 2 h 22"/>
                    <a:gd name="T6" fmla="*/ 27 w 74"/>
                    <a:gd name="T7" fmla="*/ 4 h 22"/>
                    <a:gd name="T8" fmla="*/ 16 w 74"/>
                    <a:gd name="T9" fmla="*/ 0 h 22"/>
                    <a:gd name="T10" fmla="*/ 3 w 74"/>
                    <a:gd name="T11" fmla="*/ 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4" h="22">
                      <a:moveTo>
                        <a:pt x="8" y="6"/>
                      </a:moveTo>
                      <a:lnTo>
                        <a:pt x="0" y="22"/>
                      </a:lnTo>
                      <a:lnTo>
                        <a:pt x="42" y="6"/>
                      </a:lnTo>
                      <a:lnTo>
                        <a:pt x="74" y="10"/>
                      </a:lnTo>
                      <a:lnTo>
                        <a:pt x="42" y="0"/>
                      </a:lnTo>
                      <a:lnTo>
                        <a:pt x="8" y="6"/>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7" name="vMap : Burkina Faso">
                  <a:extLst>
                    <a:ext uri="{FF2B5EF4-FFF2-40B4-BE49-F238E27FC236}">
                      <a16:creationId xmlns:a16="http://schemas.microsoft.com/office/drawing/2014/main" xmlns="" id="{93F181AE-CDC8-1549-B6FC-AB60C6DFAA0D}"/>
                    </a:ext>
                  </a:extLst>
                </p:cNvPr>
                <p:cNvSpPr>
                  <a:spLocks noChangeAspect="1"/>
                </p:cNvSpPr>
                <p:nvPr>
                  <p:custDataLst>
                    <p:tags r:id="rId126"/>
                  </p:custDataLst>
                </p:nvPr>
              </p:nvSpPr>
              <p:spPr bwMode="gray">
                <a:xfrm>
                  <a:off x="3957968" y="3834809"/>
                  <a:ext cx="170384" cy="144615"/>
                </a:xfrm>
                <a:custGeom>
                  <a:avLst/>
                  <a:gdLst>
                    <a:gd name="T0" fmla="*/ 0 w 183"/>
                    <a:gd name="T1" fmla="*/ 47 h 153"/>
                    <a:gd name="T2" fmla="*/ 4 w 183"/>
                    <a:gd name="T3" fmla="*/ 53 h 153"/>
                    <a:gd name="T4" fmla="*/ 18 w 183"/>
                    <a:gd name="T5" fmla="*/ 50 h 153"/>
                    <a:gd name="T6" fmla="*/ 23 w 183"/>
                    <a:gd name="T7" fmla="*/ 57 h 153"/>
                    <a:gd name="T8" fmla="*/ 21 w 183"/>
                    <a:gd name="T9" fmla="*/ 41 h 153"/>
                    <a:gd name="T10" fmla="*/ 46 w 183"/>
                    <a:gd name="T11" fmla="*/ 40 h 153"/>
                    <a:gd name="T12" fmla="*/ 54 w 183"/>
                    <a:gd name="T13" fmla="*/ 41 h 153"/>
                    <a:gd name="T14" fmla="*/ 69 w 183"/>
                    <a:gd name="T15" fmla="*/ 30 h 153"/>
                    <a:gd name="T16" fmla="*/ 66 w 183"/>
                    <a:gd name="T17" fmla="*/ 24 h 153"/>
                    <a:gd name="T18" fmla="*/ 61 w 183"/>
                    <a:gd name="T19" fmla="*/ 22 h 153"/>
                    <a:gd name="T20" fmla="*/ 51 w 183"/>
                    <a:gd name="T21" fmla="*/ 10 h 153"/>
                    <a:gd name="T22" fmla="*/ 49 w 183"/>
                    <a:gd name="T23" fmla="*/ 0 h 153"/>
                    <a:gd name="T24" fmla="*/ 40 w 183"/>
                    <a:gd name="T25" fmla="*/ 1 h 153"/>
                    <a:gd name="T26" fmla="*/ 26 w 183"/>
                    <a:gd name="T27" fmla="*/ 13 h 153"/>
                    <a:gd name="T28" fmla="*/ 12 w 183"/>
                    <a:gd name="T29" fmla="*/ 18 h 153"/>
                    <a:gd name="T30" fmla="*/ 1 w 183"/>
                    <a:gd name="T31" fmla="*/ 36 h 153"/>
                    <a:gd name="T32" fmla="*/ 0 w 183"/>
                    <a:gd name="T33" fmla="*/ 47 h 1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3" h="153">
                      <a:moveTo>
                        <a:pt x="0" y="127"/>
                      </a:moveTo>
                      <a:lnTo>
                        <a:pt x="12" y="145"/>
                      </a:lnTo>
                      <a:lnTo>
                        <a:pt x="49" y="137"/>
                      </a:lnTo>
                      <a:lnTo>
                        <a:pt x="61" y="153"/>
                      </a:lnTo>
                      <a:lnTo>
                        <a:pt x="57" y="111"/>
                      </a:lnTo>
                      <a:lnTo>
                        <a:pt x="123" y="107"/>
                      </a:lnTo>
                      <a:lnTo>
                        <a:pt x="145" y="111"/>
                      </a:lnTo>
                      <a:lnTo>
                        <a:pt x="183" y="83"/>
                      </a:lnTo>
                      <a:lnTo>
                        <a:pt x="177" y="65"/>
                      </a:lnTo>
                      <a:lnTo>
                        <a:pt x="161" y="61"/>
                      </a:lnTo>
                      <a:lnTo>
                        <a:pt x="135" y="27"/>
                      </a:lnTo>
                      <a:lnTo>
                        <a:pt x="131" y="0"/>
                      </a:lnTo>
                      <a:lnTo>
                        <a:pt x="107" y="4"/>
                      </a:lnTo>
                      <a:lnTo>
                        <a:pt x="69" y="37"/>
                      </a:lnTo>
                      <a:lnTo>
                        <a:pt x="32" y="49"/>
                      </a:lnTo>
                      <a:lnTo>
                        <a:pt x="4" y="99"/>
                      </a:lnTo>
                      <a:lnTo>
                        <a:pt x="0" y="127"/>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8" name="vMap : Ghana (Water)">
                  <a:extLst>
                    <a:ext uri="{FF2B5EF4-FFF2-40B4-BE49-F238E27FC236}">
                      <a16:creationId xmlns:a16="http://schemas.microsoft.com/office/drawing/2014/main" xmlns="" id="{2E558057-E452-6E4B-B8AF-67C342C7D0C8}"/>
                    </a:ext>
                  </a:extLst>
                </p:cNvPr>
                <p:cNvSpPr>
                  <a:spLocks noChangeAspect="1"/>
                </p:cNvSpPr>
                <p:nvPr>
                  <p:custDataLst>
                    <p:tags r:id="rId127"/>
                  </p:custDataLst>
                </p:nvPr>
              </p:nvSpPr>
              <p:spPr bwMode="gray">
                <a:xfrm>
                  <a:off x="4041638" y="3991864"/>
                  <a:ext cx="44118" cy="71530"/>
                </a:xfrm>
                <a:custGeom>
                  <a:avLst/>
                  <a:gdLst>
                    <a:gd name="T0" fmla="*/ 15 w 46"/>
                    <a:gd name="T1" fmla="*/ 18 h 76"/>
                    <a:gd name="T2" fmla="*/ 15 w 46"/>
                    <a:gd name="T3" fmla="*/ 14 h 76"/>
                    <a:gd name="T4" fmla="*/ 9 w 46"/>
                    <a:gd name="T5" fmla="*/ 17 h 76"/>
                    <a:gd name="T6" fmla="*/ 13 w 46"/>
                    <a:gd name="T7" fmla="*/ 11 h 76"/>
                    <a:gd name="T8" fmla="*/ 7 w 46"/>
                    <a:gd name="T9" fmla="*/ 11 h 76"/>
                    <a:gd name="T10" fmla="*/ 6 w 46"/>
                    <a:gd name="T11" fmla="*/ 5 h 76"/>
                    <a:gd name="T12" fmla="*/ 0 w 46"/>
                    <a:gd name="T13" fmla="*/ 4 h 76"/>
                    <a:gd name="T14" fmla="*/ 4 w 46"/>
                    <a:gd name="T15" fmla="*/ 4 h 76"/>
                    <a:gd name="T16" fmla="*/ 4 w 46"/>
                    <a:gd name="T17" fmla="*/ 0 h 76"/>
                    <a:gd name="T18" fmla="*/ 9 w 46"/>
                    <a:gd name="T19" fmla="*/ 8 h 76"/>
                    <a:gd name="T20" fmla="*/ 13 w 46"/>
                    <a:gd name="T21" fmla="*/ 8 h 76"/>
                    <a:gd name="T22" fmla="*/ 15 w 46"/>
                    <a:gd name="T23" fmla="*/ 13 h 76"/>
                    <a:gd name="T24" fmla="*/ 15 w 46"/>
                    <a:gd name="T25" fmla="*/ 5 h 76"/>
                    <a:gd name="T26" fmla="*/ 18 w 46"/>
                    <a:gd name="T27" fmla="*/ 7 h 76"/>
                    <a:gd name="T28" fmla="*/ 15 w 46"/>
                    <a:gd name="T29" fmla="*/ 28 h 76"/>
                    <a:gd name="T30" fmla="*/ 6 w 46"/>
                    <a:gd name="T31" fmla="*/ 21 h 76"/>
                    <a:gd name="T32" fmla="*/ 15 w 46"/>
                    <a:gd name="T33" fmla="*/ 25 h 76"/>
                    <a:gd name="T34" fmla="*/ 15 w 46"/>
                    <a:gd name="T35" fmla="*/ 18 h 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76">
                      <a:moveTo>
                        <a:pt x="38" y="50"/>
                      </a:moveTo>
                      <a:lnTo>
                        <a:pt x="38" y="38"/>
                      </a:lnTo>
                      <a:lnTo>
                        <a:pt x="22" y="46"/>
                      </a:lnTo>
                      <a:lnTo>
                        <a:pt x="34" y="30"/>
                      </a:lnTo>
                      <a:lnTo>
                        <a:pt x="18" y="30"/>
                      </a:lnTo>
                      <a:lnTo>
                        <a:pt x="14" y="14"/>
                      </a:lnTo>
                      <a:lnTo>
                        <a:pt x="0" y="12"/>
                      </a:lnTo>
                      <a:lnTo>
                        <a:pt x="10" y="12"/>
                      </a:lnTo>
                      <a:lnTo>
                        <a:pt x="10" y="0"/>
                      </a:lnTo>
                      <a:lnTo>
                        <a:pt x="22" y="22"/>
                      </a:lnTo>
                      <a:lnTo>
                        <a:pt x="34" y="22"/>
                      </a:lnTo>
                      <a:lnTo>
                        <a:pt x="38" y="34"/>
                      </a:lnTo>
                      <a:lnTo>
                        <a:pt x="38" y="14"/>
                      </a:lnTo>
                      <a:lnTo>
                        <a:pt x="46" y="18"/>
                      </a:lnTo>
                      <a:lnTo>
                        <a:pt x="38" y="76"/>
                      </a:lnTo>
                      <a:lnTo>
                        <a:pt x="14" y="58"/>
                      </a:lnTo>
                      <a:lnTo>
                        <a:pt x="38" y="68"/>
                      </a:lnTo>
                      <a:lnTo>
                        <a:pt x="38" y="5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19" name="vMap : Sierra Leone">
                  <a:extLst>
                    <a:ext uri="{FF2B5EF4-FFF2-40B4-BE49-F238E27FC236}">
                      <a16:creationId xmlns:a16="http://schemas.microsoft.com/office/drawing/2014/main" xmlns="" id="{EA67E42C-0A9D-9F4A-BE4D-3EFF964385D2}"/>
                    </a:ext>
                  </a:extLst>
                </p:cNvPr>
                <p:cNvSpPr>
                  <a:spLocks noChangeAspect="1"/>
                </p:cNvSpPr>
                <p:nvPr>
                  <p:custDataLst>
                    <p:tags r:id="rId128"/>
                  </p:custDataLst>
                </p:nvPr>
              </p:nvSpPr>
              <p:spPr bwMode="gray">
                <a:xfrm>
                  <a:off x="3775414" y="3966984"/>
                  <a:ext cx="63894" cy="80860"/>
                </a:xfrm>
                <a:custGeom>
                  <a:avLst/>
                  <a:gdLst>
                    <a:gd name="T0" fmla="*/ 0 w 70"/>
                    <a:gd name="T1" fmla="*/ 10 h 86"/>
                    <a:gd name="T2" fmla="*/ 3 w 70"/>
                    <a:gd name="T3" fmla="*/ 21 h 86"/>
                    <a:gd name="T4" fmla="*/ 16 w 70"/>
                    <a:gd name="T5" fmla="*/ 31 h 86"/>
                    <a:gd name="T6" fmla="*/ 25 w 70"/>
                    <a:gd name="T7" fmla="*/ 17 h 86"/>
                    <a:gd name="T8" fmla="*/ 22 w 70"/>
                    <a:gd name="T9" fmla="*/ 17 h 86"/>
                    <a:gd name="T10" fmla="*/ 24 w 70"/>
                    <a:gd name="T11" fmla="*/ 11 h 86"/>
                    <a:gd name="T12" fmla="*/ 18 w 70"/>
                    <a:gd name="T13" fmla="*/ 0 h 86"/>
                    <a:gd name="T14" fmla="*/ 7 w 70"/>
                    <a:gd name="T15" fmla="*/ 1 h 86"/>
                    <a:gd name="T16" fmla="*/ 0 w 70"/>
                    <a:gd name="T17" fmla="*/ 10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0" h="86">
                      <a:moveTo>
                        <a:pt x="0" y="28"/>
                      </a:moveTo>
                      <a:lnTo>
                        <a:pt x="8" y="58"/>
                      </a:lnTo>
                      <a:lnTo>
                        <a:pt x="44" y="86"/>
                      </a:lnTo>
                      <a:lnTo>
                        <a:pt x="70" y="46"/>
                      </a:lnTo>
                      <a:lnTo>
                        <a:pt x="62" y="46"/>
                      </a:lnTo>
                      <a:lnTo>
                        <a:pt x="66" y="32"/>
                      </a:lnTo>
                      <a:lnTo>
                        <a:pt x="50" y="0"/>
                      </a:lnTo>
                      <a:lnTo>
                        <a:pt x="20" y="4"/>
                      </a:lnTo>
                      <a:lnTo>
                        <a:pt x="0" y="2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0" name="vMap : Equatorial Guinea">
                  <a:extLst>
                    <a:ext uri="{FF2B5EF4-FFF2-40B4-BE49-F238E27FC236}">
                      <a16:creationId xmlns:a16="http://schemas.microsoft.com/office/drawing/2014/main" xmlns="" id="{2988020C-677C-BB49-BE1C-68C4C51D7D7B}"/>
                    </a:ext>
                  </a:extLst>
                </p:cNvPr>
                <p:cNvSpPr>
                  <a:spLocks noChangeAspect="1"/>
                </p:cNvSpPr>
                <p:nvPr>
                  <p:custDataLst>
                    <p:tags r:id="rId129"/>
                  </p:custDataLst>
                </p:nvPr>
              </p:nvSpPr>
              <p:spPr bwMode="gray">
                <a:xfrm>
                  <a:off x="4285043" y="4170689"/>
                  <a:ext cx="44118" cy="32655"/>
                </a:xfrm>
                <a:custGeom>
                  <a:avLst/>
                  <a:gdLst>
                    <a:gd name="T0" fmla="*/ 18 w 46"/>
                    <a:gd name="T1" fmla="*/ 0 h 34"/>
                    <a:gd name="T2" fmla="*/ 3 w 46"/>
                    <a:gd name="T3" fmla="*/ 1 h 34"/>
                    <a:gd name="T4" fmla="*/ 0 w 46"/>
                    <a:gd name="T5" fmla="*/ 12 h 34"/>
                    <a:gd name="T6" fmla="*/ 2 w 46"/>
                    <a:gd name="T7" fmla="*/ 13 h 34"/>
                    <a:gd name="T8" fmla="*/ 18 w 46"/>
                    <a:gd name="T9" fmla="*/ 13 h 34"/>
                    <a:gd name="T10" fmla="*/ 18 w 46"/>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4">
                      <a:moveTo>
                        <a:pt x="46" y="0"/>
                      </a:moveTo>
                      <a:lnTo>
                        <a:pt x="8" y="4"/>
                      </a:lnTo>
                      <a:lnTo>
                        <a:pt x="0" y="30"/>
                      </a:lnTo>
                      <a:lnTo>
                        <a:pt x="4" y="34"/>
                      </a:lnTo>
                      <a:lnTo>
                        <a:pt x="46" y="34"/>
                      </a:lnTo>
                      <a:lnTo>
                        <a:pt x="46"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1" name="vMap : Cameroon">
                  <a:extLst>
                    <a:ext uri="{FF2B5EF4-FFF2-40B4-BE49-F238E27FC236}">
                      <a16:creationId xmlns:a16="http://schemas.microsoft.com/office/drawing/2014/main" xmlns="" id="{FF943389-6F31-DD4C-9C93-AE1DB4F35835}"/>
                    </a:ext>
                  </a:extLst>
                </p:cNvPr>
                <p:cNvSpPr>
                  <a:spLocks noChangeAspect="1"/>
                </p:cNvSpPr>
                <p:nvPr>
                  <p:custDataLst>
                    <p:tags r:id="rId130"/>
                  </p:custDataLst>
                </p:nvPr>
              </p:nvSpPr>
              <p:spPr bwMode="gray">
                <a:xfrm>
                  <a:off x="4265267" y="3895454"/>
                  <a:ext cx="174948" cy="292340"/>
                </a:xfrm>
                <a:custGeom>
                  <a:avLst/>
                  <a:gdLst>
                    <a:gd name="T0" fmla="*/ 53 w 188"/>
                    <a:gd name="T1" fmla="*/ 3 h 309"/>
                    <a:gd name="T2" fmla="*/ 54 w 188"/>
                    <a:gd name="T3" fmla="*/ 11 h 309"/>
                    <a:gd name="T4" fmla="*/ 46 w 188"/>
                    <a:gd name="T5" fmla="*/ 18 h 309"/>
                    <a:gd name="T6" fmla="*/ 40 w 188"/>
                    <a:gd name="T7" fmla="*/ 40 h 309"/>
                    <a:gd name="T8" fmla="*/ 36 w 188"/>
                    <a:gd name="T9" fmla="*/ 44 h 309"/>
                    <a:gd name="T10" fmla="*/ 28 w 188"/>
                    <a:gd name="T11" fmla="*/ 64 h 309"/>
                    <a:gd name="T12" fmla="*/ 20 w 188"/>
                    <a:gd name="T13" fmla="*/ 60 h 309"/>
                    <a:gd name="T14" fmla="*/ 10 w 188"/>
                    <a:gd name="T15" fmla="*/ 61 h 309"/>
                    <a:gd name="T16" fmla="*/ 0 w 188"/>
                    <a:gd name="T17" fmla="*/ 82 h 309"/>
                    <a:gd name="T18" fmla="*/ 6 w 188"/>
                    <a:gd name="T19" fmla="*/ 89 h 309"/>
                    <a:gd name="T20" fmla="*/ 12 w 188"/>
                    <a:gd name="T21" fmla="*/ 91 h 309"/>
                    <a:gd name="T22" fmla="*/ 15 w 188"/>
                    <a:gd name="T23" fmla="*/ 97 h 309"/>
                    <a:gd name="T24" fmla="*/ 12 w 188"/>
                    <a:gd name="T25" fmla="*/ 109 h 309"/>
                    <a:gd name="T26" fmla="*/ 26 w 188"/>
                    <a:gd name="T27" fmla="*/ 108 h 309"/>
                    <a:gd name="T28" fmla="*/ 45 w 188"/>
                    <a:gd name="T29" fmla="*/ 109 h 309"/>
                    <a:gd name="T30" fmla="*/ 58 w 188"/>
                    <a:gd name="T31" fmla="*/ 109 h 309"/>
                    <a:gd name="T32" fmla="*/ 70 w 188"/>
                    <a:gd name="T33" fmla="*/ 114 h 309"/>
                    <a:gd name="T34" fmla="*/ 70 w 188"/>
                    <a:gd name="T35" fmla="*/ 102 h 309"/>
                    <a:gd name="T36" fmla="*/ 64 w 188"/>
                    <a:gd name="T37" fmla="*/ 95 h 309"/>
                    <a:gd name="T38" fmla="*/ 56 w 188"/>
                    <a:gd name="T39" fmla="*/ 81 h 309"/>
                    <a:gd name="T40" fmla="*/ 56 w 188"/>
                    <a:gd name="T41" fmla="*/ 71 h 309"/>
                    <a:gd name="T42" fmla="*/ 64 w 188"/>
                    <a:gd name="T43" fmla="*/ 55 h 309"/>
                    <a:gd name="T44" fmla="*/ 61 w 188"/>
                    <a:gd name="T45" fmla="*/ 43 h 309"/>
                    <a:gd name="T46" fmla="*/ 53 w 188"/>
                    <a:gd name="T47" fmla="*/ 33 h 309"/>
                    <a:gd name="T48" fmla="*/ 53 w 188"/>
                    <a:gd name="T49" fmla="*/ 28 h 309"/>
                    <a:gd name="T50" fmla="*/ 64 w 188"/>
                    <a:gd name="T51" fmla="*/ 28 h 309"/>
                    <a:gd name="T52" fmla="*/ 58 w 188"/>
                    <a:gd name="T53" fmla="*/ 18 h 309"/>
                    <a:gd name="T54" fmla="*/ 56 w 188"/>
                    <a:gd name="T55" fmla="*/ 0 h 309"/>
                    <a:gd name="T56" fmla="*/ 53 w 188"/>
                    <a:gd name="T57" fmla="*/ 3 h 30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8" h="309">
                      <a:moveTo>
                        <a:pt x="140" y="8"/>
                      </a:moveTo>
                      <a:lnTo>
                        <a:pt x="146" y="30"/>
                      </a:lnTo>
                      <a:lnTo>
                        <a:pt x="124" y="50"/>
                      </a:lnTo>
                      <a:lnTo>
                        <a:pt x="108" y="108"/>
                      </a:lnTo>
                      <a:lnTo>
                        <a:pt x="96" y="118"/>
                      </a:lnTo>
                      <a:lnTo>
                        <a:pt x="74" y="172"/>
                      </a:lnTo>
                      <a:lnTo>
                        <a:pt x="54" y="162"/>
                      </a:lnTo>
                      <a:lnTo>
                        <a:pt x="28" y="166"/>
                      </a:lnTo>
                      <a:lnTo>
                        <a:pt x="0" y="222"/>
                      </a:lnTo>
                      <a:lnTo>
                        <a:pt x="16" y="241"/>
                      </a:lnTo>
                      <a:lnTo>
                        <a:pt x="32" y="245"/>
                      </a:lnTo>
                      <a:lnTo>
                        <a:pt x="40" y="263"/>
                      </a:lnTo>
                      <a:lnTo>
                        <a:pt x="32" y="295"/>
                      </a:lnTo>
                      <a:lnTo>
                        <a:pt x="70" y="291"/>
                      </a:lnTo>
                      <a:lnTo>
                        <a:pt x="120" y="295"/>
                      </a:lnTo>
                      <a:lnTo>
                        <a:pt x="154" y="295"/>
                      </a:lnTo>
                      <a:lnTo>
                        <a:pt x="186" y="309"/>
                      </a:lnTo>
                      <a:lnTo>
                        <a:pt x="188" y="275"/>
                      </a:lnTo>
                      <a:lnTo>
                        <a:pt x="170" y="257"/>
                      </a:lnTo>
                      <a:lnTo>
                        <a:pt x="150" y="218"/>
                      </a:lnTo>
                      <a:lnTo>
                        <a:pt x="150" y="192"/>
                      </a:lnTo>
                      <a:lnTo>
                        <a:pt x="170" y="150"/>
                      </a:lnTo>
                      <a:lnTo>
                        <a:pt x="162" y="116"/>
                      </a:lnTo>
                      <a:lnTo>
                        <a:pt x="140" y="88"/>
                      </a:lnTo>
                      <a:lnTo>
                        <a:pt x="142" y="76"/>
                      </a:lnTo>
                      <a:lnTo>
                        <a:pt x="170" y="76"/>
                      </a:lnTo>
                      <a:lnTo>
                        <a:pt x="154" y="50"/>
                      </a:lnTo>
                      <a:lnTo>
                        <a:pt x="150" y="0"/>
                      </a:lnTo>
                      <a:lnTo>
                        <a:pt x="140"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2" name="vMap : Gabon">
                  <a:extLst>
                    <a:ext uri="{FF2B5EF4-FFF2-40B4-BE49-F238E27FC236}">
                      <a16:creationId xmlns:a16="http://schemas.microsoft.com/office/drawing/2014/main" xmlns="" id="{AFF62158-3487-0D48-A0B2-35CAE57E99D2}"/>
                    </a:ext>
                  </a:extLst>
                </p:cNvPr>
                <p:cNvSpPr>
                  <a:spLocks noChangeAspect="1"/>
                </p:cNvSpPr>
                <p:nvPr>
                  <p:custDataLst>
                    <p:tags r:id="rId131"/>
                  </p:custDataLst>
                </p:nvPr>
              </p:nvSpPr>
              <p:spPr bwMode="gray">
                <a:xfrm>
                  <a:off x="4271352" y="4170689"/>
                  <a:ext cx="127788" cy="164830"/>
                </a:xfrm>
                <a:custGeom>
                  <a:avLst/>
                  <a:gdLst>
                    <a:gd name="T0" fmla="*/ 41 w 138"/>
                    <a:gd name="T1" fmla="*/ 1 h 172"/>
                    <a:gd name="T2" fmla="*/ 23 w 138"/>
                    <a:gd name="T3" fmla="*/ 0 h 172"/>
                    <a:gd name="T4" fmla="*/ 23 w 138"/>
                    <a:gd name="T5" fmla="*/ 13 h 172"/>
                    <a:gd name="T6" fmla="*/ 7 w 138"/>
                    <a:gd name="T7" fmla="*/ 13 h 172"/>
                    <a:gd name="T8" fmla="*/ 6 w 138"/>
                    <a:gd name="T9" fmla="*/ 19 h 172"/>
                    <a:gd name="T10" fmla="*/ 10 w 138"/>
                    <a:gd name="T11" fmla="*/ 22 h 172"/>
                    <a:gd name="T12" fmla="*/ 4 w 138"/>
                    <a:gd name="T13" fmla="*/ 22 h 172"/>
                    <a:gd name="T14" fmla="*/ 4 w 138"/>
                    <a:gd name="T15" fmla="*/ 27 h 172"/>
                    <a:gd name="T16" fmla="*/ 0 w 138"/>
                    <a:gd name="T17" fmla="*/ 32 h 172"/>
                    <a:gd name="T18" fmla="*/ 4 w 138"/>
                    <a:gd name="T19" fmla="*/ 43 h 172"/>
                    <a:gd name="T20" fmla="*/ 21 w 138"/>
                    <a:gd name="T21" fmla="*/ 65 h 172"/>
                    <a:gd name="T22" fmla="*/ 27 w 138"/>
                    <a:gd name="T23" fmla="*/ 60 h 172"/>
                    <a:gd name="T24" fmla="*/ 27 w 138"/>
                    <a:gd name="T25" fmla="*/ 51 h 172"/>
                    <a:gd name="T26" fmla="*/ 35 w 138"/>
                    <a:gd name="T27" fmla="*/ 43 h 172"/>
                    <a:gd name="T28" fmla="*/ 49 w 138"/>
                    <a:gd name="T29" fmla="*/ 48 h 172"/>
                    <a:gd name="T30" fmla="*/ 50 w 138"/>
                    <a:gd name="T31" fmla="*/ 32 h 172"/>
                    <a:gd name="T32" fmla="*/ 47 w 138"/>
                    <a:gd name="T33" fmla="*/ 20 h 172"/>
                    <a:gd name="T34" fmla="*/ 51 w 138"/>
                    <a:gd name="T35" fmla="*/ 11 h 172"/>
                    <a:gd name="T36" fmla="*/ 44 w 138"/>
                    <a:gd name="T37" fmla="*/ 7 h 172"/>
                    <a:gd name="T38" fmla="*/ 40 w 138"/>
                    <a:gd name="T39" fmla="*/ 11 h 172"/>
                    <a:gd name="T40" fmla="*/ 41 w 138"/>
                    <a:gd name="T41" fmla="*/ 1 h 1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8" h="172">
                      <a:moveTo>
                        <a:pt x="112" y="4"/>
                      </a:moveTo>
                      <a:lnTo>
                        <a:pt x="62" y="0"/>
                      </a:lnTo>
                      <a:lnTo>
                        <a:pt x="62" y="34"/>
                      </a:lnTo>
                      <a:lnTo>
                        <a:pt x="20" y="34"/>
                      </a:lnTo>
                      <a:lnTo>
                        <a:pt x="16" y="50"/>
                      </a:lnTo>
                      <a:lnTo>
                        <a:pt x="28" y="58"/>
                      </a:lnTo>
                      <a:lnTo>
                        <a:pt x="12" y="58"/>
                      </a:lnTo>
                      <a:lnTo>
                        <a:pt x="12" y="72"/>
                      </a:lnTo>
                      <a:lnTo>
                        <a:pt x="0" y="84"/>
                      </a:lnTo>
                      <a:lnTo>
                        <a:pt x="12" y="114"/>
                      </a:lnTo>
                      <a:lnTo>
                        <a:pt x="58" y="172"/>
                      </a:lnTo>
                      <a:lnTo>
                        <a:pt x="74" y="158"/>
                      </a:lnTo>
                      <a:lnTo>
                        <a:pt x="74" y="134"/>
                      </a:lnTo>
                      <a:lnTo>
                        <a:pt x="96" y="114"/>
                      </a:lnTo>
                      <a:lnTo>
                        <a:pt x="132" y="126"/>
                      </a:lnTo>
                      <a:lnTo>
                        <a:pt x="134" y="84"/>
                      </a:lnTo>
                      <a:lnTo>
                        <a:pt x="128" y="54"/>
                      </a:lnTo>
                      <a:lnTo>
                        <a:pt x="138" y="30"/>
                      </a:lnTo>
                      <a:lnTo>
                        <a:pt x="120" y="18"/>
                      </a:lnTo>
                      <a:lnTo>
                        <a:pt x="108" y="30"/>
                      </a:lnTo>
                      <a:lnTo>
                        <a:pt x="112" y="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3" name="vMap : Nigeria">
                  <a:extLst>
                    <a:ext uri="{FF2B5EF4-FFF2-40B4-BE49-F238E27FC236}">
                      <a16:creationId xmlns:a16="http://schemas.microsoft.com/office/drawing/2014/main" xmlns="" id="{2E85B505-3A4D-A141-9381-77263081B01F}"/>
                    </a:ext>
                  </a:extLst>
                </p:cNvPr>
                <p:cNvSpPr>
                  <a:spLocks noChangeAspect="1"/>
                </p:cNvSpPr>
                <p:nvPr>
                  <p:custDataLst>
                    <p:tags r:id="rId132"/>
                  </p:custDataLst>
                </p:nvPr>
              </p:nvSpPr>
              <p:spPr bwMode="gray">
                <a:xfrm>
                  <a:off x="4139000" y="3865909"/>
                  <a:ext cx="260140" cy="255020"/>
                </a:xfrm>
                <a:custGeom>
                  <a:avLst/>
                  <a:gdLst>
                    <a:gd name="T0" fmla="*/ 19 w 279"/>
                    <a:gd name="T1" fmla="*/ 84 h 267"/>
                    <a:gd name="T2" fmla="*/ 13 w 279"/>
                    <a:gd name="T3" fmla="*/ 79 h 267"/>
                    <a:gd name="T4" fmla="*/ 0 w 279"/>
                    <a:gd name="T5" fmla="*/ 79 h 267"/>
                    <a:gd name="T6" fmla="*/ 0 w 279"/>
                    <a:gd name="T7" fmla="*/ 56 h 267"/>
                    <a:gd name="T8" fmla="*/ 9 w 279"/>
                    <a:gd name="T9" fmla="*/ 36 h 267"/>
                    <a:gd name="T10" fmla="*/ 7 w 279"/>
                    <a:gd name="T11" fmla="*/ 23 h 267"/>
                    <a:gd name="T12" fmla="*/ 7 w 279"/>
                    <a:gd name="T13" fmla="*/ 14 h 267"/>
                    <a:gd name="T14" fmla="*/ 12 w 279"/>
                    <a:gd name="T15" fmla="*/ 4 h 267"/>
                    <a:gd name="T16" fmla="*/ 17 w 279"/>
                    <a:gd name="T17" fmla="*/ 1 h 267"/>
                    <a:gd name="T18" fmla="*/ 26 w 279"/>
                    <a:gd name="T19" fmla="*/ 1 h 267"/>
                    <a:gd name="T20" fmla="*/ 37 w 279"/>
                    <a:gd name="T21" fmla="*/ 10 h 267"/>
                    <a:gd name="T22" fmla="*/ 46 w 279"/>
                    <a:gd name="T23" fmla="*/ 6 h 267"/>
                    <a:gd name="T24" fmla="*/ 59 w 279"/>
                    <a:gd name="T25" fmla="*/ 11 h 267"/>
                    <a:gd name="T26" fmla="*/ 67 w 279"/>
                    <a:gd name="T27" fmla="*/ 6 h 267"/>
                    <a:gd name="T28" fmla="*/ 86 w 279"/>
                    <a:gd name="T29" fmla="*/ 7 h 267"/>
                    <a:gd name="T30" fmla="*/ 94 w 279"/>
                    <a:gd name="T31" fmla="*/ 0 h 267"/>
                    <a:gd name="T32" fmla="*/ 102 w 279"/>
                    <a:gd name="T33" fmla="*/ 14 h 267"/>
                    <a:gd name="T34" fmla="*/ 105 w 279"/>
                    <a:gd name="T35" fmla="*/ 23 h 267"/>
                    <a:gd name="T36" fmla="*/ 97 w 279"/>
                    <a:gd name="T37" fmla="*/ 30 h 267"/>
                    <a:gd name="T38" fmla="*/ 91 w 279"/>
                    <a:gd name="T39" fmla="*/ 52 h 267"/>
                    <a:gd name="T40" fmla="*/ 86 w 279"/>
                    <a:gd name="T41" fmla="*/ 56 h 267"/>
                    <a:gd name="T42" fmla="*/ 78 w 279"/>
                    <a:gd name="T43" fmla="*/ 76 h 267"/>
                    <a:gd name="T44" fmla="*/ 70 w 279"/>
                    <a:gd name="T45" fmla="*/ 72 h 267"/>
                    <a:gd name="T46" fmla="*/ 61 w 279"/>
                    <a:gd name="T47" fmla="*/ 74 h 267"/>
                    <a:gd name="T48" fmla="*/ 50 w 279"/>
                    <a:gd name="T49" fmla="*/ 95 h 267"/>
                    <a:gd name="T50" fmla="*/ 31 w 279"/>
                    <a:gd name="T51" fmla="*/ 101 h 267"/>
                    <a:gd name="T52" fmla="*/ 23 w 279"/>
                    <a:gd name="T53" fmla="*/ 95 h 267"/>
                    <a:gd name="T54" fmla="*/ 23 w 279"/>
                    <a:gd name="T55" fmla="*/ 88 h 267"/>
                    <a:gd name="T56" fmla="*/ 19 w 279"/>
                    <a:gd name="T57" fmla="*/ 84 h 26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79" h="267">
                      <a:moveTo>
                        <a:pt x="50" y="222"/>
                      </a:moveTo>
                      <a:lnTo>
                        <a:pt x="36" y="210"/>
                      </a:lnTo>
                      <a:lnTo>
                        <a:pt x="0" y="210"/>
                      </a:lnTo>
                      <a:lnTo>
                        <a:pt x="0" y="148"/>
                      </a:lnTo>
                      <a:lnTo>
                        <a:pt x="24" y="96"/>
                      </a:lnTo>
                      <a:lnTo>
                        <a:pt x="20" y="60"/>
                      </a:lnTo>
                      <a:lnTo>
                        <a:pt x="20" y="38"/>
                      </a:lnTo>
                      <a:lnTo>
                        <a:pt x="32" y="10"/>
                      </a:lnTo>
                      <a:lnTo>
                        <a:pt x="46" y="4"/>
                      </a:lnTo>
                      <a:lnTo>
                        <a:pt x="70" y="4"/>
                      </a:lnTo>
                      <a:lnTo>
                        <a:pt x="99" y="26"/>
                      </a:lnTo>
                      <a:lnTo>
                        <a:pt x="123" y="14"/>
                      </a:lnTo>
                      <a:lnTo>
                        <a:pt x="157" y="30"/>
                      </a:lnTo>
                      <a:lnTo>
                        <a:pt x="179" y="14"/>
                      </a:lnTo>
                      <a:lnTo>
                        <a:pt x="229" y="18"/>
                      </a:lnTo>
                      <a:lnTo>
                        <a:pt x="249" y="0"/>
                      </a:lnTo>
                      <a:lnTo>
                        <a:pt x="273" y="38"/>
                      </a:lnTo>
                      <a:lnTo>
                        <a:pt x="279" y="60"/>
                      </a:lnTo>
                      <a:lnTo>
                        <a:pt x="257" y="80"/>
                      </a:lnTo>
                      <a:lnTo>
                        <a:pt x="241" y="138"/>
                      </a:lnTo>
                      <a:lnTo>
                        <a:pt x="229" y="148"/>
                      </a:lnTo>
                      <a:lnTo>
                        <a:pt x="207" y="202"/>
                      </a:lnTo>
                      <a:lnTo>
                        <a:pt x="187" y="192"/>
                      </a:lnTo>
                      <a:lnTo>
                        <a:pt x="161" y="196"/>
                      </a:lnTo>
                      <a:lnTo>
                        <a:pt x="133" y="252"/>
                      </a:lnTo>
                      <a:lnTo>
                        <a:pt x="82" y="267"/>
                      </a:lnTo>
                      <a:lnTo>
                        <a:pt x="62" y="252"/>
                      </a:lnTo>
                      <a:lnTo>
                        <a:pt x="62" y="234"/>
                      </a:lnTo>
                      <a:lnTo>
                        <a:pt x="50" y="22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4" name="vMap : Congo">
                  <a:extLst>
                    <a:ext uri="{FF2B5EF4-FFF2-40B4-BE49-F238E27FC236}">
                      <a16:creationId xmlns:a16="http://schemas.microsoft.com/office/drawing/2014/main" xmlns="" id="{FFC325D0-D621-FE4A-859C-AF7A56626540}"/>
                    </a:ext>
                  </a:extLst>
                </p:cNvPr>
                <p:cNvSpPr>
                  <a:spLocks noChangeAspect="1"/>
                </p:cNvSpPr>
                <p:nvPr>
                  <p:custDataLst>
                    <p:tags r:id="rId133"/>
                  </p:custDataLst>
                </p:nvPr>
              </p:nvSpPr>
              <p:spPr bwMode="gray">
                <a:xfrm>
                  <a:off x="4326118" y="4134924"/>
                  <a:ext cx="171905" cy="231695"/>
                </a:xfrm>
                <a:custGeom>
                  <a:avLst/>
                  <a:gdLst>
                    <a:gd name="T0" fmla="*/ 70 w 183"/>
                    <a:gd name="T1" fmla="*/ 0 h 242"/>
                    <a:gd name="T2" fmla="*/ 64 w 183"/>
                    <a:gd name="T3" fmla="*/ 2 h 242"/>
                    <a:gd name="T4" fmla="*/ 56 w 183"/>
                    <a:gd name="T5" fmla="*/ 0 h 242"/>
                    <a:gd name="T6" fmla="*/ 46 w 183"/>
                    <a:gd name="T7" fmla="*/ 9 h 242"/>
                    <a:gd name="T8" fmla="*/ 46 w 183"/>
                    <a:gd name="T9" fmla="*/ 21 h 242"/>
                    <a:gd name="T10" fmla="*/ 33 w 183"/>
                    <a:gd name="T11" fmla="*/ 16 h 242"/>
                    <a:gd name="T12" fmla="*/ 20 w 183"/>
                    <a:gd name="T13" fmla="*/ 16 h 242"/>
                    <a:gd name="T14" fmla="*/ 19 w 183"/>
                    <a:gd name="T15" fmla="*/ 26 h 242"/>
                    <a:gd name="T16" fmla="*/ 23 w 183"/>
                    <a:gd name="T17" fmla="*/ 21 h 242"/>
                    <a:gd name="T18" fmla="*/ 30 w 183"/>
                    <a:gd name="T19" fmla="*/ 26 h 242"/>
                    <a:gd name="T20" fmla="*/ 27 w 183"/>
                    <a:gd name="T21" fmla="*/ 35 h 242"/>
                    <a:gd name="T22" fmla="*/ 29 w 183"/>
                    <a:gd name="T23" fmla="*/ 46 h 242"/>
                    <a:gd name="T24" fmla="*/ 28 w 183"/>
                    <a:gd name="T25" fmla="*/ 62 h 242"/>
                    <a:gd name="T26" fmla="*/ 14 w 183"/>
                    <a:gd name="T27" fmla="*/ 58 h 242"/>
                    <a:gd name="T28" fmla="*/ 6 w 183"/>
                    <a:gd name="T29" fmla="*/ 65 h 242"/>
                    <a:gd name="T30" fmla="*/ 6 w 183"/>
                    <a:gd name="T31" fmla="*/ 75 h 242"/>
                    <a:gd name="T32" fmla="*/ 0 w 183"/>
                    <a:gd name="T33" fmla="*/ 79 h 242"/>
                    <a:gd name="T34" fmla="*/ 9 w 183"/>
                    <a:gd name="T35" fmla="*/ 92 h 242"/>
                    <a:gd name="T36" fmla="*/ 16 w 183"/>
                    <a:gd name="T37" fmla="*/ 84 h 242"/>
                    <a:gd name="T38" fmla="*/ 17 w 183"/>
                    <a:gd name="T39" fmla="*/ 87 h 242"/>
                    <a:gd name="T40" fmla="*/ 23 w 183"/>
                    <a:gd name="T41" fmla="*/ 89 h 242"/>
                    <a:gd name="T42" fmla="*/ 29 w 183"/>
                    <a:gd name="T43" fmla="*/ 84 h 242"/>
                    <a:gd name="T44" fmla="*/ 32 w 183"/>
                    <a:gd name="T45" fmla="*/ 89 h 242"/>
                    <a:gd name="T46" fmla="*/ 46 w 183"/>
                    <a:gd name="T47" fmla="*/ 78 h 242"/>
                    <a:gd name="T48" fmla="*/ 48 w 183"/>
                    <a:gd name="T49" fmla="*/ 61 h 242"/>
                    <a:gd name="T50" fmla="*/ 61 w 183"/>
                    <a:gd name="T51" fmla="*/ 46 h 242"/>
                    <a:gd name="T52" fmla="*/ 70 w 183"/>
                    <a:gd name="T53" fmla="*/ 0 h 2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83" h="242">
                      <a:moveTo>
                        <a:pt x="183" y="0"/>
                      </a:moveTo>
                      <a:lnTo>
                        <a:pt x="167" y="6"/>
                      </a:lnTo>
                      <a:lnTo>
                        <a:pt x="145" y="0"/>
                      </a:lnTo>
                      <a:lnTo>
                        <a:pt x="122" y="22"/>
                      </a:lnTo>
                      <a:lnTo>
                        <a:pt x="120" y="56"/>
                      </a:lnTo>
                      <a:lnTo>
                        <a:pt x="88" y="42"/>
                      </a:lnTo>
                      <a:lnTo>
                        <a:pt x="54" y="42"/>
                      </a:lnTo>
                      <a:lnTo>
                        <a:pt x="50" y="68"/>
                      </a:lnTo>
                      <a:lnTo>
                        <a:pt x="62" y="56"/>
                      </a:lnTo>
                      <a:lnTo>
                        <a:pt x="80" y="68"/>
                      </a:lnTo>
                      <a:lnTo>
                        <a:pt x="70" y="92"/>
                      </a:lnTo>
                      <a:lnTo>
                        <a:pt x="76" y="122"/>
                      </a:lnTo>
                      <a:lnTo>
                        <a:pt x="74" y="164"/>
                      </a:lnTo>
                      <a:lnTo>
                        <a:pt x="38" y="152"/>
                      </a:lnTo>
                      <a:lnTo>
                        <a:pt x="16" y="172"/>
                      </a:lnTo>
                      <a:lnTo>
                        <a:pt x="16" y="196"/>
                      </a:lnTo>
                      <a:lnTo>
                        <a:pt x="0" y="210"/>
                      </a:lnTo>
                      <a:lnTo>
                        <a:pt x="24" y="242"/>
                      </a:lnTo>
                      <a:lnTo>
                        <a:pt x="42" y="222"/>
                      </a:lnTo>
                      <a:lnTo>
                        <a:pt x="46" y="230"/>
                      </a:lnTo>
                      <a:lnTo>
                        <a:pt x="62" y="234"/>
                      </a:lnTo>
                      <a:lnTo>
                        <a:pt x="76" y="222"/>
                      </a:lnTo>
                      <a:lnTo>
                        <a:pt x="84" y="234"/>
                      </a:lnTo>
                      <a:lnTo>
                        <a:pt x="120" y="206"/>
                      </a:lnTo>
                      <a:lnTo>
                        <a:pt x="126" y="160"/>
                      </a:lnTo>
                      <a:lnTo>
                        <a:pt x="161" y="122"/>
                      </a:lnTo>
                      <a:lnTo>
                        <a:pt x="183"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5" name="vMap : Angola">
                  <a:extLst>
                    <a:ext uri="{FF2B5EF4-FFF2-40B4-BE49-F238E27FC236}">
                      <a16:creationId xmlns:a16="http://schemas.microsoft.com/office/drawing/2014/main" xmlns="" id="{0F1139F2-4E9E-F148-9059-8EAAAB56BCEF}"/>
                    </a:ext>
                  </a:extLst>
                </p:cNvPr>
                <p:cNvSpPr>
                  <a:spLocks noChangeAspect="1"/>
                </p:cNvSpPr>
                <p:nvPr>
                  <p:custDataLst>
                    <p:tags r:id="rId134"/>
                  </p:custDataLst>
                </p:nvPr>
              </p:nvSpPr>
              <p:spPr bwMode="gray">
                <a:xfrm>
                  <a:off x="4336767" y="4383725"/>
                  <a:ext cx="284480" cy="323440"/>
                </a:xfrm>
                <a:custGeom>
                  <a:avLst/>
                  <a:gdLst>
                    <a:gd name="T0" fmla="*/ 0 w 305"/>
                    <a:gd name="T1" fmla="*/ 120 h 341"/>
                    <a:gd name="T2" fmla="*/ 7 w 305"/>
                    <a:gd name="T3" fmla="*/ 82 h 341"/>
                    <a:gd name="T4" fmla="*/ 19 w 305"/>
                    <a:gd name="T5" fmla="*/ 67 h 341"/>
                    <a:gd name="T6" fmla="*/ 20 w 305"/>
                    <a:gd name="T7" fmla="*/ 54 h 341"/>
                    <a:gd name="T8" fmla="*/ 14 w 305"/>
                    <a:gd name="T9" fmla="*/ 36 h 341"/>
                    <a:gd name="T10" fmla="*/ 16 w 305"/>
                    <a:gd name="T11" fmla="*/ 26 h 341"/>
                    <a:gd name="T12" fmla="*/ 7 w 305"/>
                    <a:gd name="T13" fmla="*/ 6 h 341"/>
                    <a:gd name="T14" fmla="*/ 16 w 305"/>
                    <a:gd name="T15" fmla="*/ 1 h 341"/>
                    <a:gd name="T16" fmla="*/ 43 w 305"/>
                    <a:gd name="T17" fmla="*/ 0 h 341"/>
                    <a:gd name="T18" fmla="*/ 48 w 305"/>
                    <a:gd name="T19" fmla="*/ 16 h 341"/>
                    <a:gd name="T20" fmla="*/ 58 w 305"/>
                    <a:gd name="T21" fmla="*/ 24 h 341"/>
                    <a:gd name="T22" fmla="*/ 71 w 305"/>
                    <a:gd name="T23" fmla="*/ 23 h 341"/>
                    <a:gd name="T24" fmla="*/ 74 w 305"/>
                    <a:gd name="T25" fmla="*/ 13 h 341"/>
                    <a:gd name="T26" fmla="*/ 85 w 305"/>
                    <a:gd name="T27" fmla="*/ 11 h 341"/>
                    <a:gd name="T28" fmla="*/ 83 w 305"/>
                    <a:gd name="T29" fmla="*/ 16 h 341"/>
                    <a:gd name="T30" fmla="*/ 94 w 305"/>
                    <a:gd name="T31" fmla="*/ 18 h 341"/>
                    <a:gd name="T32" fmla="*/ 94 w 305"/>
                    <a:gd name="T33" fmla="*/ 37 h 341"/>
                    <a:gd name="T34" fmla="*/ 97 w 305"/>
                    <a:gd name="T35" fmla="*/ 48 h 341"/>
                    <a:gd name="T36" fmla="*/ 94 w 305"/>
                    <a:gd name="T37" fmla="*/ 56 h 341"/>
                    <a:gd name="T38" fmla="*/ 113 w 305"/>
                    <a:gd name="T39" fmla="*/ 51 h 341"/>
                    <a:gd name="T40" fmla="*/ 112 w 305"/>
                    <a:gd name="T41" fmla="*/ 73 h 341"/>
                    <a:gd name="T42" fmla="*/ 115 w 305"/>
                    <a:gd name="T43" fmla="*/ 74 h 341"/>
                    <a:gd name="T44" fmla="*/ 94 w 305"/>
                    <a:gd name="T45" fmla="*/ 74 h 341"/>
                    <a:gd name="T46" fmla="*/ 94 w 305"/>
                    <a:gd name="T47" fmla="*/ 111 h 341"/>
                    <a:gd name="T48" fmla="*/ 105 w 305"/>
                    <a:gd name="T49" fmla="*/ 121 h 341"/>
                    <a:gd name="T50" fmla="*/ 89 w 305"/>
                    <a:gd name="T51" fmla="*/ 127 h 341"/>
                    <a:gd name="T52" fmla="*/ 67 w 305"/>
                    <a:gd name="T53" fmla="*/ 124 h 341"/>
                    <a:gd name="T54" fmla="*/ 61 w 305"/>
                    <a:gd name="T55" fmla="*/ 118 h 341"/>
                    <a:gd name="T56" fmla="*/ 22 w 305"/>
                    <a:gd name="T57" fmla="*/ 120 h 341"/>
                    <a:gd name="T58" fmla="*/ 14 w 305"/>
                    <a:gd name="T59" fmla="*/ 114 h 341"/>
                    <a:gd name="T60" fmla="*/ 0 w 305"/>
                    <a:gd name="T61" fmla="*/ 120 h 34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05" h="341">
                      <a:moveTo>
                        <a:pt x="0" y="321"/>
                      </a:moveTo>
                      <a:lnTo>
                        <a:pt x="18" y="222"/>
                      </a:lnTo>
                      <a:lnTo>
                        <a:pt x="50" y="180"/>
                      </a:lnTo>
                      <a:lnTo>
                        <a:pt x="54" y="146"/>
                      </a:lnTo>
                      <a:lnTo>
                        <a:pt x="38" y="96"/>
                      </a:lnTo>
                      <a:lnTo>
                        <a:pt x="42" y="70"/>
                      </a:lnTo>
                      <a:lnTo>
                        <a:pt x="18" y="16"/>
                      </a:lnTo>
                      <a:lnTo>
                        <a:pt x="42" y="4"/>
                      </a:lnTo>
                      <a:lnTo>
                        <a:pt x="114" y="0"/>
                      </a:lnTo>
                      <a:lnTo>
                        <a:pt x="129" y="42"/>
                      </a:lnTo>
                      <a:lnTo>
                        <a:pt x="153" y="66"/>
                      </a:lnTo>
                      <a:lnTo>
                        <a:pt x="187" y="62"/>
                      </a:lnTo>
                      <a:lnTo>
                        <a:pt x="195" y="34"/>
                      </a:lnTo>
                      <a:lnTo>
                        <a:pt x="225" y="30"/>
                      </a:lnTo>
                      <a:lnTo>
                        <a:pt x="221" y="42"/>
                      </a:lnTo>
                      <a:lnTo>
                        <a:pt x="249" y="50"/>
                      </a:lnTo>
                      <a:lnTo>
                        <a:pt x="249" y="100"/>
                      </a:lnTo>
                      <a:lnTo>
                        <a:pt x="259" y="130"/>
                      </a:lnTo>
                      <a:lnTo>
                        <a:pt x="251" y="150"/>
                      </a:lnTo>
                      <a:lnTo>
                        <a:pt x="301" y="138"/>
                      </a:lnTo>
                      <a:lnTo>
                        <a:pt x="297" y="196"/>
                      </a:lnTo>
                      <a:lnTo>
                        <a:pt x="305" y="200"/>
                      </a:lnTo>
                      <a:lnTo>
                        <a:pt x="251" y="200"/>
                      </a:lnTo>
                      <a:lnTo>
                        <a:pt x="251" y="299"/>
                      </a:lnTo>
                      <a:lnTo>
                        <a:pt x="279" y="325"/>
                      </a:lnTo>
                      <a:lnTo>
                        <a:pt x="237" y="341"/>
                      </a:lnTo>
                      <a:lnTo>
                        <a:pt x="179" y="333"/>
                      </a:lnTo>
                      <a:lnTo>
                        <a:pt x="163" y="317"/>
                      </a:lnTo>
                      <a:lnTo>
                        <a:pt x="58" y="321"/>
                      </a:lnTo>
                      <a:lnTo>
                        <a:pt x="38" y="307"/>
                      </a:lnTo>
                      <a:lnTo>
                        <a:pt x="0" y="32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6" name="vMap : Botswana">
                  <a:extLst>
                    <a:ext uri="{FF2B5EF4-FFF2-40B4-BE49-F238E27FC236}">
                      <a16:creationId xmlns:a16="http://schemas.microsoft.com/office/drawing/2014/main" xmlns="" id="{E9307C1E-6F4C-134D-8B2F-987DE3B5D7FA}"/>
                    </a:ext>
                  </a:extLst>
                </p:cNvPr>
                <p:cNvSpPr>
                  <a:spLocks noChangeAspect="1"/>
                </p:cNvSpPr>
                <p:nvPr>
                  <p:custDataLst>
                    <p:tags r:id="rId135"/>
                  </p:custDataLst>
                </p:nvPr>
              </p:nvSpPr>
              <p:spPr bwMode="gray">
                <a:xfrm>
                  <a:off x="4522363" y="4700944"/>
                  <a:ext cx="211458" cy="233250"/>
                </a:xfrm>
                <a:custGeom>
                  <a:avLst/>
                  <a:gdLst>
                    <a:gd name="T0" fmla="*/ 86 w 225"/>
                    <a:gd name="T1" fmla="*/ 45 h 245"/>
                    <a:gd name="T2" fmla="*/ 69 w 225"/>
                    <a:gd name="T3" fmla="*/ 56 h 245"/>
                    <a:gd name="T4" fmla="*/ 49 w 225"/>
                    <a:gd name="T5" fmla="*/ 80 h 245"/>
                    <a:gd name="T6" fmla="*/ 30 w 225"/>
                    <a:gd name="T7" fmla="*/ 80 h 245"/>
                    <a:gd name="T8" fmla="*/ 19 w 225"/>
                    <a:gd name="T9" fmla="*/ 92 h 245"/>
                    <a:gd name="T10" fmla="*/ 6 w 225"/>
                    <a:gd name="T11" fmla="*/ 92 h 245"/>
                    <a:gd name="T12" fmla="*/ 7 w 225"/>
                    <a:gd name="T13" fmla="*/ 81 h 245"/>
                    <a:gd name="T14" fmla="*/ 0 w 225"/>
                    <a:gd name="T15" fmla="*/ 72 h 245"/>
                    <a:gd name="T16" fmla="*/ 0 w 225"/>
                    <a:gd name="T17" fmla="*/ 43 h 245"/>
                    <a:gd name="T18" fmla="*/ 9 w 225"/>
                    <a:gd name="T19" fmla="*/ 43 h 245"/>
                    <a:gd name="T20" fmla="*/ 9 w 225"/>
                    <a:gd name="T21" fmla="*/ 6 h 245"/>
                    <a:gd name="T22" fmla="*/ 27 w 225"/>
                    <a:gd name="T23" fmla="*/ 3 h 245"/>
                    <a:gd name="T24" fmla="*/ 32 w 225"/>
                    <a:gd name="T25" fmla="*/ 3 h 245"/>
                    <a:gd name="T26" fmla="*/ 33 w 225"/>
                    <a:gd name="T27" fmla="*/ 9 h 245"/>
                    <a:gd name="T28" fmla="*/ 48 w 225"/>
                    <a:gd name="T29" fmla="*/ 0 h 245"/>
                    <a:gd name="T30" fmla="*/ 56 w 225"/>
                    <a:gd name="T31" fmla="*/ 16 h 245"/>
                    <a:gd name="T32" fmla="*/ 72 w 225"/>
                    <a:gd name="T33" fmla="*/ 29 h 245"/>
                    <a:gd name="T34" fmla="*/ 73 w 225"/>
                    <a:gd name="T35" fmla="*/ 39 h 245"/>
                    <a:gd name="T36" fmla="*/ 86 w 225"/>
                    <a:gd name="T37" fmla="*/ 45 h 2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25" h="245">
                      <a:moveTo>
                        <a:pt x="225" y="120"/>
                      </a:moveTo>
                      <a:lnTo>
                        <a:pt x="179" y="150"/>
                      </a:lnTo>
                      <a:lnTo>
                        <a:pt x="130" y="212"/>
                      </a:lnTo>
                      <a:lnTo>
                        <a:pt x="80" y="212"/>
                      </a:lnTo>
                      <a:lnTo>
                        <a:pt x="50" y="245"/>
                      </a:lnTo>
                      <a:lnTo>
                        <a:pt x="14" y="245"/>
                      </a:lnTo>
                      <a:lnTo>
                        <a:pt x="18" y="216"/>
                      </a:lnTo>
                      <a:lnTo>
                        <a:pt x="0" y="192"/>
                      </a:lnTo>
                      <a:lnTo>
                        <a:pt x="0" y="116"/>
                      </a:lnTo>
                      <a:lnTo>
                        <a:pt x="22" y="116"/>
                      </a:lnTo>
                      <a:lnTo>
                        <a:pt x="22" y="16"/>
                      </a:lnTo>
                      <a:lnTo>
                        <a:pt x="72" y="8"/>
                      </a:lnTo>
                      <a:lnTo>
                        <a:pt x="84" y="8"/>
                      </a:lnTo>
                      <a:lnTo>
                        <a:pt x="88" y="24"/>
                      </a:lnTo>
                      <a:lnTo>
                        <a:pt x="126" y="0"/>
                      </a:lnTo>
                      <a:lnTo>
                        <a:pt x="148" y="42"/>
                      </a:lnTo>
                      <a:lnTo>
                        <a:pt x="187" y="76"/>
                      </a:lnTo>
                      <a:lnTo>
                        <a:pt x="191" y="104"/>
                      </a:lnTo>
                      <a:lnTo>
                        <a:pt x="225" y="12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7" name="vMap : Mozambique">
                  <a:extLst>
                    <a:ext uri="{FF2B5EF4-FFF2-40B4-BE49-F238E27FC236}">
                      <a16:creationId xmlns:a16="http://schemas.microsoft.com/office/drawing/2014/main" xmlns="" id="{53FB38F8-3232-1545-A48B-15A21647F7E7}"/>
                    </a:ext>
                  </a:extLst>
                </p:cNvPr>
                <p:cNvSpPr>
                  <a:spLocks noChangeAspect="1"/>
                </p:cNvSpPr>
                <p:nvPr>
                  <p:custDataLst>
                    <p:tags r:id="rId136"/>
                  </p:custDataLst>
                </p:nvPr>
              </p:nvSpPr>
              <p:spPr bwMode="gray">
                <a:xfrm>
                  <a:off x="4749035" y="4506570"/>
                  <a:ext cx="241884" cy="432290"/>
                </a:xfrm>
                <a:custGeom>
                  <a:avLst/>
                  <a:gdLst>
                    <a:gd name="T0" fmla="*/ 98 w 257"/>
                    <a:gd name="T1" fmla="*/ 0 h 452"/>
                    <a:gd name="T2" fmla="*/ 97 w 257"/>
                    <a:gd name="T3" fmla="*/ 54 h 452"/>
                    <a:gd name="T4" fmla="*/ 84 w 257"/>
                    <a:gd name="T5" fmla="*/ 68 h 452"/>
                    <a:gd name="T6" fmla="*/ 68 w 257"/>
                    <a:gd name="T7" fmla="*/ 75 h 452"/>
                    <a:gd name="T8" fmla="*/ 43 w 257"/>
                    <a:gd name="T9" fmla="*/ 99 h 452"/>
                    <a:gd name="T10" fmla="*/ 41 w 257"/>
                    <a:gd name="T11" fmla="*/ 106 h 452"/>
                    <a:gd name="T12" fmla="*/ 49 w 257"/>
                    <a:gd name="T13" fmla="*/ 124 h 452"/>
                    <a:gd name="T14" fmla="*/ 48 w 257"/>
                    <a:gd name="T15" fmla="*/ 143 h 452"/>
                    <a:gd name="T16" fmla="*/ 41 w 257"/>
                    <a:gd name="T17" fmla="*/ 151 h 452"/>
                    <a:gd name="T18" fmla="*/ 22 w 257"/>
                    <a:gd name="T19" fmla="*/ 159 h 452"/>
                    <a:gd name="T20" fmla="*/ 19 w 257"/>
                    <a:gd name="T21" fmla="*/ 162 h 452"/>
                    <a:gd name="T22" fmla="*/ 24 w 257"/>
                    <a:gd name="T23" fmla="*/ 164 h 452"/>
                    <a:gd name="T24" fmla="*/ 22 w 257"/>
                    <a:gd name="T25" fmla="*/ 171 h 452"/>
                    <a:gd name="T26" fmla="*/ 17 w 257"/>
                    <a:gd name="T27" fmla="*/ 170 h 452"/>
                    <a:gd name="T28" fmla="*/ 15 w 257"/>
                    <a:gd name="T29" fmla="*/ 160 h 452"/>
                    <a:gd name="T30" fmla="*/ 14 w 257"/>
                    <a:gd name="T31" fmla="*/ 126 h 452"/>
                    <a:gd name="T32" fmla="*/ 25 w 257"/>
                    <a:gd name="T33" fmla="*/ 100 h 452"/>
                    <a:gd name="T34" fmla="*/ 28 w 257"/>
                    <a:gd name="T35" fmla="*/ 72 h 452"/>
                    <a:gd name="T36" fmla="*/ 25 w 257"/>
                    <a:gd name="T37" fmla="*/ 62 h 452"/>
                    <a:gd name="T38" fmla="*/ 3 w 257"/>
                    <a:gd name="T39" fmla="*/ 58 h 452"/>
                    <a:gd name="T40" fmla="*/ 3 w 257"/>
                    <a:gd name="T41" fmla="*/ 54 h 452"/>
                    <a:gd name="T42" fmla="*/ 0 w 257"/>
                    <a:gd name="T43" fmla="*/ 49 h 452"/>
                    <a:gd name="T44" fmla="*/ 32 w 257"/>
                    <a:gd name="T45" fmla="*/ 38 h 452"/>
                    <a:gd name="T46" fmla="*/ 35 w 257"/>
                    <a:gd name="T47" fmla="*/ 44 h 452"/>
                    <a:gd name="T48" fmla="*/ 43 w 257"/>
                    <a:gd name="T49" fmla="*/ 44 h 452"/>
                    <a:gd name="T50" fmla="*/ 40 w 257"/>
                    <a:gd name="T51" fmla="*/ 57 h 452"/>
                    <a:gd name="T52" fmla="*/ 51 w 257"/>
                    <a:gd name="T53" fmla="*/ 68 h 452"/>
                    <a:gd name="T54" fmla="*/ 49 w 257"/>
                    <a:gd name="T55" fmla="*/ 64 h 452"/>
                    <a:gd name="T56" fmla="*/ 54 w 257"/>
                    <a:gd name="T57" fmla="*/ 58 h 452"/>
                    <a:gd name="T58" fmla="*/ 56 w 257"/>
                    <a:gd name="T59" fmla="*/ 47 h 452"/>
                    <a:gd name="T60" fmla="*/ 48 w 257"/>
                    <a:gd name="T61" fmla="*/ 33 h 452"/>
                    <a:gd name="T62" fmla="*/ 46 w 257"/>
                    <a:gd name="T63" fmla="*/ 20 h 452"/>
                    <a:gd name="T64" fmla="*/ 48 w 257"/>
                    <a:gd name="T65" fmla="*/ 12 h 452"/>
                    <a:gd name="T66" fmla="*/ 62 w 257"/>
                    <a:gd name="T67" fmla="*/ 14 h 452"/>
                    <a:gd name="T68" fmla="*/ 85 w 257"/>
                    <a:gd name="T69" fmla="*/ 9 h 452"/>
                    <a:gd name="T70" fmla="*/ 98 w 257"/>
                    <a:gd name="T71" fmla="*/ 0 h 4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57" h="452">
                      <a:moveTo>
                        <a:pt x="257" y="0"/>
                      </a:moveTo>
                      <a:lnTo>
                        <a:pt x="253" y="141"/>
                      </a:lnTo>
                      <a:lnTo>
                        <a:pt x="219" y="181"/>
                      </a:lnTo>
                      <a:lnTo>
                        <a:pt x="177" y="199"/>
                      </a:lnTo>
                      <a:lnTo>
                        <a:pt x="112" y="261"/>
                      </a:lnTo>
                      <a:lnTo>
                        <a:pt x="108" y="279"/>
                      </a:lnTo>
                      <a:lnTo>
                        <a:pt x="128" y="327"/>
                      </a:lnTo>
                      <a:lnTo>
                        <a:pt x="124" y="379"/>
                      </a:lnTo>
                      <a:lnTo>
                        <a:pt x="108" y="399"/>
                      </a:lnTo>
                      <a:lnTo>
                        <a:pt x="58" y="419"/>
                      </a:lnTo>
                      <a:lnTo>
                        <a:pt x="50" y="428"/>
                      </a:lnTo>
                      <a:lnTo>
                        <a:pt x="62" y="432"/>
                      </a:lnTo>
                      <a:lnTo>
                        <a:pt x="58" y="452"/>
                      </a:lnTo>
                      <a:lnTo>
                        <a:pt x="44" y="448"/>
                      </a:lnTo>
                      <a:lnTo>
                        <a:pt x="40" y="422"/>
                      </a:lnTo>
                      <a:lnTo>
                        <a:pt x="36" y="333"/>
                      </a:lnTo>
                      <a:lnTo>
                        <a:pt x="66" y="265"/>
                      </a:lnTo>
                      <a:lnTo>
                        <a:pt x="74" y="191"/>
                      </a:lnTo>
                      <a:lnTo>
                        <a:pt x="66" y="165"/>
                      </a:lnTo>
                      <a:lnTo>
                        <a:pt x="8" y="153"/>
                      </a:lnTo>
                      <a:lnTo>
                        <a:pt x="8" y="141"/>
                      </a:lnTo>
                      <a:lnTo>
                        <a:pt x="0" y="128"/>
                      </a:lnTo>
                      <a:lnTo>
                        <a:pt x="82" y="100"/>
                      </a:lnTo>
                      <a:lnTo>
                        <a:pt x="90" y="116"/>
                      </a:lnTo>
                      <a:lnTo>
                        <a:pt x="112" y="116"/>
                      </a:lnTo>
                      <a:lnTo>
                        <a:pt x="104" y="149"/>
                      </a:lnTo>
                      <a:lnTo>
                        <a:pt x="132" y="181"/>
                      </a:lnTo>
                      <a:lnTo>
                        <a:pt x="128" y="169"/>
                      </a:lnTo>
                      <a:lnTo>
                        <a:pt x="142" y="153"/>
                      </a:lnTo>
                      <a:lnTo>
                        <a:pt x="146" y="124"/>
                      </a:lnTo>
                      <a:lnTo>
                        <a:pt x="124" y="86"/>
                      </a:lnTo>
                      <a:lnTo>
                        <a:pt x="120" y="54"/>
                      </a:lnTo>
                      <a:lnTo>
                        <a:pt x="124" y="32"/>
                      </a:lnTo>
                      <a:lnTo>
                        <a:pt x="162" y="36"/>
                      </a:lnTo>
                      <a:lnTo>
                        <a:pt x="223" y="24"/>
                      </a:lnTo>
                      <a:lnTo>
                        <a:pt x="257"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8" name="vMap : Zimbabwe">
                  <a:extLst>
                    <a:ext uri="{FF2B5EF4-FFF2-40B4-BE49-F238E27FC236}">
                      <a16:creationId xmlns:a16="http://schemas.microsoft.com/office/drawing/2014/main" xmlns="" id="{EF37782E-5A28-C446-B7BE-EE44A49AD681}"/>
                    </a:ext>
                  </a:extLst>
                </p:cNvPr>
                <p:cNvSpPr>
                  <a:spLocks noChangeAspect="1"/>
                </p:cNvSpPr>
                <p:nvPr>
                  <p:custDataLst>
                    <p:tags r:id="rId137"/>
                  </p:custDataLst>
                </p:nvPr>
              </p:nvSpPr>
              <p:spPr bwMode="gray">
                <a:xfrm>
                  <a:off x="4639502" y="4640299"/>
                  <a:ext cx="177991" cy="183490"/>
                </a:xfrm>
                <a:custGeom>
                  <a:avLst/>
                  <a:gdLst>
                    <a:gd name="T0" fmla="*/ 37 w 191"/>
                    <a:gd name="T1" fmla="*/ 69 h 192"/>
                    <a:gd name="T2" fmla="*/ 50 w 191"/>
                    <a:gd name="T3" fmla="*/ 70 h 192"/>
                    <a:gd name="T4" fmla="*/ 58 w 191"/>
                    <a:gd name="T5" fmla="*/ 73 h 192"/>
                    <a:gd name="T6" fmla="*/ 69 w 191"/>
                    <a:gd name="T7" fmla="*/ 47 h 192"/>
                    <a:gd name="T8" fmla="*/ 72 w 191"/>
                    <a:gd name="T9" fmla="*/ 19 h 192"/>
                    <a:gd name="T10" fmla="*/ 69 w 191"/>
                    <a:gd name="T11" fmla="*/ 9 h 192"/>
                    <a:gd name="T12" fmla="*/ 47 w 191"/>
                    <a:gd name="T13" fmla="*/ 4 h 192"/>
                    <a:gd name="T14" fmla="*/ 47 w 191"/>
                    <a:gd name="T15" fmla="*/ 0 h 192"/>
                    <a:gd name="T16" fmla="*/ 32 w 191"/>
                    <a:gd name="T17" fmla="*/ 4 h 192"/>
                    <a:gd name="T18" fmla="*/ 31 w 191"/>
                    <a:gd name="T19" fmla="*/ 12 h 192"/>
                    <a:gd name="T20" fmla="*/ 15 w 191"/>
                    <a:gd name="T21" fmla="*/ 25 h 192"/>
                    <a:gd name="T22" fmla="*/ 0 w 191"/>
                    <a:gd name="T23" fmla="*/ 23 h 192"/>
                    <a:gd name="T24" fmla="*/ 8 w 191"/>
                    <a:gd name="T25" fmla="*/ 39 h 192"/>
                    <a:gd name="T26" fmla="*/ 23 w 191"/>
                    <a:gd name="T27" fmla="*/ 52 h 192"/>
                    <a:gd name="T28" fmla="*/ 25 w 191"/>
                    <a:gd name="T29" fmla="*/ 63 h 192"/>
                    <a:gd name="T30" fmla="*/ 37 w 191"/>
                    <a:gd name="T31" fmla="*/ 69 h 19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91" h="192">
                      <a:moveTo>
                        <a:pt x="99" y="182"/>
                      </a:moveTo>
                      <a:lnTo>
                        <a:pt x="133" y="186"/>
                      </a:lnTo>
                      <a:lnTo>
                        <a:pt x="153" y="192"/>
                      </a:lnTo>
                      <a:lnTo>
                        <a:pt x="183" y="124"/>
                      </a:lnTo>
                      <a:lnTo>
                        <a:pt x="191" y="50"/>
                      </a:lnTo>
                      <a:lnTo>
                        <a:pt x="183" y="24"/>
                      </a:lnTo>
                      <a:lnTo>
                        <a:pt x="125" y="12"/>
                      </a:lnTo>
                      <a:lnTo>
                        <a:pt x="125" y="0"/>
                      </a:lnTo>
                      <a:lnTo>
                        <a:pt x="87" y="12"/>
                      </a:lnTo>
                      <a:lnTo>
                        <a:pt x="83" y="32"/>
                      </a:lnTo>
                      <a:lnTo>
                        <a:pt x="41" y="66"/>
                      </a:lnTo>
                      <a:lnTo>
                        <a:pt x="0" y="62"/>
                      </a:lnTo>
                      <a:lnTo>
                        <a:pt x="22" y="104"/>
                      </a:lnTo>
                      <a:lnTo>
                        <a:pt x="61" y="138"/>
                      </a:lnTo>
                      <a:lnTo>
                        <a:pt x="65" y="166"/>
                      </a:lnTo>
                      <a:lnTo>
                        <a:pt x="99" y="18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29" name="vMap : Namibia">
                  <a:extLst>
                    <a:ext uri="{FF2B5EF4-FFF2-40B4-BE49-F238E27FC236}">
                      <a16:creationId xmlns:a16="http://schemas.microsoft.com/office/drawing/2014/main" xmlns="" id="{032F5FD9-8EDF-0C45-B570-809FFF8B7A71}"/>
                    </a:ext>
                  </a:extLst>
                </p:cNvPr>
                <p:cNvSpPr>
                  <a:spLocks noChangeAspect="1"/>
                </p:cNvSpPr>
                <p:nvPr>
                  <p:custDataLst>
                    <p:tags r:id="rId138"/>
                  </p:custDataLst>
                </p:nvPr>
              </p:nvSpPr>
              <p:spPr bwMode="gray">
                <a:xfrm>
                  <a:off x="4336767" y="4674509"/>
                  <a:ext cx="302736" cy="323440"/>
                </a:xfrm>
                <a:custGeom>
                  <a:avLst/>
                  <a:gdLst>
                    <a:gd name="T0" fmla="*/ 43 w 325"/>
                    <a:gd name="T1" fmla="*/ 124 h 337"/>
                    <a:gd name="T2" fmla="*/ 31 w 325"/>
                    <a:gd name="T3" fmla="*/ 111 h 337"/>
                    <a:gd name="T4" fmla="*/ 26 w 325"/>
                    <a:gd name="T5" fmla="*/ 77 h 337"/>
                    <a:gd name="T6" fmla="*/ 26 w 325"/>
                    <a:gd name="T7" fmla="*/ 59 h 337"/>
                    <a:gd name="T8" fmla="*/ 1 w 325"/>
                    <a:gd name="T9" fmla="*/ 13 h 337"/>
                    <a:gd name="T10" fmla="*/ 0 w 325"/>
                    <a:gd name="T11" fmla="*/ 6 h 337"/>
                    <a:gd name="T12" fmla="*/ 14 w 325"/>
                    <a:gd name="T13" fmla="*/ 0 h 337"/>
                    <a:gd name="T14" fmla="*/ 22 w 325"/>
                    <a:gd name="T15" fmla="*/ 6 h 337"/>
                    <a:gd name="T16" fmla="*/ 61 w 325"/>
                    <a:gd name="T17" fmla="*/ 4 h 337"/>
                    <a:gd name="T18" fmla="*/ 67 w 325"/>
                    <a:gd name="T19" fmla="*/ 10 h 337"/>
                    <a:gd name="T20" fmla="*/ 89 w 325"/>
                    <a:gd name="T21" fmla="*/ 13 h 337"/>
                    <a:gd name="T22" fmla="*/ 105 w 325"/>
                    <a:gd name="T23" fmla="*/ 7 h 337"/>
                    <a:gd name="T24" fmla="*/ 113 w 325"/>
                    <a:gd name="T25" fmla="*/ 6 h 337"/>
                    <a:gd name="T26" fmla="*/ 122 w 325"/>
                    <a:gd name="T27" fmla="*/ 10 h 337"/>
                    <a:gd name="T28" fmla="*/ 108 w 325"/>
                    <a:gd name="T29" fmla="*/ 19 h 337"/>
                    <a:gd name="T30" fmla="*/ 106 w 325"/>
                    <a:gd name="T31" fmla="*/ 13 h 337"/>
                    <a:gd name="T32" fmla="*/ 102 w 325"/>
                    <a:gd name="T33" fmla="*/ 13 h 337"/>
                    <a:gd name="T34" fmla="*/ 83 w 325"/>
                    <a:gd name="T35" fmla="*/ 16 h 337"/>
                    <a:gd name="T36" fmla="*/ 83 w 325"/>
                    <a:gd name="T37" fmla="*/ 54 h 337"/>
                    <a:gd name="T38" fmla="*/ 75 w 325"/>
                    <a:gd name="T39" fmla="*/ 54 h 337"/>
                    <a:gd name="T40" fmla="*/ 75 w 325"/>
                    <a:gd name="T41" fmla="*/ 83 h 337"/>
                    <a:gd name="T42" fmla="*/ 73 w 325"/>
                    <a:gd name="T43" fmla="*/ 122 h 337"/>
                    <a:gd name="T44" fmla="*/ 66 w 325"/>
                    <a:gd name="T45" fmla="*/ 128 h 337"/>
                    <a:gd name="T46" fmla="*/ 54 w 325"/>
                    <a:gd name="T47" fmla="*/ 128 h 337"/>
                    <a:gd name="T48" fmla="*/ 48 w 325"/>
                    <a:gd name="T49" fmla="*/ 121 h 337"/>
                    <a:gd name="T50" fmla="*/ 43 w 325"/>
                    <a:gd name="T51" fmla="*/ 124 h 3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25" h="337">
                      <a:moveTo>
                        <a:pt x="114" y="325"/>
                      </a:moveTo>
                      <a:lnTo>
                        <a:pt x="84" y="291"/>
                      </a:lnTo>
                      <a:lnTo>
                        <a:pt x="68" y="202"/>
                      </a:lnTo>
                      <a:lnTo>
                        <a:pt x="68" y="156"/>
                      </a:lnTo>
                      <a:lnTo>
                        <a:pt x="4" y="34"/>
                      </a:lnTo>
                      <a:lnTo>
                        <a:pt x="0" y="14"/>
                      </a:lnTo>
                      <a:lnTo>
                        <a:pt x="38" y="0"/>
                      </a:lnTo>
                      <a:lnTo>
                        <a:pt x="58" y="14"/>
                      </a:lnTo>
                      <a:lnTo>
                        <a:pt x="163" y="10"/>
                      </a:lnTo>
                      <a:lnTo>
                        <a:pt x="179" y="26"/>
                      </a:lnTo>
                      <a:lnTo>
                        <a:pt x="237" y="34"/>
                      </a:lnTo>
                      <a:lnTo>
                        <a:pt x="279" y="18"/>
                      </a:lnTo>
                      <a:lnTo>
                        <a:pt x="301" y="14"/>
                      </a:lnTo>
                      <a:lnTo>
                        <a:pt x="325" y="26"/>
                      </a:lnTo>
                      <a:lnTo>
                        <a:pt x="287" y="50"/>
                      </a:lnTo>
                      <a:lnTo>
                        <a:pt x="283" y="34"/>
                      </a:lnTo>
                      <a:lnTo>
                        <a:pt x="271" y="34"/>
                      </a:lnTo>
                      <a:lnTo>
                        <a:pt x="221" y="42"/>
                      </a:lnTo>
                      <a:lnTo>
                        <a:pt x="221" y="142"/>
                      </a:lnTo>
                      <a:lnTo>
                        <a:pt x="199" y="142"/>
                      </a:lnTo>
                      <a:lnTo>
                        <a:pt x="199" y="218"/>
                      </a:lnTo>
                      <a:lnTo>
                        <a:pt x="195" y="321"/>
                      </a:lnTo>
                      <a:lnTo>
                        <a:pt x="175" y="337"/>
                      </a:lnTo>
                      <a:lnTo>
                        <a:pt x="145" y="337"/>
                      </a:lnTo>
                      <a:lnTo>
                        <a:pt x="129" y="317"/>
                      </a:lnTo>
                      <a:lnTo>
                        <a:pt x="114" y="325"/>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0" name="vMap : Kenya">
                  <a:extLst>
                    <a:ext uri="{FF2B5EF4-FFF2-40B4-BE49-F238E27FC236}">
                      <a16:creationId xmlns:a16="http://schemas.microsoft.com/office/drawing/2014/main" xmlns="" id="{6CF85917-4200-784D-B7D9-FF7DF6772FA1}"/>
                    </a:ext>
                  </a:extLst>
                </p:cNvPr>
                <p:cNvSpPr>
                  <a:spLocks noChangeAspect="1"/>
                </p:cNvSpPr>
                <p:nvPr>
                  <p:custDataLst>
                    <p:tags r:id="rId139"/>
                  </p:custDataLst>
                </p:nvPr>
              </p:nvSpPr>
              <p:spPr bwMode="gray">
                <a:xfrm>
                  <a:off x="4844874" y="4106934"/>
                  <a:ext cx="177991" cy="247245"/>
                </a:xfrm>
                <a:custGeom>
                  <a:avLst/>
                  <a:gdLst>
                    <a:gd name="T0" fmla="*/ 17 w 191"/>
                    <a:gd name="T1" fmla="*/ 0 h 258"/>
                    <a:gd name="T2" fmla="*/ 4 w 191"/>
                    <a:gd name="T3" fmla="*/ 1 h 258"/>
                    <a:gd name="T4" fmla="*/ 0 w 191"/>
                    <a:gd name="T5" fmla="*/ 6 h 258"/>
                    <a:gd name="T6" fmla="*/ 3 w 191"/>
                    <a:gd name="T7" fmla="*/ 7 h 258"/>
                    <a:gd name="T8" fmla="*/ 10 w 191"/>
                    <a:gd name="T9" fmla="*/ 27 h 258"/>
                    <a:gd name="T10" fmla="*/ 0 w 191"/>
                    <a:gd name="T11" fmla="*/ 47 h 258"/>
                    <a:gd name="T12" fmla="*/ 1 w 191"/>
                    <a:gd name="T13" fmla="*/ 52 h 258"/>
                    <a:gd name="T14" fmla="*/ 7 w 191"/>
                    <a:gd name="T15" fmla="*/ 51 h 258"/>
                    <a:gd name="T16" fmla="*/ 3 w 191"/>
                    <a:gd name="T17" fmla="*/ 54 h 258"/>
                    <a:gd name="T18" fmla="*/ 3 w 191"/>
                    <a:gd name="T19" fmla="*/ 60 h 258"/>
                    <a:gd name="T20" fmla="*/ 34 w 191"/>
                    <a:gd name="T21" fmla="*/ 81 h 258"/>
                    <a:gd name="T22" fmla="*/ 36 w 191"/>
                    <a:gd name="T23" fmla="*/ 89 h 258"/>
                    <a:gd name="T24" fmla="*/ 49 w 191"/>
                    <a:gd name="T25" fmla="*/ 98 h 258"/>
                    <a:gd name="T26" fmla="*/ 59 w 191"/>
                    <a:gd name="T27" fmla="*/ 78 h 258"/>
                    <a:gd name="T28" fmla="*/ 69 w 191"/>
                    <a:gd name="T29" fmla="*/ 66 h 258"/>
                    <a:gd name="T30" fmla="*/ 65 w 191"/>
                    <a:gd name="T31" fmla="*/ 59 h 258"/>
                    <a:gd name="T32" fmla="*/ 65 w 191"/>
                    <a:gd name="T33" fmla="*/ 19 h 258"/>
                    <a:gd name="T34" fmla="*/ 72 w 191"/>
                    <a:gd name="T35" fmla="*/ 7 h 258"/>
                    <a:gd name="T36" fmla="*/ 62 w 191"/>
                    <a:gd name="T37" fmla="*/ 4 h 258"/>
                    <a:gd name="T38" fmla="*/ 46 w 191"/>
                    <a:gd name="T39" fmla="*/ 12 h 258"/>
                    <a:gd name="T40" fmla="*/ 17 w 191"/>
                    <a:gd name="T41" fmla="*/ 0 h 2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91" h="258">
                      <a:moveTo>
                        <a:pt x="46" y="0"/>
                      </a:moveTo>
                      <a:lnTo>
                        <a:pt x="12" y="4"/>
                      </a:lnTo>
                      <a:lnTo>
                        <a:pt x="0" y="16"/>
                      </a:lnTo>
                      <a:lnTo>
                        <a:pt x="8" y="20"/>
                      </a:lnTo>
                      <a:lnTo>
                        <a:pt x="28" y="70"/>
                      </a:lnTo>
                      <a:lnTo>
                        <a:pt x="0" y="124"/>
                      </a:lnTo>
                      <a:lnTo>
                        <a:pt x="4" y="138"/>
                      </a:lnTo>
                      <a:lnTo>
                        <a:pt x="20" y="134"/>
                      </a:lnTo>
                      <a:lnTo>
                        <a:pt x="8" y="142"/>
                      </a:lnTo>
                      <a:lnTo>
                        <a:pt x="8" y="158"/>
                      </a:lnTo>
                      <a:lnTo>
                        <a:pt x="91" y="212"/>
                      </a:lnTo>
                      <a:lnTo>
                        <a:pt x="95" y="234"/>
                      </a:lnTo>
                      <a:lnTo>
                        <a:pt x="131" y="258"/>
                      </a:lnTo>
                      <a:lnTo>
                        <a:pt x="157" y="204"/>
                      </a:lnTo>
                      <a:lnTo>
                        <a:pt x="183" y="174"/>
                      </a:lnTo>
                      <a:lnTo>
                        <a:pt x="173" y="154"/>
                      </a:lnTo>
                      <a:lnTo>
                        <a:pt x="173" y="50"/>
                      </a:lnTo>
                      <a:lnTo>
                        <a:pt x="191" y="20"/>
                      </a:lnTo>
                      <a:lnTo>
                        <a:pt x="165" y="12"/>
                      </a:lnTo>
                      <a:lnTo>
                        <a:pt x="123" y="32"/>
                      </a:lnTo>
                      <a:lnTo>
                        <a:pt x="46"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1" name="vMap : Uganda">
                  <a:extLst>
                    <a:ext uri="{FF2B5EF4-FFF2-40B4-BE49-F238E27FC236}">
                      <a16:creationId xmlns:a16="http://schemas.microsoft.com/office/drawing/2014/main" xmlns="" id="{C147DD7E-8024-0545-AD51-8852F85EE5E9}"/>
                    </a:ext>
                  </a:extLst>
                </p:cNvPr>
                <p:cNvSpPr>
                  <a:spLocks noChangeAspect="1"/>
                </p:cNvSpPr>
                <p:nvPr>
                  <p:custDataLst>
                    <p:tags r:id="rId140"/>
                  </p:custDataLst>
                </p:nvPr>
              </p:nvSpPr>
              <p:spPr bwMode="gray">
                <a:xfrm>
                  <a:off x="4749035" y="4122485"/>
                  <a:ext cx="123224" cy="144615"/>
                </a:xfrm>
                <a:custGeom>
                  <a:avLst/>
                  <a:gdLst>
                    <a:gd name="T0" fmla="*/ 39 w 132"/>
                    <a:gd name="T1" fmla="*/ 42 h 150"/>
                    <a:gd name="T2" fmla="*/ 50 w 132"/>
                    <a:gd name="T3" fmla="*/ 20 h 150"/>
                    <a:gd name="T4" fmla="*/ 42 w 132"/>
                    <a:gd name="T5" fmla="*/ 1 h 150"/>
                    <a:gd name="T6" fmla="*/ 39 w 132"/>
                    <a:gd name="T7" fmla="*/ 0 h 150"/>
                    <a:gd name="T8" fmla="*/ 12 w 132"/>
                    <a:gd name="T9" fmla="*/ 4 h 150"/>
                    <a:gd name="T10" fmla="*/ 10 w 132"/>
                    <a:gd name="T11" fmla="*/ 15 h 150"/>
                    <a:gd name="T12" fmla="*/ 15 w 132"/>
                    <a:gd name="T13" fmla="*/ 19 h 150"/>
                    <a:gd name="T14" fmla="*/ 15 w 132"/>
                    <a:gd name="T15" fmla="*/ 25 h 150"/>
                    <a:gd name="T16" fmla="*/ 7 w 132"/>
                    <a:gd name="T17" fmla="*/ 29 h 150"/>
                    <a:gd name="T18" fmla="*/ 3 w 132"/>
                    <a:gd name="T19" fmla="*/ 38 h 150"/>
                    <a:gd name="T20" fmla="*/ 0 w 132"/>
                    <a:gd name="T21" fmla="*/ 58 h 150"/>
                    <a:gd name="T22" fmla="*/ 7 w 132"/>
                    <a:gd name="T23" fmla="*/ 55 h 150"/>
                    <a:gd name="T24" fmla="*/ 20 w 132"/>
                    <a:gd name="T25" fmla="*/ 55 h 150"/>
                    <a:gd name="T26" fmla="*/ 20 w 132"/>
                    <a:gd name="T27" fmla="*/ 44 h 150"/>
                    <a:gd name="T28" fmla="*/ 34 w 132"/>
                    <a:gd name="T29" fmla="*/ 40 h 150"/>
                    <a:gd name="T30" fmla="*/ 39 w 132"/>
                    <a:gd name="T31" fmla="*/ 42 h 1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2" h="150">
                      <a:moveTo>
                        <a:pt x="104" y="108"/>
                      </a:moveTo>
                      <a:lnTo>
                        <a:pt x="132" y="54"/>
                      </a:lnTo>
                      <a:lnTo>
                        <a:pt x="112" y="4"/>
                      </a:lnTo>
                      <a:lnTo>
                        <a:pt x="104" y="0"/>
                      </a:lnTo>
                      <a:lnTo>
                        <a:pt x="32" y="12"/>
                      </a:lnTo>
                      <a:lnTo>
                        <a:pt x="28" y="38"/>
                      </a:lnTo>
                      <a:lnTo>
                        <a:pt x="40" y="50"/>
                      </a:lnTo>
                      <a:lnTo>
                        <a:pt x="40" y="66"/>
                      </a:lnTo>
                      <a:lnTo>
                        <a:pt x="20" y="76"/>
                      </a:lnTo>
                      <a:lnTo>
                        <a:pt x="8" y="100"/>
                      </a:lnTo>
                      <a:lnTo>
                        <a:pt x="0" y="150"/>
                      </a:lnTo>
                      <a:lnTo>
                        <a:pt x="20" y="142"/>
                      </a:lnTo>
                      <a:lnTo>
                        <a:pt x="54" y="142"/>
                      </a:lnTo>
                      <a:lnTo>
                        <a:pt x="54" y="114"/>
                      </a:lnTo>
                      <a:lnTo>
                        <a:pt x="90" y="104"/>
                      </a:lnTo>
                      <a:lnTo>
                        <a:pt x="104" y="10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2" name="vMap : Zambia">
                  <a:extLst>
                    <a:ext uri="{FF2B5EF4-FFF2-40B4-BE49-F238E27FC236}">
                      <a16:creationId xmlns:a16="http://schemas.microsoft.com/office/drawing/2014/main" xmlns="" id="{5C538F34-7F10-B94A-8A9C-0DB5EB3E664E}"/>
                    </a:ext>
                  </a:extLst>
                </p:cNvPr>
                <p:cNvSpPr>
                  <a:spLocks noChangeAspect="1"/>
                </p:cNvSpPr>
                <p:nvPr>
                  <p:custDataLst>
                    <p:tags r:id="rId141"/>
                  </p:custDataLst>
                </p:nvPr>
              </p:nvSpPr>
              <p:spPr bwMode="gray">
                <a:xfrm>
                  <a:off x="4569523" y="4447480"/>
                  <a:ext cx="266225" cy="256576"/>
                </a:xfrm>
                <a:custGeom>
                  <a:avLst/>
                  <a:gdLst>
                    <a:gd name="T0" fmla="*/ 19 w 283"/>
                    <a:gd name="T1" fmla="*/ 27 h 271"/>
                    <a:gd name="T2" fmla="*/ 17 w 283"/>
                    <a:gd name="T3" fmla="*/ 48 h 271"/>
                    <a:gd name="T4" fmla="*/ 20 w 283"/>
                    <a:gd name="T5" fmla="*/ 50 h 271"/>
                    <a:gd name="T6" fmla="*/ 0 w 283"/>
                    <a:gd name="T7" fmla="*/ 50 h 271"/>
                    <a:gd name="T8" fmla="*/ 0 w 283"/>
                    <a:gd name="T9" fmla="*/ 86 h 271"/>
                    <a:gd name="T10" fmla="*/ 11 w 283"/>
                    <a:gd name="T11" fmla="*/ 96 h 271"/>
                    <a:gd name="T12" fmla="*/ 19 w 283"/>
                    <a:gd name="T13" fmla="*/ 94 h 271"/>
                    <a:gd name="T14" fmla="*/ 28 w 283"/>
                    <a:gd name="T15" fmla="*/ 99 h 271"/>
                    <a:gd name="T16" fmla="*/ 44 w 283"/>
                    <a:gd name="T17" fmla="*/ 100 h 271"/>
                    <a:gd name="T18" fmla="*/ 60 w 283"/>
                    <a:gd name="T19" fmla="*/ 88 h 271"/>
                    <a:gd name="T20" fmla="*/ 62 w 283"/>
                    <a:gd name="T21" fmla="*/ 80 h 271"/>
                    <a:gd name="T22" fmla="*/ 76 w 283"/>
                    <a:gd name="T23" fmla="*/ 76 h 271"/>
                    <a:gd name="T24" fmla="*/ 73 w 283"/>
                    <a:gd name="T25" fmla="*/ 71 h 271"/>
                    <a:gd name="T26" fmla="*/ 105 w 283"/>
                    <a:gd name="T27" fmla="*/ 61 h 271"/>
                    <a:gd name="T28" fmla="*/ 100 w 283"/>
                    <a:gd name="T29" fmla="*/ 57 h 271"/>
                    <a:gd name="T30" fmla="*/ 103 w 283"/>
                    <a:gd name="T31" fmla="*/ 47 h 271"/>
                    <a:gd name="T32" fmla="*/ 108 w 283"/>
                    <a:gd name="T33" fmla="*/ 45 h 271"/>
                    <a:gd name="T34" fmla="*/ 106 w 283"/>
                    <a:gd name="T35" fmla="*/ 34 h 271"/>
                    <a:gd name="T36" fmla="*/ 108 w 283"/>
                    <a:gd name="T37" fmla="*/ 27 h 271"/>
                    <a:gd name="T38" fmla="*/ 103 w 283"/>
                    <a:gd name="T39" fmla="*/ 13 h 271"/>
                    <a:gd name="T40" fmla="*/ 87 w 283"/>
                    <a:gd name="T41" fmla="*/ 4 h 271"/>
                    <a:gd name="T42" fmla="*/ 80 w 283"/>
                    <a:gd name="T43" fmla="*/ 4 h 271"/>
                    <a:gd name="T44" fmla="*/ 80 w 283"/>
                    <a:gd name="T45" fmla="*/ 0 h 271"/>
                    <a:gd name="T46" fmla="*/ 67 w 283"/>
                    <a:gd name="T47" fmla="*/ 4 h 271"/>
                    <a:gd name="T48" fmla="*/ 63 w 283"/>
                    <a:gd name="T49" fmla="*/ 11 h 271"/>
                    <a:gd name="T50" fmla="*/ 65 w 283"/>
                    <a:gd name="T51" fmla="*/ 24 h 271"/>
                    <a:gd name="T52" fmla="*/ 62 w 283"/>
                    <a:gd name="T53" fmla="*/ 37 h 271"/>
                    <a:gd name="T54" fmla="*/ 65 w 283"/>
                    <a:gd name="T55" fmla="*/ 41 h 271"/>
                    <a:gd name="T56" fmla="*/ 72 w 283"/>
                    <a:gd name="T57" fmla="*/ 41 h 271"/>
                    <a:gd name="T58" fmla="*/ 72 w 283"/>
                    <a:gd name="T59" fmla="*/ 52 h 271"/>
                    <a:gd name="T60" fmla="*/ 65 w 283"/>
                    <a:gd name="T61" fmla="*/ 51 h 271"/>
                    <a:gd name="T62" fmla="*/ 47 w 283"/>
                    <a:gd name="T63" fmla="*/ 37 h 271"/>
                    <a:gd name="T64" fmla="*/ 40 w 283"/>
                    <a:gd name="T65" fmla="*/ 38 h 271"/>
                    <a:gd name="T66" fmla="*/ 30 w 283"/>
                    <a:gd name="T67" fmla="*/ 31 h 271"/>
                    <a:gd name="T68" fmla="*/ 23 w 283"/>
                    <a:gd name="T69" fmla="*/ 33 h 271"/>
                    <a:gd name="T70" fmla="*/ 19 w 283"/>
                    <a:gd name="T71" fmla="*/ 2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3" h="271">
                      <a:moveTo>
                        <a:pt x="50" y="72"/>
                      </a:moveTo>
                      <a:lnTo>
                        <a:pt x="46" y="130"/>
                      </a:lnTo>
                      <a:lnTo>
                        <a:pt x="54" y="134"/>
                      </a:lnTo>
                      <a:lnTo>
                        <a:pt x="0" y="134"/>
                      </a:lnTo>
                      <a:lnTo>
                        <a:pt x="0" y="233"/>
                      </a:lnTo>
                      <a:lnTo>
                        <a:pt x="28" y="259"/>
                      </a:lnTo>
                      <a:lnTo>
                        <a:pt x="50" y="255"/>
                      </a:lnTo>
                      <a:lnTo>
                        <a:pt x="74" y="267"/>
                      </a:lnTo>
                      <a:lnTo>
                        <a:pt x="115" y="271"/>
                      </a:lnTo>
                      <a:lnTo>
                        <a:pt x="157" y="237"/>
                      </a:lnTo>
                      <a:lnTo>
                        <a:pt x="161" y="217"/>
                      </a:lnTo>
                      <a:lnTo>
                        <a:pt x="199" y="205"/>
                      </a:lnTo>
                      <a:lnTo>
                        <a:pt x="191" y="192"/>
                      </a:lnTo>
                      <a:lnTo>
                        <a:pt x="273" y="164"/>
                      </a:lnTo>
                      <a:lnTo>
                        <a:pt x="261" y="154"/>
                      </a:lnTo>
                      <a:lnTo>
                        <a:pt x="269" y="126"/>
                      </a:lnTo>
                      <a:lnTo>
                        <a:pt x="281" y="122"/>
                      </a:lnTo>
                      <a:lnTo>
                        <a:pt x="277" y="92"/>
                      </a:lnTo>
                      <a:lnTo>
                        <a:pt x="283" y="72"/>
                      </a:lnTo>
                      <a:lnTo>
                        <a:pt x="269" y="34"/>
                      </a:lnTo>
                      <a:lnTo>
                        <a:pt x="227" y="12"/>
                      </a:lnTo>
                      <a:lnTo>
                        <a:pt x="211" y="12"/>
                      </a:lnTo>
                      <a:lnTo>
                        <a:pt x="211" y="0"/>
                      </a:lnTo>
                      <a:lnTo>
                        <a:pt x="177" y="12"/>
                      </a:lnTo>
                      <a:lnTo>
                        <a:pt x="165" y="30"/>
                      </a:lnTo>
                      <a:lnTo>
                        <a:pt x="169" y="64"/>
                      </a:lnTo>
                      <a:lnTo>
                        <a:pt x="161" y="100"/>
                      </a:lnTo>
                      <a:lnTo>
                        <a:pt x="169" y="110"/>
                      </a:lnTo>
                      <a:lnTo>
                        <a:pt x="189" y="110"/>
                      </a:lnTo>
                      <a:lnTo>
                        <a:pt x="189" y="142"/>
                      </a:lnTo>
                      <a:lnTo>
                        <a:pt x="169" y="138"/>
                      </a:lnTo>
                      <a:lnTo>
                        <a:pt x="123" y="100"/>
                      </a:lnTo>
                      <a:lnTo>
                        <a:pt x="104" y="104"/>
                      </a:lnTo>
                      <a:lnTo>
                        <a:pt x="78" y="84"/>
                      </a:lnTo>
                      <a:lnTo>
                        <a:pt x="62" y="88"/>
                      </a:lnTo>
                      <a:lnTo>
                        <a:pt x="50" y="7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3" name="vMap : Burundi">
                  <a:extLst>
                    <a:ext uri="{FF2B5EF4-FFF2-40B4-BE49-F238E27FC236}">
                      <a16:creationId xmlns:a16="http://schemas.microsoft.com/office/drawing/2014/main" xmlns="" id="{73BDFED9-DEFA-794D-B8D3-7C77E035C185}"/>
                    </a:ext>
                  </a:extLst>
                </p:cNvPr>
                <p:cNvSpPr>
                  <a:spLocks noChangeAspect="1"/>
                </p:cNvSpPr>
                <p:nvPr>
                  <p:custDataLst>
                    <p:tags r:id="rId142"/>
                  </p:custDataLst>
                </p:nvPr>
              </p:nvSpPr>
              <p:spPr bwMode="gray">
                <a:xfrm>
                  <a:off x="4735342" y="4295090"/>
                  <a:ext cx="39554" cy="51315"/>
                </a:xfrm>
                <a:custGeom>
                  <a:avLst/>
                  <a:gdLst>
                    <a:gd name="T0" fmla="*/ 0 w 42"/>
                    <a:gd name="T1" fmla="*/ 3 h 54"/>
                    <a:gd name="T2" fmla="*/ 15 w 42"/>
                    <a:gd name="T3" fmla="*/ 0 h 54"/>
                    <a:gd name="T4" fmla="*/ 16 w 42"/>
                    <a:gd name="T5" fmla="*/ 7 h 54"/>
                    <a:gd name="T6" fmla="*/ 10 w 42"/>
                    <a:gd name="T7" fmla="*/ 19 h 54"/>
                    <a:gd name="T8" fmla="*/ 4 w 42"/>
                    <a:gd name="T9" fmla="*/ 20 h 54"/>
                    <a:gd name="T10" fmla="*/ 1 w 42"/>
                    <a:gd name="T11" fmla="*/ 9 h 54"/>
                    <a:gd name="T12" fmla="*/ 0 w 42"/>
                    <a:gd name="T13" fmla="*/ 3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54">
                      <a:moveTo>
                        <a:pt x="0" y="8"/>
                      </a:moveTo>
                      <a:lnTo>
                        <a:pt x="38" y="0"/>
                      </a:lnTo>
                      <a:lnTo>
                        <a:pt x="42" y="20"/>
                      </a:lnTo>
                      <a:lnTo>
                        <a:pt x="26" y="50"/>
                      </a:lnTo>
                      <a:lnTo>
                        <a:pt x="12" y="54"/>
                      </a:lnTo>
                      <a:lnTo>
                        <a:pt x="4" y="24"/>
                      </a:lnTo>
                      <a:lnTo>
                        <a:pt x="0" y="8"/>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4" name="vMap : Rwanda">
                  <a:extLst>
                    <a:ext uri="{FF2B5EF4-FFF2-40B4-BE49-F238E27FC236}">
                      <a16:creationId xmlns:a16="http://schemas.microsoft.com/office/drawing/2014/main" xmlns="" id="{D1A06D21-B439-F64D-9B73-072C8DCAFC75}"/>
                    </a:ext>
                  </a:extLst>
                </p:cNvPr>
                <p:cNvSpPr>
                  <a:spLocks noChangeAspect="1"/>
                </p:cNvSpPr>
                <p:nvPr>
                  <p:custDataLst>
                    <p:tags r:id="rId143"/>
                  </p:custDataLst>
                </p:nvPr>
              </p:nvSpPr>
              <p:spPr bwMode="gray">
                <a:xfrm>
                  <a:off x="4735342" y="4259324"/>
                  <a:ext cx="39554" cy="45094"/>
                </a:xfrm>
                <a:custGeom>
                  <a:avLst/>
                  <a:gdLst>
                    <a:gd name="T0" fmla="*/ 6 w 42"/>
                    <a:gd name="T1" fmla="*/ 3 h 46"/>
                    <a:gd name="T2" fmla="*/ 13 w 42"/>
                    <a:gd name="T3" fmla="*/ 0 h 46"/>
                    <a:gd name="T4" fmla="*/ 16 w 42"/>
                    <a:gd name="T5" fmla="*/ 9 h 46"/>
                    <a:gd name="T6" fmla="*/ 15 w 42"/>
                    <a:gd name="T7" fmla="*/ 15 h 46"/>
                    <a:gd name="T8" fmla="*/ 0 w 42"/>
                    <a:gd name="T9" fmla="*/ 18 h 46"/>
                    <a:gd name="T10" fmla="*/ 0 w 42"/>
                    <a:gd name="T11" fmla="*/ 15 h 46"/>
                    <a:gd name="T12" fmla="*/ 6 w 42"/>
                    <a:gd name="T13" fmla="*/ 3 h 4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6">
                      <a:moveTo>
                        <a:pt x="14" y="8"/>
                      </a:moveTo>
                      <a:lnTo>
                        <a:pt x="34" y="0"/>
                      </a:lnTo>
                      <a:lnTo>
                        <a:pt x="42" y="22"/>
                      </a:lnTo>
                      <a:lnTo>
                        <a:pt x="38" y="38"/>
                      </a:lnTo>
                      <a:lnTo>
                        <a:pt x="0" y="46"/>
                      </a:lnTo>
                      <a:lnTo>
                        <a:pt x="0" y="38"/>
                      </a:lnTo>
                      <a:lnTo>
                        <a:pt x="14" y="8"/>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5" name="vMap : South Africa">
                  <a:extLst>
                    <a:ext uri="{FF2B5EF4-FFF2-40B4-BE49-F238E27FC236}">
                      <a16:creationId xmlns:a16="http://schemas.microsoft.com/office/drawing/2014/main" xmlns="" id="{8BF7CE41-409E-ED4D-A405-D02A747FA64C}"/>
                    </a:ext>
                  </a:extLst>
                </p:cNvPr>
                <p:cNvSpPr>
                  <a:spLocks noChangeAspect="1"/>
                </p:cNvSpPr>
                <p:nvPr>
                  <p:custDataLst>
                    <p:tags r:id="rId144"/>
                  </p:custDataLst>
                </p:nvPr>
              </p:nvSpPr>
              <p:spPr bwMode="gray">
                <a:xfrm>
                  <a:off x="4443256" y="4814460"/>
                  <a:ext cx="362065" cy="331215"/>
                </a:xfrm>
                <a:custGeom>
                  <a:avLst/>
                  <a:gdLst>
                    <a:gd name="T0" fmla="*/ 147 w 386"/>
                    <a:gd name="T1" fmla="*/ 48 h 347"/>
                    <a:gd name="T2" fmla="*/ 142 w 386"/>
                    <a:gd name="T3" fmla="*/ 66 h 347"/>
                    <a:gd name="T4" fmla="*/ 134 w 386"/>
                    <a:gd name="T5" fmla="*/ 72 h 347"/>
                    <a:gd name="T6" fmla="*/ 121 w 386"/>
                    <a:gd name="T7" fmla="*/ 95 h 347"/>
                    <a:gd name="T8" fmla="*/ 93 w 386"/>
                    <a:gd name="T9" fmla="*/ 120 h 347"/>
                    <a:gd name="T10" fmla="*/ 73 w 386"/>
                    <a:gd name="T11" fmla="*/ 125 h 347"/>
                    <a:gd name="T12" fmla="*/ 52 w 386"/>
                    <a:gd name="T13" fmla="*/ 124 h 347"/>
                    <a:gd name="T14" fmla="*/ 29 w 386"/>
                    <a:gd name="T15" fmla="*/ 131 h 347"/>
                    <a:gd name="T16" fmla="*/ 18 w 386"/>
                    <a:gd name="T17" fmla="*/ 128 h 347"/>
                    <a:gd name="T18" fmla="*/ 18 w 386"/>
                    <a:gd name="T19" fmla="*/ 124 h 347"/>
                    <a:gd name="T20" fmla="*/ 15 w 386"/>
                    <a:gd name="T21" fmla="*/ 128 h 347"/>
                    <a:gd name="T22" fmla="*/ 15 w 386"/>
                    <a:gd name="T23" fmla="*/ 121 h 347"/>
                    <a:gd name="T24" fmla="*/ 12 w 386"/>
                    <a:gd name="T25" fmla="*/ 114 h 347"/>
                    <a:gd name="T26" fmla="*/ 15 w 386"/>
                    <a:gd name="T27" fmla="*/ 108 h 347"/>
                    <a:gd name="T28" fmla="*/ 15 w 386"/>
                    <a:gd name="T29" fmla="*/ 102 h 347"/>
                    <a:gd name="T30" fmla="*/ 0 w 386"/>
                    <a:gd name="T31" fmla="*/ 68 h 347"/>
                    <a:gd name="T32" fmla="*/ 6 w 386"/>
                    <a:gd name="T33" fmla="*/ 64 h 347"/>
                    <a:gd name="T34" fmla="*/ 12 w 386"/>
                    <a:gd name="T35" fmla="*/ 72 h 347"/>
                    <a:gd name="T36" fmla="*/ 23 w 386"/>
                    <a:gd name="T37" fmla="*/ 72 h 347"/>
                    <a:gd name="T38" fmla="*/ 31 w 386"/>
                    <a:gd name="T39" fmla="*/ 66 h 347"/>
                    <a:gd name="T40" fmla="*/ 32 w 386"/>
                    <a:gd name="T41" fmla="*/ 27 h 347"/>
                    <a:gd name="T42" fmla="*/ 39 w 386"/>
                    <a:gd name="T43" fmla="*/ 36 h 347"/>
                    <a:gd name="T44" fmla="*/ 38 w 386"/>
                    <a:gd name="T45" fmla="*/ 47 h 347"/>
                    <a:gd name="T46" fmla="*/ 51 w 386"/>
                    <a:gd name="T47" fmla="*/ 47 h 347"/>
                    <a:gd name="T48" fmla="*/ 63 w 386"/>
                    <a:gd name="T49" fmla="*/ 34 h 347"/>
                    <a:gd name="T50" fmla="*/ 82 w 386"/>
                    <a:gd name="T51" fmla="*/ 34 h 347"/>
                    <a:gd name="T52" fmla="*/ 101 w 386"/>
                    <a:gd name="T53" fmla="*/ 11 h 347"/>
                    <a:gd name="T54" fmla="*/ 118 w 386"/>
                    <a:gd name="T55" fmla="*/ 0 h 347"/>
                    <a:gd name="T56" fmla="*/ 131 w 386"/>
                    <a:gd name="T57" fmla="*/ 1 h 347"/>
                    <a:gd name="T58" fmla="*/ 138 w 386"/>
                    <a:gd name="T59" fmla="*/ 4 h 347"/>
                    <a:gd name="T60" fmla="*/ 140 w 386"/>
                    <a:gd name="T61" fmla="*/ 37 h 347"/>
                    <a:gd name="T62" fmla="*/ 133 w 386"/>
                    <a:gd name="T63" fmla="*/ 38 h 347"/>
                    <a:gd name="T64" fmla="*/ 129 w 386"/>
                    <a:gd name="T65" fmla="*/ 45 h 347"/>
                    <a:gd name="T66" fmla="*/ 131 w 386"/>
                    <a:gd name="T67" fmla="*/ 52 h 347"/>
                    <a:gd name="T68" fmla="*/ 136 w 386"/>
                    <a:gd name="T69" fmla="*/ 52 h 347"/>
                    <a:gd name="T70" fmla="*/ 141 w 386"/>
                    <a:gd name="T71" fmla="*/ 47 h 347"/>
                    <a:gd name="T72" fmla="*/ 147 w 386"/>
                    <a:gd name="T73" fmla="*/ 48 h 3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86" h="347">
                      <a:moveTo>
                        <a:pt x="386" y="129"/>
                      </a:moveTo>
                      <a:lnTo>
                        <a:pt x="374" y="175"/>
                      </a:lnTo>
                      <a:lnTo>
                        <a:pt x="352" y="193"/>
                      </a:lnTo>
                      <a:lnTo>
                        <a:pt x="318" y="251"/>
                      </a:lnTo>
                      <a:lnTo>
                        <a:pt x="245" y="317"/>
                      </a:lnTo>
                      <a:lnTo>
                        <a:pt x="191" y="333"/>
                      </a:lnTo>
                      <a:lnTo>
                        <a:pt x="137" y="329"/>
                      </a:lnTo>
                      <a:lnTo>
                        <a:pt x="77" y="347"/>
                      </a:lnTo>
                      <a:lnTo>
                        <a:pt x="49" y="339"/>
                      </a:lnTo>
                      <a:lnTo>
                        <a:pt x="49" y="329"/>
                      </a:lnTo>
                      <a:lnTo>
                        <a:pt x="41" y="339"/>
                      </a:lnTo>
                      <a:lnTo>
                        <a:pt x="41" y="321"/>
                      </a:lnTo>
                      <a:lnTo>
                        <a:pt x="31" y="301"/>
                      </a:lnTo>
                      <a:lnTo>
                        <a:pt x="39" y="287"/>
                      </a:lnTo>
                      <a:lnTo>
                        <a:pt x="39" y="271"/>
                      </a:lnTo>
                      <a:lnTo>
                        <a:pt x="0" y="179"/>
                      </a:lnTo>
                      <a:lnTo>
                        <a:pt x="15" y="171"/>
                      </a:lnTo>
                      <a:lnTo>
                        <a:pt x="31" y="191"/>
                      </a:lnTo>
                      <a:lnTo>
                        <a:pt x="61" y="191"/>
                      </a:lnTo>
                      <a:lnTo>
                        <a:pt x="81" y="175"/>
                      </a:lnTo>
                      <a:lnTo>
                        <a:pt x="85" y="72"/>
                      </a:lnTo>
                      <a:lnTo>
                        <a:pt x="103" y="96"/>
                      </a:lnTo>
                      <a:lnTo>
                        <a:pt x="99" y="125"/>
                      </a:lnTo>
                      <a:lnTo>
                        <a:pt x="135" y="125"/>
                      </a:lnTo>
                      <a:lnTo>
                        <a:pt x="165" y="92"/>
                      </a:lnTo>
                      <a:lnTo>
                        <a:pt x="215" y="92"/>
                      </a:lnTo>
                      <a:lnTo>
                        <a:pt x="264" y="30"/>
                      </a:lnTo>
                      <a:lnTo>
                        <a:pt x="310" y="0"/>
                      </a:lnTo>
                      <a:lnTo>
                        <a:pt x="344" y="4"/>
                      </a:lnTo>
                      <a:lnTo>
                        <a:pt x="364" y="10"/>
                      </a:lnTo>
                      <a:lnTo>
                        <a:pt x="368" y="99"/>
                      </a:lnTo>
                      <a:lnTo>
                        <a:pt x="348" y="101"/>
                      </a:lnTo>
                      <a:lnTo>
                        <a:pt x="340" y="121"/>
                      </a:lnTo>
                      <a:lnTo>
                        <a:pt x="344" y="137"/>
                      </a:lnTo>
                      <a:lnTo>
                        <a:pt x="356" y="137"/>
                      </a:lnTo>
                      <a:lnTo>
                        <a:pt x="372" y="125"/>
                      </a:lnTo>
                      <a:lnTo>
                        <a:pt x="386" y="129"/>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6" name="vMap : Lesotho">
                  <a:extLst>
                    <a:ext uri="{FF2B5EF4-FFF2-40B4-BE49-F238E27FC236}">
                      <a16:creationId xmlns:a16="http://schemas.microsoft.com/office/drawing/2014/main" xmlns="" id="{C664A735-80DE-4B4A-912D-ECC14B835A8B}"/>
                    </a:ext>
                  </a:extLst>
                </p:cNvPr>
                <p:cNvSpPr>
                  <a:spLocks noChangeAspect="1"/>
                </p:cNvSpPr>
                <p:nvPr>
                  <p:custDataLst>
                    <p:tags r:id="rId145"/>
                  </p:custDataLst>
                </p:nvPr>
              </p:nvSpPr>
              <p:spPr bwMode="gray">
                <a:xfrm>
                  <a:off x="4674491" y="4983955"/>
                  <a:ext cx="50203" cy="54425"/>
                </a:xfrm>
                <a:custGeom>
                  <a:avLst/>
                  <a:gdLst>
                    <a:gd name="T0" fmla="*/ 21 w 53"/>
                    <a:gd name="T1" fmla="*/ 8 h 58"/>
                    <a:gd name="T2" fmla="*/ 17 w 53"/>
                    <a:gd name="T3" fmla="*/ 15 h 58"/>
                    <a:gd name="T4" fmla="*/ 9 w 53"/>
                    <a:gd name="T5" fmla="*/ 21 h 58"/>
                    <a:gd name="T6" fmla="*/ 0 w 53"/>
                    <a:gd name="T7" fmla="*/ 11 h 58"/>
                    <a:gd name="T8" fmla="*/ 11 w 53"/>
                    <a:gd name="T9" fmla="*/ 0 h 58"/>
                    <a:gd name="T10" fmla="*/ 16 w 53"/>
                    <a:gd name="T11" fmla="*/ 1 h 58"/>
                    <a:gd name="T12" fmla="*/ 21 w 53"/>
                    <a:gd name="T13" fmla="*/ 8 h 5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58">
                      <a:moveTo>
                        <a:pt x="53" y="22"/>
                      </a:moveTo>
                      <a:lnTo>
                        <a:pt x="45" y="42"/>
                      </a:lnTo>
                      <a:lnTo>
                        <a:pt x="23" y="58"/>
                      </a:lnTo>
                      <a:lnTo>
                        <a:pt x="0" y="30"/>
                      </a:lnTo>
                      <a:lnTo>
                        <a:pt x="29" y="0"/>
                      </a:lnTo>
                      <a:lnTo>
                        <a:pt x="41" y="4"/>
                      </a:lnTo>
                      <a:lnTo>
                        <a:pt x="53" y="22"/>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7" name="vMap : Swaziland">
                  <a:extLst>
                    <a:ext uri="{FF2B5EF4-FFF2-40B4-BE49-F238E27FC236}">
                      <a16:creationId xmlns:a16="http://schemas.microsoft.com/office/drawing/2014/main" xmlns="" id="{8E5A7A14-431B-FB48-9A8F-8B867651E3AE}"/>
                    </a:ext>
                  </a:extLst>
                </p:cNvPr>
                <p:cNvSpPr>
                  <a:spLocks noChangeAspect="1"/>
                </p:cNvSpPr>
                <p:nvPr>
                  <p:custDataLst>
                    <p:tags r:id="rId146"/>
                  </p:custDataLst>
                </p:nvPr>
              </p:nvSpPr>
              <p:spPr bwMode="gray">
                <a:xfrm>
                  <a:off x="4761204" y="4910869"/>
                  <a:ext cx="28905" cy="35765"/>
                </a:xfrm>
                <a:custGeom>
                  <a:avLst/>
                  <a:gdLst>
                    <a:gd name="T0" fmla="*/ 10 w 32"/>
                    <a:gd name="T1" fmla="*/ 0 h 38"/>
                    <a:gd name="T2" fmla="*/ 3 w 32"/>
                    <a:gd name="T3" fmla="*/ 1 h 38"/>
                    <a:gd name="T4" fmla="*/ 0 w 32"/>
                    <a:gd name="T5" fmla="*/ 8 h 38"/>
                    <a:gd name="T6" fmla="*/ 1 w 32"/>
                    <a:gd name="T7" fmla="*/ 14 h 38"/>
                    <a:gd name="T8" fmla="*/ 6 w 32"/>
                    <a:gd name="T9" fmla="*/ 14 h 38"/>
                    <a:gd name="T10" fmla="*/ 11 w 32"/>
                    <a:gd name="T11" fmla="*/ 10 h 38"/>
                    <a:gd name="T12" fmla="*/ 10 w 32"/>
                    <a:gd name="T13" fmla="*/ 0 h 3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 h="38">
                      <a:moveTo>
                        <a:pt x="28" y="0"/>
                      </a:moveTo>
                      <a:lnTo>
                        <a:pt x="8" y="2"/>
                      </a:lnTo>
                      <a:lnTo>
                        <a:pt x="0" y="22"/>
                      </a:lnTo>
                      <a:lnTo>
                        <a:pt x="4" y="38"/>
                      </a:lnTo>
                      <a:lnTo>
                        <a:pt x="16" y="38"/>
                      </a:lnTo>
                      <a:lnTo>
                        <a:pt x="32" y="26"/>
                      </a:lnTo>
                      <a:lnTo>
                        <a:pt x="28"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38" name="vMap : Malawi">
                  <a:extLst>
                    <a:ext uri="{FF2B5EF4-FFF2-40B4-BE49-F238E27FC236}">
                      <a16:creationId xmlns:a16="http://schemas.microsoft.com/office/drawing/2014/main" xmlns="" id="{6B7D299E-E9BA-A84F-ADF2-21F84EA2E888}"/>
                    </a:ext>
                  </a:extLst>
                </p:cNvPr>
                <p:cNvSpPr>
                  <a:spLocks noChangeAspect="1"/>
                </p:cNvSpPr>
                <p:nvPr>
                  <p:custDataLst>
                    <p:tags r:id="rId147"/>
                  </p:custDataLst>
                </p:nvPr>
              </p:nvSpPr>
              <p:spPr bwMode="gray">
                <a:xfrm>
                  <a:off x="4814449" y="4478579"/>
                  <a:ext cx="71501" cy="199040"/>
                </a:xfrm>
                <a:custGeom>
                  <a:avLst/>
                  <a:gdLst>
                    <a:gd name="T0" fmla="*/ 4 w 76"/>
                    <a:gd name="T1" fmla="*/ 48 h 211"/>
                    <a:gd name="T2" fmla="*/ 7 w 76"/>
                    <a:gd name="T3" fmla="*/ 54 h 211"/>
                    <a:gd name="T4" fmla="*/ 16 w 76"/>
                    <a:gd name="T5" fmla="*/ 54 h 211"/>
                    <a:gd name="T6" fmla="*/ 13 w 76"/>
                    <a:gd name="T7" fmla="*/ 66 h 211"/>
                    <a:gd name="T8" fmla="*/ 24 w 76"/>
                    <a:gd name="T9" fmla="*/ 78 h 211"/>
                    <a:gd name="T10" fmla="*/ 22 w 76"/>
                    <a:gd name="T11" fmla="*/ 73 h 211"/>
                    <a:gd name="T12" fmla="*/ 28 w 76"/>
                    <a:gd name="T13" fmla="*/ 67 h 211"/>
                    <a:gd name="T14" fmla="*/ 29 w 76"/>
                    <a:gd name="T15" fmla="*/ 56 h 211"/>
                    <a:gd name="T16" fmla="*/ 20 w 76"/>
                    <a:gd name="T17" fmla="*/ 42 h 211"/>
                    <a:gd name="T18" fmla="*/ 24 w 76"/>
                    <a:gd name="T19" fmla="*/ 51 h 211"/>
                    <a:gd name="T20" fmla="*/ 16 w 76"/>
                    <a:gd name="T21" fmla="*/ 49 h 211"/>
                    <a:gd name="T22" fmla="*/ 12 w 76"/>
                    <a:gd name="T23" fmla="*/ 30 h 211"/>
                    <a:gd name="T24" fmla="*/ 15 w 76"/>
                    <a:gd name="T25" fmla="*/ 24 h 211"/>
                    <a:gd name="T26" fmla="*/ 13 w 76"/>
                    <a:gd name="T27" fmla="*/ 1 h 211"/>
                    <a:gd name="T28" fmla="*/ 3 w 76"/>
                    <a:gd name="T29" fmla="*/ 0 h 211"/>
                    <a:gd name="T30" fmla="*/ 9 w 76"/>
                    <a:gd name="T31" fmla="*/ 14 h 211"/>
                    <a:gd name="T32" fmla="*/ 6 w 76"/>
                    <a:gd name="T33" fmla="*/ 21 h 211"/>
                    <a:gd name="T34" fmla="*/ 7 w 76"/>
                    <a:gd name="T35" fmla="*/ 32 h 211"/>
                    <a:gd name="T36" fmla="*/ 3 w 76"/>
                    <a:gd name="T37" fmla="*/ 34 h 211"/>
                    <a:gd name="T38" fmla="*/ 0 w 76"/>
                    <a:gd name="T39" fmla="*/ 44 h 211"/>
                    <a:gd name="T40" fmla="*/ 4 w 76"/>
                    <a:gd name="T41" fmla="*/ 48 h 2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76" h="211">
                      <a:moveTo>
                        <a:pt x="12" y="130"/>
                      </a:moveTo>
                      <a:lnTo>
                        <a:pt x="20" y="146"/>
                      </a:lnTo>
                      <a:lnTo>
                        <a:pt x="42" y="146"/>
                      </a:lnTo>
                      <a:lnTo>
                        <a:pt x="34" y="179"/>
                      </a:lnTo>
                      <a:lnTo>
                        <a:pt x="62" y="211"/>
                      </a:lnTo>
                      <a:lnTo>
                        <a:pt x="58" y="199"/>
                      </a:lnTo>
                      <a:lnTo>
                        <a:pt x="72" y="183"/>
                      </a:lnTo>
                      <a:lnTo>
                        <a:pt x="76" y="154"/>
                      </a:lnTo>
                      <a:lnTo>
                        <a:pt x="54" y="116"/>
                      </a:lnTo>
                      <a:lnTo>
                        <a:pt x="62" y="138"/>
                      </a:lnTo>
                      <a:lnTo>
                        <a:pt x="42" y="134"/>
                      </a:lnTo>
                      <a:lnTo>
                        <a:pt x="30" y="80"/>
                      </a:lnTo>
                      <a:lnTo>
                        <a:pt x="38" y="66"/>
                      </a:lnTo>
                      <a:lnTo>
                        <a:pt x="34" y="4"/>
                      </a:lnTo>
                      <a:lnTo>
                        <a:pt x="8" y="0"/>
                      </a:lnTo>
                      <a:lnTo>
                        <a:pt x="22" y="38"/>
                      </a:lnTo>
                      <a:lnTo>
                        <a:pt x="16" y="58"/>
                      </a:lnTo>
                      <a:lnTo>
                        <a:pt x="20" y="88"/>
                      </a:lnTo>
                      <a:lnTo>
                        <a:pt x="8" y="92"/>
                      </a:lnTo>
                      <a:lnTo>
                        <a:pt x="0" y="120"/>
                      </a:lnTo>
                      <a:lnTo>
                        <a:pt x="12" y="13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39" name="vMap : Madagascar">
                  <a:extLst>
                    <a:ext uri="{FF2B5EF4-FFF2-40B4-BE49-F238E27FC236}">
                      <a16:creationId xmlns:a16="http://schemas.microsoft.com/office/drawing/2014/main" xmlns="" id="{4E0F132E-C365-8847-AC56-3FD73F2BC747}"/>
                    </a:ext>
                  </a:extLst>
                </p:cNvPr>
                <p:cNvGrpSpPr/>
                <p:nvPr/>
              </p:nvGrpSpPr>
              <p:grpSpPr>
                <a:xfrm>
                  <a:off x="5039599" y="4548555"/>
                  <a:ext cx="167341" cy="357650"/>
                  <a:chOff x="6550625" y="4234147"/>
                  <a:chExt cx="274064" cy="585761"/>
                </a:xfrm>
                <a:solidFill>
                  <a:srgbClr val="0F4DBC"/>
                </a:solidFill>
              </p:grpSpPr>
              <p:sp>
                <p:nvSpPr>
                  <p:cNvPr id="811" name="vMap : Madagascar (Islands)">
                    <a:extLst>
                      <a:ext uri="{FF2B5EF4-FFF2-40B4-BE49-F238E27FC236}">
                        <a16:creationId xmlns:a16="http://schemas.microsoft.com/office/drawing/2014/main" xmlns="" id="{CF46F209-3118-6644-BD59-FD3EAE95BF34}"/>
                      </a:ext>
                    </a:extLst>
                  </p:cNvPr>
                  <p:cNvSpPr>
                    <a:spLocks noChangeAspect="1"/>
                  </p:cNvSpPr>
                  <p:nvPr>
                    <p:custDataLst>
                      <p:tags r:id="rId306"/>
                    </p:custDataLst>
                  </p:nvPr>
                </p:nvSpPr>
                <p:spPr bwMode="gray">
                  <a:xfrm>
                    <a:off x="6607930" y="4234147"/>
                    <a:ext cx="12458" cy="15280"/>
                  </a:xfrm>
                  <a:custGeom>
                    <a:avLst/>
                    <a:gdLst>
                      <a:gd name="T0" fmla="*/ 3 w 8"/>
                      <a:gd name="T1" fmla="*/ 0 h 8"/>
                      <a:gd name="T2" fmla="*/ 2 w 8"/>
                      <a:gd name="T3" fmla="*/ 5 h 8"/>
                      <a:gd name="T4" fmla="*/ 0 w 8"/>
                      <a:gd name="T5" fmla="*/ 0 h 8"/>
                      <a:gd name="T6" fmla="*/ 3 w 8"/>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8">
                        <a:moveTo>
                          <a:pt x="8" y="0"/>
                        </a:moveTo>
                        <a:lnTo>
                          <a:pt x="4" y="8"/>
                        </a:lnTo>
                        <a:lnTo>
                          <a:pt x="0" y="0"/>
                        </a:lnTo>
                        <a:lnTo>
                          <a:pt x="8"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812" name="vMap : Madagascar (Mainland)">
                    <a:extLst>
                      <a:ext uri="{FF2B5EF4-FFF2-40B4-BE49-F238E27FC236}">
                        <a16:creationId xmlns:a16="http://schemas.microsoft.com/office/drawing/2014/main" xmlns="" id="{807EB1C9-C672-1347-9296-D5399149066F}"/>
                      </a:ext>
                    </a:extLst>
                  </p:cNvPr>
                  <p:cNvSpPr>
                    <a:spLocks noChangeAspect="1"/>
                  </p:cNvSpPr>
                  <p:nvPr>
                    <p:custDataLst>
                      <p:tags r:id="rId307"/>
                    </p:custDataLst>
                  </p:nvPr>
                </p:nvSpPr>
                <p:spPr bwMode="gray">
                  <a:xfrm>
                    <a:off x="6550625" y="4234147"/>
                    <a:ext cx="274064" cy="585761"/>
                  </a:xfrm>
                  <a:custGeom>
                    <a:avLst/>
                    <a:gdLst>
                      <a:gd name="T0" fmla="*/ 13 w 179"/>
                      <a:gd name="T1" fmla="*/ 44 h 373"/>
                      <a:gd name="T2" fmla="*/ 29 w 179"/>
                      <a:gd name="T3" fmla="*/ 38 h 373"/>
                      <a:gd name="T4" fmla="*/ 33 w 179"/>
                      <a:gd name="T5" fmla="*/ 41 h 373"/>
                      <a:gd name="T6" fmla="*/ 32 w 179"/>
                      <a:gd name="T7" fmla="*/ 36 h 373"/>
                      <a:gd name="T8" fmla="*/ 36 w 179"/>
                      <a:gd name="T9" fmla="*/ 34 h 373"/>
                      <a:gd name="T10" fmla="*/ 39 w 179"/>
                      <a:gd name="T11" fmla="*/ 35 h 373"/>
                      <a:gd name="T12" fmla="*/ 41 w 179"/>
                      <a:gd name="T13" fmla="*/ 28 h 373"/>
                      <a:gd name="T14" fmla="*/ 42 w 179"/>
                      <a:gd name="T15" fmla="*/ 31 h 373"/>
                      <a:gd name="T16" fmla="*/ 45 w 179"/>
                      <a:gd name="T17" fmla="*/ 27 h 373"/>
                      <a:gd name="T18" fmla="*/ 42 w 179"/>
                      <a:gd name="T19" fmla="*/ 23 h 373"/>
                      <a:gd name="T20" fmla="*/ 45 w 179"/>
                      <a:gd name="T21" fmla="*/ 22 h 373"/>
                      <a:gd name="T22" fmla="*/ 45 w 179"/>
                      <a:gd name="T23" fmla="*/ 17 h 373"/>
                      <a:gd name="T24" fmla="*/ 49 w 179"/>
                      <a:gd name="T25" fmla="*/ 17 h 373"/>
                      <a:gd name="T26" fmla="*/ 55 w 179"/>
                      <a:gd name="T27" fmla="*/ 12 h 373"/>
                      <a:gd name="T28" fmla="*/ 55 w 179"/>
                      <a:gd name="T29" fmla="*/ 3 h 373"/>
                      <a:gd name="T30" fmla="*/ 58 w 179"/>
                      <a:gd name="T31" fmla="*/ 0 h 373"/>
                      <a:gd name="T32" fmla="*/ 63 w 179"/>
                      <a:gd name="T33" fmla="*/ 9 h 373"/>
                      <a:gd name="T34" fmla="*/ 68 w 179"/>
                      <a:gd name="T35" fmla="*/ 35 h 373"/>
                      <a:gd name="T36" fmla="*/ 65 w 179"/>
                      <a:gd name="T37" fmla="*/ 39 h 373"/>
                      <a:gd name="T38" fmla="*/ 61 w 179"/>
                      <a:gd name="T39" fmla="*/ 35 h 373"/>
                      <a:gd name="T40" fmla="*/ 61 w 179"/>
                      <a:gd name="T41" fmla="*/ 48 h 373"/>
                      <a:gd name="T42" fmla="*/ 35 w 179"/>
                      <a:gd name="T43" fmla="*/ 131 h 373"/>
                      <a:gd name="T44" fmla="*/ 30 w 179"/>
                      <a:gd name="T45" fmla="*/ 138 h 373"/>
                      <a:gd name="T46" fmla="*/ 16 w 179"/>
                      <a:gd name="T47" fmla="*/ 142 h 373"/>
                      <a:gd name="T48" fmla="*/ 4 w 179"/>
                      <a:gd name="T49" fmla="*/ 131 h 373"/>
                      <a:gd name="T50" fmla="*/ 0 w 179"/>
                      <a:gd name="T51" fmla="*/ 110 h 373"/>
                      <a:gd name="T52" fmla="*/ 0 w 179"/>
                      <a:gd name="T53" fmla="*/ 102 h 373"/>
                      <a:gd name="T54" fmla="*/ 13 w 179"/>
                      <a:gd name="T55" fmla="*/ 80 h 373"/>
                      <a:gd name="T56" fmla="*/ 9 w 179"/>
                      <a:gd name="T57" fmla="*/ 57 h 373"/>
                      <a:gd name="T58" fmla="*/ 13 w 179"/>
                      <a:gd name="T59" fmla="*/ 44 h 37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79" h="373">
                        <a:moveTo>
                          <a:pt x="34" y="115"/>
                        </a:moveTo>
                        <a:lnTo>
                          <a:pt x="76" y="99"/>
                        </a:lnTo>
                        <a:lnTo>
                          <a:pt x="88" y="107"/>
                        </a:lnTo>
                        <a:lnTo>
                          <a:pt x="84" y="95"/>
                        </a:lnTo>
                        <a:lnTo>
                          <a:pt x="96" y="90"/>
                        </a:lnTo>
                        <a:lnTo>
                          <a:pt x="103" y="92"/>
                        </a:lnTo>
                        <a:lnTo>
                          <a:pt x="107" y="74"/>
                        </a:lnTo>
                        <a:lnTo>
                          <a:pt x="111" y="82"/>
                        </a:lnTo>
                        <a:lnTo>
                          <a:pt x="121" y="70"/>
                        </a:lnTo>
                        <a:lnTo>
                          <a:pt x="113" y="62"/>
                        </a:lnTo>
                        <a:lnTo>
                          <a:pt x="121" y="58"/>
                        </a:lnTo>
                        <a:lnTo>
                          <a:pt x="121" y="44"/>
                        </a:lnTo>
                        <a:lnTo>
                          <a:pt x="129" y="46"/>
                        </a:lnTo>
                        <a:lnTo>
                          <a:pt x="145" y="32"/>
                        </a:lnTo>
                        <a:lnTo>
                          <a:pt x="145" y="8"/>
                        </a:lnTo>
                        <a:lnTo>
                          <a:pt x="153" y="0"/>
                        </a:lnTo>
                        <a:lnTo>
                          <a:pt x="167" y="24"/>
                        </a:lnTo>
                        <a:lnTo>
                          <a:pt x="179" y="92"/>
                        </a:lnTo>
                        <a:lnTo>
                          <a:pt x="171" y="103"/>
                        </a:lnTo>
                        <a:lnTo>
                          <a:pt x="163" y="92"/>
                        </a:lnTo>
                        <a:lnTo>
                          <a:pt x="163" y="127"/>
                        </a:lnTo>
                        <a:lnTo>
                          <a:pt x="92" y="345"/>
                        </a:lnTo>
                        <a:lnTo>
                          <a:pt x="80" y="361"/>
                        </a:lnTo>
                        <a:lnTo>
                          <a:pt x="42" y="373"/>
                        </a:lnTo>
                        <a:lnTo>
                          <a:pt x="12" y="345"/>
                        </a:lnTo>
                        <a:lnTo>
                          <a:pt x="0" y="291"/>
                        </a:lnTo>
                        <a:lnTo>
                          <a:pt x="0" y="269"/>
                        </a:lnTo>
                        <a:lnTo>
                          <a:pt x="34" y="211"/>
                        </a:lnTo>
                        <a:lnTo>
                          <a:pt x="22" y="149"/>
                        </a:lnTo>
                        <a:lnTo>
                          <a:pt x="34" y="115"/>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sp>
              <p:nvSpPr>
                <p:cNvPr id="640" name="vMap : Nepal">
                  <a:extLst>
                    <a:ext uri="{FF2B5EF4-FFF2-40B4-BE49-F238E27FC236}">
                      <a16:creationId xmlns:a16="http://schemas.microsoft.com/office/drawing/2014/main" xmlns="" id="{CD054DBA-9473-EB45-A377-E21F41F69F32}"/>
                    </a:ext>
                  </a:extLst>
                </p:cNvPr>
                <p:cNvSpPr>
                  <a:spLocks noChangeAspect="1"/>
                </p:cNvSpPr>
                <p:nvPr>
                  <p:custDataLst>
                    <p:tags r:id="rId148"/>
                  </p:custDataLst>
                </p:nvPr>
              </p:nvSpPr>
              <p:spPr bwMode="gray">
                <a:xfrm>
                  <a:off x="5842836" y="3436730"/>
                  <a:ext cx="185596" cy="102631"/>
                </a:xfrm>
                <a:custGeom>
                  <a:avLst/>
                  <a:gdLst>
                    <a:gd name="T0" fmla="*/ 7 w 200"/>
                    <a:gd name="T1" fmla="*/ 0 h 108"/>
                    <a:gd name="T2" fmla="*/ 19 w 200"/>
                    <a:gd name="T3" fmla="*/ 1 h 108"/>
                    <a:gd name="T4" fmla="*/ 31 w 200"/>
                    <a:gd name="T5" fmla="*/ 11 h 108"/>
                    <a:gd name="T6" fmla="*/ 36 w 200"/>
                    <a:gd name="T7" fmla="*/ 10 h 108"/>
                    <a:gd name="T8" fmla="*/ 36 w 200"/>
                    <a:gd name="T9" fmla="*/ 14 h 108"/>
                    <a:gd name="T10" fmla="*/ 45 w 200"/>
                    <a:gd name="T11" fmla="*/ 16 h 108"/>
                    <a:gd name="T12" fmla="*/ 45 w 200"/>
                    <a:gd name="T13" fmla="*/ 20 h 108"/>
                    <a:gd name="T14" fmla="*/ 54 w 200"/>
                    <a:gd name="T15" fmla="*/ 24 h 108"/>
                    <a:gd name="T16" fmla="*/ 73 w 200"/>
                    <a:gd name="T17" fmla="*/ 24 h 108"/>
                    <a:gd name="T18" fmla="*/ 73 w 200"/>
                    <a:gd name="T19" fmla="*/ 31 h 108"/>
                    <a:gd name="T20" fmla="*/ 74 w 200"/>
                    <a:gd name="T21" fmla="*/ 39 h 108"/>
                    <a:gd name="T22" fmla="*/ 67 w 200"/>
                    <a:gd name="T23" fmla="*/ 40 h 108"/>
                    <a:gd name="T24" fmla="*/ 47 w 200"/>
                    <a:gd name="T25" fmla="*/ 36 h 108"/>
                    <a:gd name="T26" fmla="*/ 40 w 200"/>
                    <a:gd name="T27" fmla="*/ 30 h 108"/>
                    <a:gd name="T28" fmla="*/ 27 w 200"/>
                    <a:gd name="T29" fmla="*/ 28 h 108"/>
                    <a:gd name="T30" fmla="*/ 0 w 200"/>
                    <a:gd name="T31" fmla="*/ 14 h 108"/>
                    <a:gd name="T32" fmla="*/ 1 w 200"/>
                    <a:gd name="T33" fmla="*/ 4 h 108"/>
                    <a:gd name="T34" fmla="*/ 7 w 200"/>
                    <a:gd name="T35" fmla="*/ 0 h 10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0" h="108">
                      <a:moveTo>
                        <a:pt x="18" y="0"/>
                      </a:moveTo>
                      <a:lnTo>
                        <a:pt x="50" y="4"/>
                      </a:lnTo>
                      <a:lnTo>
                        <a:pt x="84" y="30"/>
                      </a:lnTo>
                      <a:lnTo>
                        <a:pt x="96" y="28"/>
                      </a:lnTo>
                      <a:lnTo>
                        <a:pt x="96" y="38"/>
                      </a:lnTo>
                      <a:lnTo>
                        <a:pt x="122" y="42"/>
                      </a:lnTo>
                      <a:lnTo>
                        <a:pt x="122" y="54"/>
                      </a:lnTo>
                      <a:lnTo>
                        <a:pt x="146" y="66"/>
                      </a:lnTo>
                      <a:lnTo>
                        <a:pt x="196" y="66"/>
                      </a:lnTo>
                      <a:lnTo>
                        <a:pt x="196" y="84"/>
                      </a:lnTo>
                      <a:lnTo>
                        <a:pt x="200" y="104"/>
                      </a:lnTo>
                      <a:lnTo>
                        <a:pt x="180" y="108"/>
                      </a:lnTo>
                      <a:lnTo>
                        <a:pt x="126" y="96"/>
                      </a:lnTo>
                      <a:lnTo>
                        <a:pt x="108" y="80"/>
                      </a:lnTo>
                      <a:lnTo>
                        <a:pt x="72" y="76"/>
                      </a:lnTo>
                      <a:lnTo>
                        <a:pt x="0" y="38"/>
                      </a:lnTo>
                      <a:lnTo>
                        <a:pt x="4" y="12"/>
                      </a:lnTo>
                      <a:lnTo>
                        <a:pt x="18"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1" name="vMap : Mongolia">
                  <a:extLst>
                    <a:ext uri="{FF2B5EF4-FFF2-40B4-BE49-F238E27FC236}">
                      <a16:creationId xmlns:a16="http://schemas.microsoft.com/office/drawing/2014/main" xmlns="" id="{A45A0036-CF57-894A-9383-1E550F126AE7}"/>
                    </a:ext>
                  </a:extLst>
                </p:cNvPr>
                <p:cNvSpPr>
                  <a:spLocks noChangeAspect="1"/>
                </p:cNvSpPr>
                <p:nvPr>
                  <p:custDataLst>
                    <p:tags r:id="rId149"/>
                  </p:custDataLst>
                </p:nvPr>
              </p:nvSpPr>
              <p:spPr bwMode="gray">
                <a:xfrm>
                  <a:off x="5853485" y="2869154"/>
                  <a:ext cx="661758" cy="267460"/>
                </a:xfrm>
                <a:custGeom>
                  <a:avLst/>
                  <a:gdLst>
                    <a:gd name="T0" fmla="*/ 0 w 709"/>
                    <a:gd name="T1" fmla="*/ 31 h 283"/>
                    <a:gd name="T2" fmla="*/ 13 w 709"/>
                    <a:gd name="T3" fmla="*/ 41 h 283"/>
                    <a:gd name="T4" fmla="*/ 26 w 709"/>
                    <a:gd name="T5" fmla="*/ 44 h 283"/>
                    <a:gd name="T6" fmla="*/ 36 w 709"/>
                    <a:gd name="T7" fmla="*/ 55 h 283"/>
                    <a:gd name="T8" fmla="*/ 37 w 709"/>
                    <a:gd name="T9" fmla="*/ 67 h 283"/>
                    <a:gd name="T10" fmla="*/ 81 w 709"/>
                    <a:gd name="T11" fmla="*/ 77 h 283"/>
                    <a:gd name="T12" fmla="*/ 101 w 709"/>
                    <a:gd name="T13" fmla="*/ 93 h 283"/>
                    <a:gd name="T14" fmla="*/ 133 w 709"/>
                    <a:gd name="T15" fmla="*/ 91 h 283"/>
                    <a:gd name="T16" fmla="*/ 172 w 709"/>
                    <a:gd name="T17" fmla="*/ 105 h 283"/>
                    <a:gd name="T18" fmla="*/ 192 w 709"/>
                    <a:gd name="T19" fmla="*/ 95 h 283"/>
                    <a:gd name="T20" fmla="*/ 211 w 709"/>
                    <a:gd name="T21" fmla="*/ 94 h 283"/>
                    <a:gd name="T22" fmla="*/ 221 w 709"/>
                    <a:gd name="T23" fmla="*/ 83 h 283"/>
                    <a:gd name="T24" fmla="*/ 215 w 709"/>
                    <a:gd name="T25" fmla="*/ 77 h 283"/>
                    <a:gd name="T26" fmla="*/ 215 w 709"/>
                    <a:gd name="T27" fmla="*/ 71 h 283"/>
                    <a:gd name="T28" fmla="*/ 229 w 709"/>
                    <a:gd name="T29" fmla="*/ 72 h 283"/>
                    <a:gd name="T30" fmla="*/ 247 w 709"/>
                    <a:gd name="T31" fmla="*/ 54 h 283"/>
                    <a:gd name="T32" fmla="*/ 267 w 709"/>
                    <a:gd name="T33" fmla="*/ 54 h 283"/>
                    <a:gd name="T34" fmla="*/ 250 w 709"/>
                    <a:gd name="T35" fmla="*/ 39 h 283"/>
                    <a:gd name="T36" fmla="*/ 242 w 709"/>
                    <a:gd name="T37" fmla="*/ 45 h 283"/>
                    <a:gd name="T38" fmla="*/ 232 w 709"/>
                    <a:gd name="T39" fmla="*/ 44 h 283"/>
                    <a:gd name="T40" fmla="*/ 222 w 709"/>
                    <a:gd name="T41" fmla="*/ 28 h 283"/>
                    <a:gd name="T42" fmla="*/ 223 w 709"/>
                    <a:gd name="T43" fmla="*/ 21 h 283"/>
                    <a:gd name="T44" fmla="*/ 208 w 709"/>
                    <a:gd name="T45" fmla="*/ 18 h 283"/>
                    <a:gd name="T46" fmla="*/ 199 w 709"/>
                    <a:gd name="T47" fmla="*/ 24 h 283"/>
                    <a:gd name="T48" fmla="*/ 178 w 709"/>
                    <a:gd name="T49" fmla="*/ 28 h 283"/>
                    <a:gd name="T50" fmla="*/ 134 w 709"/>
                    <a:gd name="T51" fmla="*/ 14 h 283"/>
                    <a:gd name="T52" fmla="*/ 114 w 709"/>
                    <a:gd name="T53" fmla="*/ 17 h 283"/>
                    <a:gd name="T54" fmla="*/ 107 w 709"/>
                    <a:gd name="T55" fmla="*/ 13 h 283"/>
                    <a:gd name="T56" fmla="*/ 101 w 709"/>
                    <a:gd name="T57" fmla="*/ 5 h 283"/>
                    <a:gd name="T58" fmla="*/ 77 w 709"/>
                    <a:gd name="T59" fmla="*/ 0 h 283"/>
                    <a:gd name="T60" fmla="*/ 70 w 709"/>
                    <a:gd name="T61" fmla="*/ 7 h 283"/>
                    <a:gd name="T62" fmla="*/ 75 w 709"/>
                    <a:gd name="T63" fmla="*/ 14 h 283"/>
                    <a:gd name="T64" fmla="*/ 75 w 709"/>
                    <a:gd name="T65" fmla="*/ 20 h 283"/>
                    <a:gd name="T66" fmla="*/ 53 w 709"/>
                    <a:gd name="T67" fmla="*/ 21 h 283"/>
                    <a:gd name="T68" fmla="*/ 45 w 709"/>
                    <a:gd name="T69" fmla="*/ 17 h 283"/>
                    <a:gd name="T70" fmla="*/ 25 w 709"/>
                    <a:gd name="T71" fmla="*/ 14 h 283"/>
                    <a:gd name="T72" fmla="*/ 1 w 709"/>
                    <a:gd name="T73" fmla="*/ 25 h 283"/>
                    <a:gd name="T74" fmla="*/ 0 w 709"/>
                    <a:gd name="T75" fmla="*/ 31 h 28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09" h="283">
                      <a:moveTo>
                        <a:pt x="0" y="84"/>
                      </a:moveTo>
                      <a:lnTo>
                        <a:pt x="36" y="110"/>
                      </a:lnTo>
                      <a:lnTo>
                        <a:pt x="70" y="118"/>
                      </a:lnTo>
                      <a:lnTo>
                        <a:pt x="94" y="150"/>
                      </a:lnTo>
                      <a:lnTo>
                        <a:pt x="100" y="183"/>
                      </a:lnTo>
                      <a:lnTo>
                        <a:pt x="215" y="209"/>
                      </a:lnTo>
                      <a:lnTo>
                        <a:pt x="269" y="251"/>
                      </a:lnTo>
                      <a:lnTo>
                        <a:pt x="353" y="247"/>
                      </a:lnTo>
                      <a:lnTo>
                        <a:pt x="456" y="283"/>
                      </a:lnTo>
                      <a:lnTo>
                        <a:pt x="510" y="259"/>
                      </a:lnTo>
                      <a:lnTo>
                        <a:pt x="560" y="255"/>
                      </a:lnTo>
                      <a:lnTo>
                        <a:pt x="586" y="225"/>
                      </a:lnTo>
                      <a:lnTo>
                        <a:pt x="570" y="209"/>
                      </a:lnTo>
                      <a:lnTo>
                        <a:pt x="570" y="191"/>
                      </a:lnTo>
                      <a:lnTo>
                        <a:pt x="610" y="195"/>
                      </a:lnTo>
                      <a:lnTo>
                        <a:pt x="656" y="146"/>
                      </a:lnTo>
                      <a:lnTo>
                        <a:pt x="709" y="146"/>
                      </a:lnTo>
                      <a:lnTo>
                        <a:pt x="664" y="106"/>
                      </a:lnTo>
                      <a:lnTo>
                        <a:pt x="644" y="122"/>
                      </a:lnTo>
                      <a:lnTo>
                        <a:pt x="616" y="118"/>
                      </a:lnTo>
                      <a:lnTo>
                        <a:pt x="590" y="76"/>
                      </a:lnTo>
                      <a:lnTo>
                        <a:pt x="594" y="56"/>
                      </a:lnTo>
                      <a:lnTo>
                        <a:pt x="552" y="50"/>
                      </a:lnTo>
                      <a:lnTo>
                        <a:pt x="528" y="64"/>
                      </a:lnTo>
                      <a:lnTo>
                        <a:pt x="472" y="76"/>
                      </a:lnTo>
                      <a:lnTo>
                        <a:pt x="357" y="38"/>
                      </a:lnTo>
                      <a:lnTo>
                        <a:pt x="303" y="46"/>
                      </a:lnTo>
                      <a:lnTo>
                        <a:pt x="283" y="34"/>
                      </a:lnTo>
                      <a:lnTo>
                        <a:pt x="269" y="14"/>
                      </a:lnTo>
                      <a:lnTo>
                        <a:pt x="204" y="0"/>
                      </a:lnTo>
                      <a:lnTo>
                        <a:pt x="186" y="18"/>
                      </a:lnTo>
                      <a:lnTo>
                        <a:pt x="200" y="38"/>
                      </a:lnTo>
                      <a:lnTo>
                        <a:pt x="200" y="54"/>
                      </a:lnTo>
                      <a:lnTo>
                        <a:pt x="140" y="56"/>
                      </a:lnTo>
                      <a:lnTo>
                        <a:pt x="120" y="46"/>
                      </a:lnTo>
                      <a:lnTo>
                        <a:pt x="66" y="38"/>
                      </a:lnTo>
                      <a:lnTo>
                        <a:pt x="4" y="68"/>
                      </a:lnTo>
                      <a:lnTo>
                        <a:pt x="0" y="8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2" name="vMap : Myanmar (Burma)">
                  <a:extLst>
                    <a:ext uri="{FF2B5EF4-FFF2-40B4-BE49-F238E27FC236}">
                      <a16:creationId xmlns:a16="http://schemas.microsoft.com/office/drawing/2014/main" xmlns="" id="{1DF6C1B3-2B1B-854C-A450-C218BC27C4D6}"/>
                    </a:ext>
                  </a:extLst>
                </p:cNvPr>
                <p:cNvSpPr>
                  <a:spLocks noChangeAspect="1"/>
                </p:cNvSpPr>
                <p:nvPr>
                  <p:custDataLst>
                    <p:tags r:id="rId150"/>
                  </p:custDataLst>
                </p:nvPr>
              </p:nvSpPr>
              <p:spPr bwMode="gray">
                <a:xfrm>
                  <a:off x="6137964" y="3488044"/>
                  <a:ext cx="197766" cy="478940"/>
                </a:xfrm>
                <a:custGeom>
                  <a:avLst/>
                  <a:gdLst>
                    <a:gd name="T0" fmla="*/ 80 w 211"/>
                    <a:gd name="T1" fmla="*/ 70 h 500"/>
                    <a:gd name="T2" fmla="*/ 73 w 211"/>
                    <a:gd name="T3" fmla="*/ 79 h 500"/>
                    <a:gd name="T4" fmla="*/ 61 w 211"/>
                    <a:gd name="T5" fmla="*/ 90 h 500"/>
                    <a:gd name="T6" fmla="*/ 55 w 211"/>
                    <a:gd name="T7" fmla="*/ 91 h 500"/>
                    <a:gd name="T8" fmla="*/ 52 w 211"/>
                    <a:gd name="T9" fmla="*/ 103 h 500"/>
                    <a:gd name="T10" fmla="*/ 67 w 211"/>
                    <a:gd name="T11" fmla="*/ 126 h 500"/>
                    <a:gd name="T12" fmla="*/ 63 w 211"/>
                    <a:gd name="T13" fmla="*/ 140 h 500"/>
                    <a:gd name="T14" fmla="*/ 71 w 211"/>
                    <a:gd name="T15" fmla="*/ 150 h 500"/>
                    <a:gd name="T16" fmla="*/ 79 w 211"/>
                    <a:gd name="T17" fmla="*/ 171 h 500"/>
                    <a:gd name="T18" fmla="*/ 71 w 211"/>
                    <a:gd name="T19" fmla="*/ 190 h 500"/>
                    <a:gd name="T20" fmla="*/ 71 w 211"/>
                    <a:gd name="T21" fmla="*/ 172 h 500"/>
                    <a:gd name="T22" fmla="*/ 68 w 211"/>
                    <a:gd name="T23" fmla="*/ 171 h 500"/>
                    <a:gd name="T24" fmla="*/ 68 w 211"/>
                    <a:gd name="T25" fmla="*/ 161 h 500"/>
                    <a:gd name="T26" fmla="*/ 58 w 211"/>
                    <a:gd name="T27" fmla="*/ 139 h 500"/>
                    <a:gd name="T28" fmla="*/ 55 w 211"/>
                    <a:gd name="T29" fmla="*/ 123 h 500"/>
                    <a:gd name="T30" fmla="*/ 48 w 211"/>
                    <a:gd name="T31" fmla="*/ 119 h 500"/>
                    <a:gd name="T32" fmla="*/ 46 w 211"/>
                    <a:gd name="T33" fmla="*/ 113 h 500"/>
                    <a:gd name="T34" fmla="*/ 46 w 211"/>
                    <a:gd name="T35" fmla="*/ 120 h 500"/>
                    <a:gd name="T36" fmla="*/ 35 w 211"/>
                    <a:gd name="T37" fmla="*/ 131 h 500"/>
                    <a:gd name="T38" fmla="*/ 25 w 211"/>
                    <a:gd name="T39" fmla="*/ 128 h 500"/>
                    <a:gd name="T40" fmla="*/ 26 w 211"/>
                    <a:gd name="T41" fmla="*/ 116 h 500"/>
                    <a:gd name="T42" fmla="*/ 23 w 211"/>
                    <a:gd name="T43" fmla="*/ 104 h 500"/>
                    <a:gd name="T44" fmla="*/ 14 w 211"/>
                    <a:gd name="T45" fmla="*/ 94 h 500"/>
                    <a:gd name="T46" fmla="*/ 17 w 211"/>
                    <a:gd name="T47" fmla="*/ 94 h 500"/>
                    <a:gd name="T48" fmla="*/ 14 w 211"/>
                    <a:gd name="T49" fmla="*/ 90 h 500"/>
                    <a:gd name="T50" fmla="*/ 0 w 211"/>
                    <a:gd name="T51" fmla="*/ 77 h 500"/>
                    <a:gd name="T52" fmla="*/ 1 w 211"/>
                    <a:gd name="T53" fmla="*/ 67 h 500"/>
                    <a:gd name="T54" fmla="*/ 6 w 211"/>
                    <a:gd name="T55" fmla="*/ 63 h 500"/>
                    <a:gd name="T56" fmla="*/ 6 w 211"/>
                    <a:gd name="T57" fmla="*/ 47 h 500"/>
                    <a:gd name="T58" fmla="*/ 13 w 211"/>
                    <a:gd name="T59" fmla="*/ 44 h 500"/>
                    <a:gd name="T60" fmla="*/ 19 w 211"/>
                    <a:gd name="T61" fmla="*/ 19 h 500"/>
                    <a:gd name="T62" fmla="*/ 25 w 211"/>
                    <a:gd name="T63" fmla="*/ 11 h 500"/>
                    <a:gd name="T64" fmla="*/ 33 w 211"/>
                    <a:gd name="T65" fmla="*/ 11 h 500"/>
                    <a:gd name="T66" fmla="*/ 35 w 211"/>
                    <a:gd name="T67" fmla="*/ 1 h 500"/>
                    <a:gd name="T68" fmla="*/ 39 w 211"/>
                    <a:gd name="T69" fmla="*/ 0 h 500"/>
                    <a:gd name="T70" fmla="*/ 46 w 211"/>
                    <a:gd name="T71" fmla="*/ 7 h 500"/>
                    <a:gd name="T72" fmla="*/ 49 w 211"/>
                    <a:gd name="T73" fmla="*/ 17 h 500"/>
                    <a:gd name="T74" fmla="*/ 46 w 211"/>
                    <a:gd name="T75" fmla="*/ 46 h 500"/>
                    <a:gd name="T76" fmla="*/ 55 w 211"/>
                    <a:gd name="T77" fmla="*/ 44 h 500"/>
                    <a:gd name="T78" fmla="*/ 58 w 211"/>
                    <a:gd name="T79" fmla="*/ 52 h 500"/>
                    <a:gd name="T80" fmla="*/ 63 w 211"/>
                    <a:gd name="T81" fmla="*/ 55 h 500"/>
                    <a:gd name="T82" fmla="*/ 63 w 211"/>
                    <a:gd name="T83" fmla="*/ 62 h 500"/>
                    <a:gd name="T84" fmla="*/ 73 w 211"/>
                    <a:gd name="T85" fmla="*/ 70 h 500"/>
                    <a:gd name="T86" fmla="*/ 80 w 211"/>
                    <a:gd name="T87" fmla="*/ 70 h 5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11" h="500">
                      <a:moveTo>
                        <a:pt x="211" y="183"/>
                      </a:moveTo>
                      <a:lnTo>
                        <a:pt x="191" y="207"/>
                      </a:lnTo>
                      <a:lnTo>
                        <a:pt x="161" y="237"/>
                      </a:lnTo>
                      <a:lnTo>
                        <a:pt x="145" y="241"/>
                      </a:lnTo>
                      <a:lnTo>
                        <a:pt x="138" y="271"/>
                      </a:lnTo>
                      <a:lnTo>
                        <a:pt x="175" y="333"/>
                      </a:lnTo>
                      <a:lnTo>
                        <a:pt x="165" y="370"/>
                      </a:lnTo>
                      <a:lnTo>
                        <a:pt x="187" y="394"/>
                      </a:lnTo>
                      <a:lnTo>
                        <a:pt x="207" y="450"/>
                      </a:lnTo>
                      <a:lnTo>
                        <a:pt x="187" y="500"/>
                      </a:lnTo>
                      <a:lnTo>
                        <a:pt x="187" y="454"/>
                      </a:lnTo>
                      <a:lnTo>
                        <a:pt x="179" y="450"/>
                      </a:lnTo>
                      <a:lnTo>
                        <a:pt x="179" y="424"/>
                      </a:lnTo>
                      <a:lnTo>
                        <a:pt x="153" y="367"/>
                      </a:lnTo>
                      <a:lnTo>
                        <a:pt x="145" y="325"/>
                      </a:lnTo>
                      <a:lnTo>
                        <a:pt x="126" y="313"/>
                      </a:lnTo>
                      <a:lnTo>
                        <a:pt x="122" y="299"/>
                      </a:lnTo>
                      <a:lnTo>
                        <a:pt x="122" y="317"/>
                      </a:lnTo>
                      <a:lnTo>
                        <a:pt x="92" y="345"/>
                      </a:lnTo>
                      <a:lnTo>
                        <a:pt x="66" y="337"/>
                      </a:lnTo>
                      <a:lnTo>
                        <a:pt x="70" y="305"/>
                      </a:lnTo>
                      <a:lnTo>
                        <a:pt x="62" y="275"/>
                      </a:lnTo>
                      <a:lnTo>
                        <a:pt x="38" y="249"/>
                      </a:lnTo>
                      <a:lnTo>
                        <a:pt x="46" y="249"/>
                      </a:lnTo>
                      <a:lnTo>
                        <a:pt x="38" y="237"/>
                      </a:lnTo>
                      <a:lnTo>
                        <a:pt x="0" y="203"/>
                      </a:lnTo>
                      <a:lnTo>
                        <a:pt x="4" y="175"/>
                      </a:lnTo>
                      <a:lnTo>
                        <a:pt x="16" y="167"/>
                      </a:lnTo>
                      <a:lnTo>
                        <a:pt x="16" y="125"/>
                      </a:lnTo>
                      <a:lnTo>
                        <a:pt x="34" y="117"/>
                      </a:lnTo>
                      <a:lnTo>
                        <a:pt x="50" y="50"/>
                      </a:lnTo>
                      <a:lnTo>
                        <a:pt x="66" y="30"/>
                      </a:lnTo>
                      <a:lnTo>
                        <a:pt x="88" y="30"/>
                      </a:lnTo>
                      <a:lnTo>
                        <a:pt x="92" y="4"/>
                      </a:lnTo>
                      <a:lnTo>
                        <a:pt x="104" y="0"/>
                      </a:lnTo>
                      <a:lnTo>
                        <a:pt x="122" y="20"/>
                      </a:lnTo>
                      <a:lnTo>
                        <a:pt x="130" y="46"/>
                      </a:lnTo>
                      <a:lnTo>
                        <a:pt x="120" y="121"/>
                      </a:lnTo>
                      <a:lnTo>
                        <a:pt x="145" y="115"/>
                      </a:lnTo>
                      <a:lnTo>
                        <a:pt x="153" y="137"/>
                      </a:lnTo>
                      <a:lnTo>
                        <a:pt x="165" y="145"/>
                      </a:lnTo>
                      <a:lnTo>
                        <a:pt x="165" y="163"/>
                      </a:lnTo>
                      <a:lnTo>
                        <a:pt x="191" y="183"/>
                      </a:lnTo>
                      <a:lnTo>
                        <a:pt x="211" y="183"/>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3" name="vMap : China (Hainan)">
                  <a:extLst>
                    <a:ext uri="{FF2B5EF4-FFF2-40B4-BE49-F238E27FC236}">
                      <a16:creationId xmlns:a16="http://schemas.microsoft.com/office/drawing/2014/main" xmlns="" id="{5697D6B1-AE03-1A43-B17A-0491FBC66601}"/>
                    </a:ext>
                  </a:extLst>
                </p:cNvPr>
                <p:cNvSpPr>
                  <a:spLocks noChangeAspect="1"/>
                </p:cNvSpPr>
                <p:nvPr>
                  <p:custDataLst>
                    <p:tags r:id="rId151"/>
                  </p:custDataLst>
                </p:nvPr>
              </p:nvSpPr>
              <p:spPr bwMode="gray">
                <a:xfrm>
                  <a:off x="6510679" y="3702635"/>
                  <a:ext cx="47160" cy="51315"/>
                </a:xfrm>
                <a:custGeom>
                  <a:avLst/>
                  <a:gdLst>
                    <a:gd name="T0" fmla="*/ 15 w 52"/>
                    <a:gd name="T1" fmla="*/ 0 h 54"/>
                    <a:gd name="T2" fmla="*/ 18 w 52"/>
                    <a:gd name="T3" fmla="*/ 4 h 54"/>
                    <a:gd name="T4" fmla="*/ 16 w 52"/>
                    <a:gd name="T5" fmla="*/ 13 h 54"/>
                    <a:gd name="T6" fmla="*/ 11 w 52"/>
                    <a:gd name="T7" fmla="*/ 20 h 54"/>
                    <a:gd name="T8" fmla="*/ 2 w 52"/>
                    <a:gd name="T9" fmla="*/ 17 h 54"/>
                    <a:gd name="T10" fmla="*/ 0 w 52"/>
                    <a:gd name="T11" fmla="*/ 9 h 54"/>
                    <a:gd name="T12" fmla="*/ 7 w 52"/>
                    <a:gd name="T13" fmla="*/ 1 h 54"/>
                    <a:gd name="T14" fmla="*/ 15 w 52"/>
                    <a:gd name="T15" fmla="*/ 0 h 5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2" h="54">
                      <a:moveTo>
                        <a:pt x="42" y="0"/>
                      </a:moveTo>
                      <a:lnTo>
                        <a:pt x="52" y="12"/>
                      </a:lnTo>
                      <a:lnTo>
                        <a:pt x="46" y="34"/>
                      </a:lnTo>
                      <a:lnTo>
                        <a:pt x="30" y="54"/>
                      </a:lnTo>
                      <a:lnTo>
                        <a:pt x="6" y="46"/>
                      </a:lnTo>
                      <a:lnTo>
                        <a:pt x="0" y="24"/>
                      </a:lnTo>
                      <a:lnTo>
                        <a:pt x="18" y="4"/>
                      </a:lnTo>
                      <a:lnTo>
                        <a:pt x="42" y="0"/>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4" name="vMap : Laos">
                  <a:extLst>
                    <a:ext uri="{FF2B5EF4-FFF2-40B4-BE49-F238E27FC236}">
                      <a16:creationId xmlns:a16="http://schemas.microsoft.com/office/drawing/2014/main" xmlns="" id="{7B07098F-BF81-EC41-995B-91E92CBE5443}"/>
                    </a:ext>
                  </a:extLst>
                </p:cNvPr>
                <p:cNvSpPr>
                  <a:spLocks noChangeAspect="1"/>
                </p:cNvSpPr>
                <p:nvPr>
                  <p:custDataLst>
                    <p:tags r:id="rId152"/>
                  </p:custDataLst>
                </p:nvPr>
              </p:nvSpPr>
              <p:spPr bwMode="gray">
                <a:xfrm>
                  <a:off x="6317476" y="3641989"/>
                  <a:ext cx="181033" cy="223920"/>
                </a:xfrm>
                <a:custGeom>
                  <a:avLst/>
                  <a:gdLst>
                    <a:gd name="T0" fmla="*/ 7 w 195"/>
                    <a:gd name="T1" fmla="*/ 9 h 233"/>
                    <a:gd name="T2" fmla="*/ 0 w 195"/>
                    <a:gd name="T3" fmla="*/ 17 h 233"/>
                    <a:gd name="T4" fmla="*/ 4 w 195"/>
                    <a:gd name="T5" fmla="*/ 27 h 233"/>
                    <a:gd name="T6" fmla="*/ 10 w 195"/>
                    <a:gd name="T7" fmla="*/ 29 h 233"/>
                    <a:gd name="T8" fmla="*/ 11 w 195"/>
                    <a:gd name="T9" fmla="*/ 51 h 233"/>
                    <a:gd name="T10" fmla="*/ 19 w 195"/>
                    <a:gd name="T11" fmla="*/ 45 h 233"/>
                    <a:gd name="T12" fmla="*/ 26 w 195"/>
                    <a:gd name="T13" fmla="*/ 48 h 233"/>
                    <a:gd name="T14" fmla="*/ 33 w 195"/>
                    <a:gd name="T15" fmla="*/ 42 h 233"/>
                    <a:gd name="T16" fmla="*/ 43 w 195"/>
                    <a:gd name="T17" fmla="*/ 51 h 233"/>
                    <a:gd name="T18" fmla="*/ 47 w 195"/>
                    <a:gd name="T19" fmla="*/ 64 h 233"/>
                    <a:gd name="T20" fmla="*/ 54 w 195"/>
                    <a:gd name="T21" fmla="*/ 72 h 233"/>
                    <a:gd name="T22" fmla="*/ 53 w 195"/>
                    <a:gd name="T23" fmla="*/ 86 h 233"/>
                    <a:gd name="T24" fmla="*/ 60 w 195"/>
                    <a:gd name="T25" fmla="*/ 89 h 233"/>
                    <a:gd name="T26" fmla="*/ 63 w 195"/>
                    <a:gd name="T27" fmla="*/ 85 h 233"/>
                    <a:gd name="T28" fmla="*/ 73 w 195"/>
                    <a:gd name="T29" fmla="*/ 82 h 233"/>
                    <a:gd name="T30" fmla="*/ 68 w 195"/>
                    <a:gd name="T31" fmla="*/ 66 h 233"/>
                    <a:gd name="T32" fmla="*/ 62 w 195"/>
                    <a:gd name="T33" fmla="*/ 59 h 233"/>
                    <a:gd name="T34" fmla="*/ 45 w 195"/>
                    <a:gd name="T35" fmla="*/ 39 h 233"/>
                    <a:gd name="T36" fmla="*/ 36 w 195"/>
                    <a:gd name="T37" fmla="*/ 33 h 233"/>
                    <a:gd name="T38" fmla="*/ 41 w 195"/>
                    <a:gd name="T39" fmla="*/ 26 h 233"/>
                    <a:gd name="T40" fmla="*/ 37 w 195"/>
                    <a:gd name="T41" fmla="*/ 17 h 233"/>
                    <a:gd name="T42" fmla="*/ 26 w 195"/>
                    <a:gd name="T43" fmla="*/ 16 h 233"/>
                    <a:gd name="T44" fmla="*/ 16 w 195"/>
                    <a:gd name="T45" fmla="*/ 0 h 233"/>
                    <a:gd name="T46" fmla="*/ 10 w 195"/>
                    <a:gd name="T47" fmla="*/ 0 h 233"/>
                    <a:gd name="T48" fmla="*/ 11 w 195"/>
                    <a:gd name="T49" fmla="*/ 12 h 233"/>
                    <a:gd name="T50" fmla="*/ 8 w 195"/>
                    <a:gd name="T51" fmla="*/ 13 h 233"/>
                    <a:gd name="T52" fmla="*/ 7 w 195"/>
                    <a:gd name="T53" fmla="*/ 9 h 23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95" h="233">
                      <a:moveTo>
                        <a:pt x="20" y="22"/>
                      </a:moveTo>
                      <a:lnTo>
                        <a:pt x="0" y="46"/>
                      </a:lnTo>
                      <a:lnTo>
                        <a:pt x="12" y="72"/>
                      </a:lnTo>
                      <a:lnTo>
                        <a:pt x="26" y="76"/>
                      </a:lnTo>
                      <a:lnTo>
                        <a:pt x="30" y="134"/>
                      </a:lnTo>
                      <a:lnTo>
                        <a:pt x="50" y="118"/>
                      </a:lnTo>
                      <a:lnTo>
                        <a:pt x="70" y="126"/>
                      </a:lnTo>
                      <a:lnTo>
                        <a:pt x="88" y="110"/>
                      </a:lnTo>
                      <a:lnTo>
                        <a:pt x="116" y="134"/>
                      </a:lnTo>
                      <a:lnTo>
                        <a:pt x="126" y="168"/>
                      </a:lnTo>
                      <a:lnTo>
                        <a:pt x="146" y="188"/>
                      </a:lnTo>
                      <a:lnTo>
                        <a:pt x="142" y="225"/>
                      </a:lnTo>
                      <a:lnTo>
                        <a:pt x="162" y="233"/>
                      </a:lnTo>
                      <a:lnTo>
                        <a:pt x="168" y="221"/>
                      </a:lnTo>
                      <a:lnTo>
                        <a:pt x="195" y="213"/>
                      </a:lnTo>
                      <a:lnTo>
                        <a:pt x="184" y="172"/>
                      </a:lnTo>
                      <a:lnTo>
                        <a:pt x="166" y="156"/>
                      </a:lnTo>
                      <a:lnTo>
                        <a:pt x="122" y="102"/>
                      </a:lnTo>
                      <a:lnTo>
                        <a:pt x="96" y="88"/>
                      </a:lnTo>
                      <a:lnTo>
                        <a:pt x="112" y="68"/>
                      </a:lnTo>
                      <a:lnTo>
                        <a:pt x="100" y="46"/>
                      </a:lnTo>
                      <a:lnTo>
                        <a:pt x="70" y="42"/>
                      </a:lnTo>
                      <a:lnTo>
                        <a:pt x="42" y="0"/>
                      </a:lnTo>
                      <a:lnTo>
                        <a:pt x="26" y="0"/>
                      </a:lnTo>
                      <a:lnTo>
                        <a:pt x="30" y="30"/>
                      </a:lnTo>
                      <a:lnTo>
                        <a:pt x="22" y="34"/>
                      </a:lnTo>
                      <a:lnTo>
                        <a:pt x="20" y="22"/>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5" name="vMap : Thailand">
                  <a:extLst>
                    <a:ext uri="{FF2B5EF4-FFF2-40B4-BE49-F238E27FC236}">
                      <a16:creationId xmlns:a16="http://schemas.microsoft.com/office/drawing/2014/main" xmlns="" id="{DC9E612B-260A-054F-A053-9D7002E202F2}"/>
                    </a:ext>
                  </a:extLst>
                </p:cNvPr>
                <p:cNvSpPr>
                  <a:spLocks noChangeAspect="1"/>
                </p:cNvSpPr>
                <p:nvPr>
                  <p:custDataLst>
                    <p:tags r:id="rId153"/>
                  </p:custDataLst>
                </p:nvPr>
              </p:nvSpPr>
              <p:spPr bwMode="gray">
                <a:xfrm>
                  <a:off x="6267274" y="3685529"/>
                  <a:ext cx="185596" cy="399635"/>
                </a:xfrm>
                <a:custGeom>
                  <a:avLst/>
                  <a:gdLst>
                    <a:gd name="T0" fmla="*/ 74 w 199"/>
                    <a:gd name="T1" fmla="*/ 68 h 417"/>
                    <a:gd name="T2" fmla="*/ 56 w 199"/>
                    <a:gd name="T3" fmla="*/ 67 h 417"/>
                    <a:gd name="T4" fmla="*/ 50 w 199"/>
                    <a:gd name="T5" fmla="*/ 73 h 417"/>
                    <a:gd name="T6" fmla="*/ 48 w 199"/>
                    <a:gd name="T7" fmla="*/ 78 h 417"/>
                    <a:gd name="T8" fmla="*/ 56 w 199"/>
                    <a:gd name="T9" fmla="*/ 96 h 417"/>
                    <a:gd name="T10" fmla="*/ 45 w 199"/>
                    <a:gd name="T11" fmla="*/ 86 h 417"/>
                    <a:gd name="T12" fmla="*/ 37 w 199"/>
                    <a:gd name="T13" fmla="*/ 86 h 417"/>
                    <a:gd name="T14" fmla="*/ 36 w 199"/>
                    <a:gd name="T15" fmla="*/ 76 h 417"/>
                    <a:gd name="T16" fmla="*/ 29 w 199"/>
                    <a:gd name="T17" fmla="*/ 75 h 417"/>
                    <a:gd name="T18" fmla="*/ 23 w 199"/>
                    <a:gd name="T19" fmla="*/ 110 h 417"/>
                    <a:gd name="T20" fmla="*/ 25 w 199"/>
                    <a:gd name="T21" fmla="*/ 120 h 417"/>
                    <a:gd name="T22" fmla="*/ 29 w 199"/>
                    <a:gd name="T23" fmla="*/ 120 h 417"/>
                    <a:gd name="T24" fmla="*/ 37 w 199"/>
                    <a:gd name="T25" fmla="*/ 141 h 417"/>
                    <a:gd name="T26" fmla="*/ 51 w 199"/>
                    <a:gd name="T27" fmla="*/ 152 h 417"/>
                    <a:gd name="T28" fmla="*/ 45 w 199"/>
                    <a:gd name="T29" fmla="*/ 158 h 417"/>
                    <a:gd name="T30" fmla="*/ 42 w 199"/>
                    <a:gd name="T31" fmla="*/ 149 h 417"/>
                    <a:gd name="T32" fmla="*/ 32 w 199"/>
                    <a:gd name="T33" fmla="*/ 148 h 417"/>
                    <a:gd name="T34" fmla="*/ 34 w 199"/>
                    <a:gd name="T35" fmla="*/ 149 h 417"/>
                    <a:gd name="T36" fmla="*/ 18 w 199"/>
                    <a:gd name="T37" fmla="*/ 130 h 417"/>
                    <a:gd name="T38" fmla="*/ 15 w 199"/>
                    <a:gd name="T39" fmla="*/ 132 h 417"/>
                    <a:gd name="T40" fmla="*/ 18 w 199"/>
                    <a:gd name="T41" fmla="*/ 112 h 417"/>
                    <a:gd name="T42" fmla="*/ 26 w 199"/>
                    <a:gd name="T43" fmla="*/ 92 h 417"/>
                    <a:gd name="T44" fmla="*/ 18 w 199"/>
                    <a:gd name="T45" fmla="*/ 71 h 417"/>
                    <a:gd name="T46" fmla="*/ 10 w 199"/>
                    <a:gd name="T47" fmla="*/ 62 h 417"/>
                    <a:gd name="T48" fmla="*/ 14 w 199"/>
                    <a:gd name="T49" fmla="*/ 48 h 417"/>
                    <a:gd name="T50" fmla="*/ 0 w 199"/>
                    <a:gd name="T51" fmla="*/ 24 h 417"/>
                    <a:gd name="T52" fmla="*/ 2 w 199"/>
                    <a:gd name="T53" fmla="*/ 13 h 417"/>
                    <a:gd name="T54" fmla="*/ 9 w 199"/>
                    <a:gd name="T55" fmla="*/ 11 h 417"/>
                    <a:gd name="T56" fmla="*/ 20 w 199"/>
                    <a:gd name="T57" fmla="*/ 0 h 417"/>
                    <a:gd name="T58" fmla="*/ 25 w 199"/>
                    <a:gd name="T59" fmla="*/ 10 h 417"/>
                    <a:gd name="T60" fmla="*/ 29 w 199"/>
                    <a:gd name="T61" fmla="*/ 11 h 417"/>
                    <a:gd name="T62" fmla="*/ 31 w 199"/>
                    <a:gd name="T63" fmla="*/ 33 h 417"/>
                    <a:gd name="T64" fmla="*/ 39 w 199"/>
                    <a:gd name="T65" fmla="*/ 27 h 417"/>
                    <a:gd name="T66" fmla="*/ 46 w 199"/>
                    <a:gd name="T67" fmla="*/ 30 h 417"/>
                    <a:gd name="T68" fmla="*/ 53 w 199"/>
                    <a:gd name="T69" fmla="*/ 24 h 417"/>
                    <a:gd name="T70" fmla="*/ 64 w 199"/>
                    <a:gd name="T71" fmla="*/ 33 h 417"/>
                    <a:gd name="T72" fmla="*/ 67 w 199"/>
                    <a:gd name="T73" fmla="*/ 46 h 417"/>
                    <a:gd name="T74" fmla="*/ 75 w 199"/>
                    <a:gd name="T75" fmla="*/ 54 h 417"/>
                    <a:gd name="T76" fmla="*/ 74 w 199"/>
                    <a:gd name="T77" fmla="*/ 68 h 4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9" h="417">
                      <a:moveTo>
                        <a:pt x="195" y="179"/>
                      </a:moveTo>
                      <a:lnTo>
                        <a:pt x="149" y="175"/>
                      </a:lnTo>
                      <a:lnTo>
                        <a:pt x="133" y="191"/>
                      </a:lnTo>
                      <a:lnTo>
                        <a:pt x="129" y="205"/>
                      </a:lnTo>
                      <a:lnTo>
                        <a:pt x="149" y="251"/>
                      </a:lnTo>
                      <a:lnTo>
                        <a:pt x="119" y="225"/>
                      </a:lnTo>
                      <a:lnTo>
                        <a:pt x="99" y="225"/>
                      </a:lnTo>
                      <a:lnTo>
                        <a:pt x="95" y="201"/>
                      </a:lnTo>
                      <a:lnTo>
                        <a:pt x="79" y="197"/>
                      </a:lnTo>
                      <a:lnTo>
                        <a:pt x="61" y="289"/>
                      </a:lnTo>
                      <a:lnTo>
                        <a:pt x="65" y="317"/>
                      </a:lnTo>
                      <a:lnTo>
                        <a:pt x="79" y="317"/>
                      </a:lnTo>
                      <a:lnTo>
                        <a:pt x="99" y="371"/>
                      </a:lnTo>
                      <a:lnTo>
                        <a:pt x="137" y="401"/>
                      </a:lnTo>
                      <a:lnTo>
                        <a:pt x="119" y="417"/>
                      </a:lnTo>
                      <a:lnTo>
                        <a:pt x="111" y="393"/>
                      </a:lnTo>
                      <a:lnTo>
                        <a:pt x="87" y="389"/>
                      </a:lnTo>
                      <a:lnTo>
                        <a:pt x="91" y="393"/>
                      </a:lnTo>
                      <a:lnTo>
                        <a:pt x="49" y="343"/>
                      </a:lnTo>
                      <a:lnTo>
                        <a:pt x="41" y="347"/>
                      </a:lnTo>
                      <a:lnTo>
                        <a:pt x="49" y="293"/>
                      </a:lnTo>
                      <a:lnTo>
                        <a:pt x="69" y="243"/>
                      </a:lnTo>
                      <a:lnTo>
                        <a:pt x="49" y="187"/>
                      </a:lnTo>
                      <a:lnTo>
                        <a:pt x="27" y="163"/>
                      </a:lnTo>
                      <a:lnTo>
                        <a:pt x="37" y="126"/>
                      </a:lnTo>
                      <a:lnTo>
                        <a:pt x="0" y="64"/>
                      </a:lnTo>
                      <a:lnTo>
                        <a:pt x="7" y="34"/>
                      </a:lnTo>
                      <a:lnTo>
                        <a:pt x="23" y="30"/>
                      </a:lnTo>
                      <a:lnTo>
                        <a:pt x="53" y="0"/>
                      </a:lnTo>
                      <a:lnTo>
                        <a:pt x="65" y="26"/>
                      </a:lnTo>
                      <a:lnTo>
                        <a:pt x="79" y="30"/>
                      </a:lnTo>
                      <a:lnTo>
                        <a:pt x="83" y="88"/>
                      </a:lnTo>
                      <a:lnTo>
                        <a:pt x="103" y="72"/>
                      </a:lnTo>
                      <a:lnTo>
                        <a:pt x="123" y="80"/>
                      </a:lnTo>
                      <a:lnTo>
                        <a:pt x="141" y="64"/>
                      </a:lnTo>
                      <a:lnTo>
                        <a:pt x="169" y="88"/>
                      </a:lnTo>
                      <a:lnTo>
                        <a:pt x="179" y="122"/>
                      </a:lnTo>
                      <a:lnTo>
                        <a:pt x="199" y="142"/>
                      </a:lnTo>
                      <a:lnTo>
                        <a:pt x="195" y="179"/>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6" name="vMap : Vietnam">
                  <a:extLst>
                    <a:ext uri="{FF2B5EF4-FFF2-40B4-BE49-F238E27FC236}">
                      <a16:creationId xmlns:a16="http://schemas.microsoft.com/office/drawing/2014/main" xmlns="" id="{84029407-E7F5-9E48-83C4-254931405272}"/>
                    </a:ext>
                  </a:extLst>
                </p:cNvPr>
                <p:cNvSpPr>
                  <a:spLocks noChangeAspect="1"/>
                </p:cNvSpPr>
                <p:nvPr>
                  <p:custDataLst>
                    <p:tags r:id="rId154"/>
                  </p:custDataLst>
                </p:nvPr>
              </p:nvSpPr>
              <p:spPr bwMode="gray">
                <a:xfrm>
                  <a:off x="6355508" y="3618664"/>
                  <a:ext cx="191681" cy="387195"/>
                </a:xfrm>
                <a:custGeom>
                  <a:avLst/>
                  <a:gdLst>
                    <a:gd name="T0" fmla="*/ 0 w 203"/>
                    <a:gd name="T1" fmla="*/ 9 h 405"/>
                    <a:gd name="T2" fmla="*/ 1 w 203"/>
                    <a:gd name="T3" fmla="*/ 6 h 405"/>
                    <a:gd name="T4" fmla="*/ 15 w 203"/>
                    <a:gd name="T5" fmla="*/ 7 h 405"/>
                    <a:gd name="T6" fmla="*/ 27 w 203"/>
                    <a:gd name="T7" fmla="*/ 0 h 405"/>
                    <a:gd name="T8" fmla="*/ 40 w 203"/>
                    <a:gd name="T9" fmla="*/ 6 h 405"/>
                    <a:gd name="T10" fmla="*/ 43 w 203"/>
                    <a:gd name="T11" fmla="*/ 14 h 405"/>
                    <a:gd name="T12" fmla="*/ 53 w 203"/>
                    <a:gd name="T13" fmla="*/ 19 h 405"/>
                    <a:gd name="T14" fmla="*/ 43 w 203"/>
                    <a:gd name="T15" fmla="*/ 28 h 405"/>
                    <a:gd name="T16" fmla="*/ 37 w 203"/>
                    <a:gd name="T17" fmla="*/ 45 h 405"/>
                    <a:gd name="T18" fmla="*/ 53 w 203"/>
                    <a:gd name="T19" fmla="*/ 65 h 405"/>
                    <a:gd name="T20" fmla="*/ 71 w 203"/>
                    <a:gd name="T21" fmla="*/ 82 h 405"/>
                    <a:gd name="T22" fmla="*/ 78 w 203"/>
                    <a:gd name="T23" fmla="*/ 108 h 405"/>
                    <a:gd name="T24" fmla="*/ 78 w 203"/>
                    <a:gd name="T25" fmla="*/ 121 h 405"/>
                    <a:gd name="T26" fmla="*/ 68 w 203"/>
                    <a:gd name="T27" fmla="*/ 130 h 405"/>
                    <a:gd name="T28" fmla="*/ 58 w 203"/>
                    <a:gd name="T29" fmla="*/ 135 h 405"/>
                    <a:gd name="T30" fmla="*/ 55 w 203"/>
                    <a:gd name="T31" fmla="*/ 143 h 405"/>
                    <a:gd name="T32" fmla="*/ 50 w 203"/>
                    <a:gd name="T33" fmla="*/ 139 h 405"/>
                    <a:gd name="T34" fmla="*/ 52 w 203"/>
                    <a:gd name="T35" fmla="*/ 144 h 405"/>
                    <a:gd name="T36" fmla="*/ 43 w 203"/>
                    <a:gd name="T37" fmla="*/ 153 h 405"/>
                    <a:gd name="T38" fmla="*/ 40 w 203"/>
                    <a:gd name="T39" fmla="*/ 144 h 405"/>
                    <a:gd name="T40" fmla="*/ 42 w 203"/>
                    <a:gd name="T41" fmla="*/ 137 h 405"/>
                    <a:gd name="T42" fmla="*/ 35 w 203"/>
                    <a:gd name="T43" fmla="*/ 133 h 405"/>
                    <a:gd name="T44" fmla="*/ 48 w 203"/>
                    <a:gd name="T45" fmla="*/ 127 h 405"/>
                    <a:gd name="T46" fmla="*/ 48 w 203"/>
                    <a:gd name="T47" fmla="*/ 121 h 405"/>
                    <a:gd name="T48" fmla="*/ 62 w 203"/>
                    <a:gd name="T49" fmla="*/ 113 h 405"/>
                    <a:gd name="T50" fmla="*/ 59 w 203"/>
                    <a:gd name="T51" fmla="*/ 90 h 405"/>
                    <a:gd name="T52" fmla="*/ 55 w 203"/>
                    <a:gd name="T53" fmla="*/ 74 h 405"/>
                    <a:gd name="T54" fmla="*/ 48 w 203"/>
                    <a:gd name="T55" fmla="*/ 68 h 405"/>
                    <a:gd name="T56" fmla="*/ 31 w 203"/>
                    <a:gd name="T57" fmla="*/ 47 h 405"/>
                    <a:gd name="T58" fmla="*/ 21 w 203"/>
                    <a:gd name="T59" fmla="*/ 42 h 405"/>
                    <a:gd name="T60" fmla="*/ 27 w 203"/>
                    <a:gd name="T61" fmla="*/ 35 h 405"/>
                    <a:gd name="T62" fmla="*/ 22 w 203"/>
                    <a:gd name="T63" fmla="*/ 26 h 405"/>
                    <a:gd name="T64" fmla="*/ 11 w 203"/>
                    <a:gd name="T65" fmla="*/ 25 h 405"/>
                    <a:gd name="T66" fmla="*/ 0 w 203"/>
                    <a:gd name="T67" fmla="*/ 9 h 4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3" h="405">
                      <a:moveTo>
                        <a:pt x="0" y="24"/>
                      </a:moveTo>
                      <a:lnTo>
                        <a:pt x="4" y="16"/>
                      </a:lnTo>
                      <a:lnTo>
                        <a:pt x="38" y="20"/>
                      </a:lnTo>
                      <a:lnTo>
                        <a:pt x="70" y="0"/>
                      </a:lnTo>
                      <a:lnTo>
                        <a:pt x="104" y="16"/>
                      </a:lnTo>
                      <a:lnTo>
                        <a:pt x="112" y="38"/>
                      </a:lnTo>
                      <a:lnTo>
                        <a:pt x="138" y="50"/>
                      </a:lnTo>
                      <a:lnTo>
                        <a:pt x="112" y="74"/>
                      </a:lnTo>
                      <a:lnTo>
                        <a:pt x="96" y="120"/>
                      </a:lnTo>
                      <a:lnTo>
                        <a:pt x="138" y="172"/>
                      </a:lnTo>
                      <a:lnTo>
                        <a:pt x="183" y="218"/>
                      </a:lnTo>
                      <a:lnTo>
                        <a:pt x="203" y="287"/>
                      </a:lnTo>
                      <a:lnTo>
                        <a:pt x="203" y="321"/>
                      </a:lnTo>
                      <a:lnTo>
                        <a:pt x="175" y="345"/>
                      </a:lnTo>
                      <a:lnTo>
                        <a:pt x="150" y="357"/>
                      </a:lnTo>
                      <a:lnTo>
                        <a:pt x="142" y="379"/>
                      </a:lnTo>
                      <a:lnTo>
                        <a:pt x="130" y="367"/>
                      </a:lnTo>
                      <a:lnTo>
                        <a:pt x="134" y="383"/>
                      </a:lnTo>
                      <a:lnTo>
                        <a:pt x="112" y="405"/>
                      </a:lnTo>
                      <a:lnTo>
                        <a:pt x="104" y="383"/>
                      </a:lnTo>
                      <a:lnTo>
                        <a:pt x="108" y="363"/>
                      </a:lnTo>
                      <a:lnTo>
                        <a:pt x="92" y="353"/>
                      </a:lnTo>
                      <a:lnTo>
                        <a:pt x="126" y="337"/>
                      </a:lnTo>
                      <a:lnTo>
                        <a:pt x="126" y="321"/>
                      </a:lnTo>
                      <a:lnTo>
                        <a:pt x="161" y="299"/>
                      </a:lnTo>
                      <a:lnTo>
                        <a:pt x="153" y="237"/>
                      </a:lnTo>
                      <a:lnTo>
                        <a:pt x="142" y="196"/>
                      </a:lnTo>
                      <a:lnTo>
                        <a:pt x="124" y="180"/>
                      </a:lnTo>
                      <a:lnTo>
                        <a:pt x="80" y="126"/>
                      </a:lnTo>
                      <a:lnTo>
                        <a:pt x="54" y="112"/>
                      </a:lnTo>
                      <a:lnTo>
                        <a:pt x="70" y="92"/>
                      </a:lnTo>
                      <a:lnTo>
                        <a:pt x="58" y="70"/>
                      </a:lnTo>
                      <a:lnTo>
                        <a:pt x="28" y="66"/>
                      </a:lnTo>
                      <a:lnTo>
                        <a:pt x="0" y="24"/>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7" name="vMap : Bangladesh">
                  <a:extLst>
                    <a:ext uri="{FF2B5EF4-FFF2-40B4-BE49-F238E27FC236}">
                      <a16:creationId xmlns:a16="http://schemas.microsoft.com/office/drawing/2014/main" xmlns="" id="{61C9DC0F-8024-DD41-BFC3-8050877072B9}"/>
                    </a:ext>
                  </a:extLst>
                </p:cNvPr>
                <p:cNvSpPr>
                  <a:spLocks noChangeAspect="1"/>
                </p:cNvSpPr>
                <p:nvPr>
                  <p:custDataLst>
                    <p:tags r:id="rId155"/>
                  </p:custDataLst>
                </p:nvPr>
              </p:nvSpPr>
              <p:spPr bwMode="gray">
                <a:xfrm>
                  <a:off x="6028432" y="3534694"/>
                  <a:ext cx="112575" cy="146170"/>
                </a:xfrm>
                <a:custGeom>
                  <a:avLst/>
                  <a:gdLst>
                    <a:gd name="T0" fmla="*/ 45 w 121"/>
                    <a:gd name="T1" fmla="*/ 47 h 153"/>
                    <a:gd name="T2" fmla="*/ 44 w 121"/>
                    <a:gd name="T3" fmla="*/ 58 h 153"/>
                    <a:gd name="T4" fmla="*/ 35 w 121"/>
                    <a:gd name="T5" fmla="*/ 39 h 153"/>
                    <a:gd name="T6" fmla="*/ 28 w 121"/>
                    <a:gd name="T7" fmla="*/ 36 h 153"/>
                    <a:gd name="T8" fmla="*/ 24 w 121"/>
                    <a:gd name="T9" fmla="*/ 49 h 153"/>
                    <a:gd name="T10" fmla="*/ 21 w 121"/>
                    <a:gd name="T11" fmla="*/ 45 h 153"/>
                    <a:gd name="T12" fmla="*/ 14 w 121"/>
                    <a:gd name="T13" fmla="*/ 50 h 153"/>
                    <a:gd name="T14" fmla="*/ 6 w 121"/>
                    <a:gd name="T15" fmla="*/ 22 h 153"/>
                    <a:gd name="T16" fmla="*/ 0 w 121"/>
                    <a:gd name="T17" fmla="*/ 17 h 153"/>
                    <a:gd name="T18" fmla="*/ 6 w 121"/>
                    <a:gd name="T19" fmla="*/ 13 h 153"/>
                    <a:gd name="T20" fmla="*/ 0 w 121"/>
                    <a:gd name="T21" fmla="*/ 6 h 153"/>
                    <a:gd name="T22" fmla="*/ 2 w 121"/>
                    <a:gd name="T23" fmla="*/ 0 h 153"/>
                    <a:gd name="T24" fmla="*/ 8 w 121"/>
                    <a:gd name="T25" fmla="*/ 4 h 153"/>
                    <a:gd name="T26" fmla="*/ 12 w 121"/>
                    <a:gd name="T27" fmla="*/ 3 h 153"/>
                    <a:gd name="T28" fmla="*/ 18 w 121"/>
                    <a:gd name="T29" fmla="*/ 11 h 153"/>
                    <a:gd name="T30" fmla="*/ 38 w 121"/>
                    <a:gd name="T31" fmla="*/ 14 h 153"/>
                    <a:gd name="T32" fmla="*/ 29 w 121"/>
                    <a:gd name="T33" fmla="*/ 25 h 153"/>
                    <a:gd name="T34" fmla="*/ 35 w 121"/>
                    <a:gd name="T35" fmla="*/ 36 h 153"/>
                    <a:gd name="T36" fmla="*/ 38 w 121"/>
                    <a:gd name="T37" fmla="*/ 28 h 153"/>
                    <a:gd name="T38" fmla="*/ 45 w 121"/>
                    <a:gd name="T39" fmla="*/ 47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1" h="153">
                      <a:moveTo>
                        <a:pt x="121" y="125"/>
                      </a:moveTo>
                      <a:lnTo>
                        <a:pt x="117" y="153"/>
                      </a:lnTo>
                      <a:lnTo>
                        <a:pt x="93" y="103"/>
                      </a:lnTo>
                      <a:lnTo>
                        <a:pt x="75" y="95"/>
                      </a:lnTo>
                      <a:lnTo>
                        <a:pt x="63" y="129"/>
                      </a:lnTo>
                      <a:lnTo>
                        <a:pt x="55" y="121"/>
                      </a:lnTo>
                      <a:lnTo>
                        <a:pt x="37" y="133"/>
                      </a:lnTo>
                      <a:lnTo>
                        <a:pt x="17" y="57"/>
                      </a:lnTo>
                      <a:lnTo>
                        <a:pt x="0" y="45"/>
                      </a:lnTo>
                      <a:lnTo>
                        <a:pt x="14" y="34"/>
                      </a:lnTo>
                      <a:lnTo>
                        <a:pt x="0" y="16"/>
                      </a:lnTo>
                      <a:lnTo>
                        <a:pt x="6" y="0"/>
                      </a:lnTo>
                      <a:lnTo>
                        <a:pt x="21" y="12"/>
                      </a:lnTo>
                      <a:lnTo>
                        <a:pt x="33" y="8"/>
                      </a:lnTo>
                      <a:lnTo>
                        <a:pt x="47" y="30"/>
                      </a:lnTo>
                      <a:lnTo>
                        <a:pt x="101" y="38"/>
                      </a:lnTo>
                      <a:lnTo>
                        <a:pt x="79" y="67"/>
                      </a:lnTo>
                      <a:lnTo>
                        <a:pt x="93" y="95"/>
                      </a:lnTo>
                      <a:lnTo>
                        <a:pt x="101" y="75"/>
                      </a:lnTo>
                      <a:lnTo>
                        <a:pt x="121" y="125"/>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8" name="vMap : Bhutan">
                  <a:extLst>
                    <a:ext uri="{FF2B5EF4-FFF2-40B4-BE49-F238E27FC236}">
                      <a16:creationId xmlns:a16="http://schemas.microsoft.com/office/drawing/2014/main" xmlns="" id="{18674F83-9238-C843-833A-03FF04BB01E4}"/>
                    </a:ext>
                  </a:extLst>
                </p:cNvPr>
                <p:cNvSpPr>
                  <a:spLocks noChangeAspect="1"/>
                </p:cNvSpPr>
                <p:nvPr>
                  <p:custDataLst>
                    <p:tags r:id="rId156"/>
                  </p:custDataLst>
                </p:nvPr>
              </p:nvSpPr>
              <p:spPr bwMode="gray">
                <a:xfrm>
                  <a:off x="6037559" y="3488044"/>
                  <a:ext cx="77586" cy="38875"/>
                </a:xfrm>
                <a:custGeom>
                  <a:avLst/>
                  <a:gdLst>
                    <a:gd name="T0" fmla="*/ 2 w 81"/>
                    <a:gd name="T1" fmla="*/ 9 h 42"/>
                    <a:gd name="T2" fmla="*/ 0 w 81"/>
                    <a:gd name="T3" fmla="*/ 11 h 42"/>
                    <a:gd name="T4" fmla="*/ 9 w 81"/>
                    <a:gd name="T5" fmla="*/ 15 h 42"/>
                    <a:gd name="T6" fmla="*/ 30 w 81"/>
                    <a:gd name="T7" fmla="*/ 14 h 42"/>
                    <a:gd name="T8" fmla="*/ 32 w 81"/>
                    <a:gd name="T9" fmla="*/ 9 h 42"/>
                    <a:gd name="T10" fmla="*/ 26 w 81"/>
                    <a:gd name="T11" fmla="*/ 4 h 42"/>
                    <a:gd name="T12" fmla="*/ 9 w 81"/>
                    <a:gd name="T13" fmla="*/ 0 h 42"/>
                    <a:gd name="T14" fmla="*/ 2 w 81"/>
                    <a:gd name="T15" fmla="*/ 9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1" h="42">
                      <a:moveTo>
                        <a:pt x="4" y="26"/>
                      </a:moveTo>
                      <a:lnTo>
                        <a:pt x="0" y="30"/>
                      </a:lnTo>
                      <a:lnTo>
                        <a:pt x="23" y="42"/>
                      </a:lnTo>
                      <a:lnTo>
                        <a:pt x="77" y="38"/>
                      </a:lnTo>
                      <a:lnTo>
                        <a:pt x="81" y="26"/>
                      </a:lnTo>
                      <a:lnTo>
                        <a:pt x="65" y="12"/>
                      </a:lnTo>
                      <a:lnTo>
                        <a:pt x="23" y="0"/>
                      </a:lnTo>
                      <a:lnTo>
                        <a:pt x="4" y="26"/>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49" name="vMap : Sri Lanka">
                  <a:extLst>
                    <a:ext uri="{FF2B5EF4-FFF2-40B4-BE49-F238E27FC236}">
                      <a16:creationId xmlns:a16="http://schemas.microsoft.com/office/drawing/2014/main" xmlns="" id="{6E5D368D-1427-0542-88F2-2651062D4CC4}"/>
                    </a:ext>
                  </a:extLst>
                </p:cNvPr>
                <p:cNvSpPr>
                  <a:spLocks noChangeAspect="1"/>
                </p:cNvSpPr>
                <p:nvPr>
                  <p:custDataLst>
                    <p:tags r:id="rId157"/>
                  </p:custDataLst>
                </p:nvPr>
              </p:nvSpPr>
              <p:spPr bwMode="gray">
                <a:xfrm>
                  <a:off x="5885432" y="3974760"/>
                  <a:ext cx="47160" cy="101075"/>
                </a:xfrm>
                <a:custGeom>
                  <a:avLst/>
                  <a:gdLst>
                    <a:gd name="T0" fmla="*/ 1 w 50"/>
                    <a:gd name="T1" fmla="*/ 0 h 108"/>
                    <a:gd name="T2" fmla="*/ 4 w 50"/>
                    <a:gd name="T3" fmla="*/ 4 h 108"/>
                    <a:gd name="T4" fmla="*/ 0 w 50"/>
                    <a:gd name="T5" fmla="*/ 18 h 108"/>
                    <a:gd name="T6" fmla="*/ 1 w 50"/>
                    <a:gd name="T7" fmla="*/ 31 h 108"/>
                    <a:gd name="T8" fmla="*/ 6 w 50"/>
                    <a:gd name="T9" fmla="*/ 39 h 108"/>
                    <a:gd name="T10" fmla="*/ 10 w 50"/>
                    <a:gd name="T11" fmla="*/ 39 h 108"/>
                    <a:gd name="T12" fmla="*/ 19 w 50"/>
                    <a:gd name="T13" fmla="*/ 32 h 108"/>
                    <a:gd name="T14" fmla="*/ 19 w 50"/>
                    <a:gd name="T15" fmla="*/ 22 h 108"/>
                    <a:gd name="T16" fmla="*/ 10 w 50"/>
                    <a:gd name="T17" fmla="*/ 7 h 108"/>
                    <a:gd name="T18" fmla="*/ 1 w 50"/>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0" h="108">
                      <a:moveTo>
                        <a:pt x="4" y="0"/>
                      </a:moveTo>
                      <a:lnTo>
                        <a:pt x="12" y="12"/>
                      </a:lnTo>
                      <a:lnTo>
                        <a:pt x="0" y="50"/>
                      </a:lnTo>
                      <a:lnTo>
                        <a:pt x="4" y="84"/>
                      </a:lnTo>
                      <a:lnTo>
                        <a:pt x="14" y="108"/>
                      </a:lnTo>
                      <a:lnTo>
                        <a:pt x="26" y="108"/>
                      </a:lnTo>
                      <a:lnTo>
                        <a:pt x="50" y="88"/>
                      </a:lnTo>
                      <a:lnTo>
                        <a:pt x="50" y="62"/>
                      </a:lnTo>
                      <a:lnTo>
                        <a:pt x="26" y="20"/>
                      </a:lnTo>
                      <a:lnTo>
                        <a:pt x="4"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50" name="vMap : Cambodia">
                  <a:extLst>
                    <a:ext uri="{FF2B5EF4-FFF2-40B4-BE49-F238E27FC236}">
                      <a16:creationId xmlns:a16="http://schemas.microsoft.com/office/drawing/2014/main" xmlns="" id="{36EE85B9-6566-E240-8A89-6F614F583E9E}"/>
                    </a:ext>
                  </a:extLst>
                </p:cNvPr>
                <p:cNvSpPr>
                  <a:spLocks noChangeAspect="1"/>
                </p:cNvSpPr>
                <p:nvPr>
                  <p:custDataLst>
                    <p:tags r:id="rId158"/>
                  </p:custDataLst>
                </p:nvPr>
              </p:nvSpPr>
              <p:spPr bwMode="gray">
                <a:xfrm>
                  <a:off x="6387454" y="3845695"/>
                  <a:ext cx="118660" cy="111960"/>
                </a:xfrm>
                <a:custGeom>
                  <a:avLst/>
                  <a:gdLst>
                    <a:gd name="T0" fmla="*/ 45 w 127"/>
                    <a:gd name="T1" fmla="*/ 0 h 116"/>
                    <a:gd name="T2" fmla="*/ 48 w 127"/>
                    <a:gd name="T3" fmla="*/ 24 h 116"/>
                    <a:gd name="T4" fmla="*/ 35 w 127"/>
                    <a:gd name="T5" fmla="*/ 32 h 116"/>
                    <a:gd name="T6" fmla="*/ 35 w 127"/>
                    <a:gd name="T7" fmla="*/ 38 h 116"/>
                    <a:gd name="T8" fmla="*/ 22 w 127"/>
                    <a:gd name="T9" fmla="*/ 45 h 116"/>
                    <a:gd name="T10" fmla="*/ 14 w 127"/>
                    <a:gd name="T11" fmla="*/ 45 h 116"/>
                    <a:gd name="T12" fmla="*/ 14 w 127"/>
                    <a:gd name="T13" fmla="*/ 38 h 116"/>
                    <a:gd name="T14" fmla="*/ 10 w 127"/>
                    <a:gd name="T15" fmla="*/ 40 h 116"/>
                    <a:gd name="T16" fmla="*/ 7 w 127"/>
                    <a:gd name="T17" fmla="*/ 32 h 116"/>
                    <a:gd name="T18" fmla="*/ 0 w 127"/>
                    <a:gd name="T19" fmla="*/ 15 h 116"/>
                    <a:gd name="T20" fmla="*/ 1 w 127"/>
                    <a:gd name="T21" fmla="*/ 9 h 116"/>
                    <a:gd name="T22" fmla="*/ 7 w 127"/>
                    <a:gd name="T23" fmla="*/ 3 h 116"/>
                    <a:gd name="T24" fmla="*/ 25 w 127"/>
                    <a:gd name="T25" fmla="*/ 4 h 116"/>
                    <a:gd name="T26" fmla="*/ 33 w 127"/>
                    <a:gd name="T27" fmla="*/ 7 h 116"/>
                    <a:gd name="T28" fmla="*/ 35 w 127"/>
                    <a:gd name="T29" fmla="*/ 3 h 116"/>
                    <a:gd name="T30" fmla="*/ 45 w 127"/>
                    <a:gd name="T31" fmla="*/ 0 h 11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7" h="116">
                      <a:moveTo>
                        <a:pt x="119" y="0"/>
                      </a:moveTo>
                      <a:lnTo>
                        <a:pt x="127" y="62"/>
                      </a:lnTo>
                      <a:lnTo>
                        <a:pt x="92" y="84"/>
                      </a:lnTo>
                      <a:lnTo>
                        <a:pt x="92" y="100"/>
                      </a:lnTo>
                      <a:lnTo>
                        <a:pt x="58" y="116"/>
                      </a:lnTo>
                      <a:lnTo>
                        <a:pt x="36" y="116"/>
                      </a:lnTo>
                      <a:lnTo>
                        <a:pt x="36" y="100"/>
                      </a:lnTo>
                      <a:lnTo>
                        <a:pt x="28" y="104"/>
                      </a:lnTo>
                      <a:lnTo>
                        <a:pt x="20" y="84"/>
                      </a:lnTo>
                      <a:lnTo>
                        <a:pt x="0" y="38"/>
                      </a:lnTo>
                      <a:lnTo>
                        <a:pt x="4" y="24"/>
                      </a:lnTo>
                      <a:lnTo>
                        <a:pt x="20" y="8"/>
                      </a:lnTo>
                      <a:lnTo>
                        <a:pt x="66" y="12"/>
                      </a:lnTo>
                      <a:lnTo>
                        <a:pt x="86" y="20"/>
                      </a:lnTo>
                      <a:lnTo>
                        <a:pt x="92" y="8"/>
                      </a:lnTo>
                      <a:lnTo>
                        <a:pt x="119"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51" name="vMap : India">
                  <a:extLst>
                    <a:ext uri="{FF2B5EF4-FFF2-40B4-BE49-F238E27FC236}">
                      <a16:creationId xmlns:a16="http://schemas.microsoft.com/office/drawing/2014/main" xmlns="" id="{2799ACDF-9AB6-D64A-AA58-36FC47B909F4}"/>
                    </a:ext>
                  </a:extLst>
                </p:cNvPr>
                <p:cNvSpPr>
                  <a:spLocks noChangeAspect="1"/>
                </p:cNvSpPr>
                <p:nvPr>
                  <p:custDataLst>
                    <p:tags r:id="rId159"/>
                  </p:custDataLst>
                </p:nvPr>
              </p:nvSpPr>
              <p:spPr bwMode="gray">
                <a:xfrm>
                  <a:off x="5591824" y="3282784"/>
                  <a:ext cx="634375" cy="732405"/>
                </a:xfrm>
                <a:custGeom>
                  <a:avLst/>
                  <a:gdLst>
                    <a:gd name="T0" fmla="*/ 101 w 678"/>
                    <a:gd name="T1" fmla="*/ 65 h 769"/>
                    <a:gd name="T2" fmla="*/ 127 w 678"/>
                    <a:gd name="T3" fmla="*/ 89 h 769"/>
                    <a:gd name="T4" fmla="*/ 148 w 678"/>
                    <a:gd name="T5" fmla="*/ 96 h 769"/>
                    <a:gd name="T6" fmla="*/ 176 w 678"/>
                    <a:gd name="T7" fmla="*/ 99 h 769"/>
                    <a:gd name="T8" fmla="*/ 175 w 678"/>
                    <a:gd name="T9" fmla="*/ 85 h 769"/>
                    <a:gd name="T10" fmla="*/ 183 w 678"/>
                    <a:gd name="T11" fmla="*/ 91 h 769"/>
                    <a:gd name="T12" fmla="*/ 190 w 678"/>
                    <a:gd name="T13" fmla="*/ 96 h 769"/>
                    <a:gd name="T14" fmla="*/ 212 w 678"/>
                    <a:gd name="T15" fmla="*/ 91 h 769"/>
                    <a:gd name="T16" fmla="*/ 228 w 678"/>
                    <a:gd name="T17" fmla="*/ 71 h 769"/>
                    <a:gd name="T18" fmla="*/ 247 w 678"/>
                    <a:gd name="T19" fmla="*/ 78 h 769"/>
                    <a:gd name="T20" fmla="*/ 255 w 678"/>
                    <a:gd name="T21" fmla="*/ 92 h 769"/>
                    <a:gd name="T22" fmla="*/ 240 w 678"/>
                    <a:gd name="T23" fmla="*/ 99 h 769"/>
                    <a:gd name="T24" fmla="*/ 228 w 678"/>
                    <a:gd name="T25" fmla="*/ 127 h 769"/>
                    <a:gd name="T26" fmla="*/ 223 w 678"/>
                    <a:gd name="T27" fmla="*/ 146 h 769"/>
                    <a:gd name="T28" fmla="*/ 213 w 678"/>
                    <a:gd name="T29" fmla="*/ 135 h 769"/>
                    <a:gd name="T30" fmla="*/ 216 w 678"/>
                    <a:gd name="T31" fmla="*/ 114 h 769"/>
                    <a:gd name="T32" fmla="*/ 190 w 678"/>
                    <a:gd name="T33" fmla="*/ 102 h 769"/>
                    <a:gd name="T34" fmla="*/ 180 w 678"/>
                    <a:gd name="T35" fmla="*/ 99 h 769"/>
                    <a:gd name="T36" fmla="*/ 183 w 678"/>
                    <a:gd name="T37" fmla="*/ 112 h 769"/>
                    <a:gd name="T38" fmla="*/ 184 w 678"/>
                    <a:gd name="T39" fmla="*/ 121 h 769"/>
                    <a:gd name="T40" fmla="*/ 184 w 678"/>
                    <a:gd name="T41" fmla="*/ 149 h 769"/>
                    <a:gd name="T42" fmla="*/ 173 w 678"/>
                    <a:gd name="T43" fmla="*/ 153 h 769"/>
                    <a:gd name="T44" fmla="*/ 170 w 678"/>
                    <a:gd name="T45" fmla="*/ 167 h 769"/>
                    <a:gd name="T46" fmla="*/ 135 w 678"/>
                    <a:gd name="T47" fmla="*/ 203 h 769"/>
                    <a:gd name="T48" fmla="*/ 116 w 678"/>
                    <a:gd name="T49" fmla="*/ 214 h 769"/>
                    <a:gd name="T50" fmla="*/ 117 w 678"/>
                    <a:gd name="T51" fmla="*/ 252 h 769"/>
                    <a:gd name="T52" fmla="*/ 113 w 678"/>
                    <a:gd name="T53" fmla="*/ 266 h 769"/>
                    <a:gd name="T54" fmla="*/ 105 w 678"/>
                    <a:gd name="T55" fmla="*/ 281 h 769"/>
                    <a:gd name="T56" fmla="*/ 90 w 678"/>
                    <a:gd name="T57" fmla="*/ 281 h 769"/>
                    <a:gd name="T58" fmla="*/ 58 w 678"/>
                    <a:gd name="T59" fmla="*/ 210 h 769"/>
                    <a:gd name="T60" fmla="*/ 41 w 678"/>
                    <a:gd name="T61" fmla="*/ 146 h 769"/>
                    <a:gd name="T62" fmla="*/ 39 w 678"/>
                    <a:gd name="T63" fmla="*/ 141 h 769"/>
                    <a:gd name="T64" fmla="*/ 23 w 678"/>
                    <a:gd name="T65" fmla="*/ 157 h 769"/>
                    <a:gd name="T66" fmla="*/ 17 w 678"/>
                    <a:gd name="T67" fmla="*/ 141 h 769"/>
                    <a:gd name="T68" fmla="*/ 9 w 678"/>
                    <a:gd name="T69" fmla="*/ 137 h 769"/>
                    <a:gd name="T70" fmla="*/ 6 w 678"/>
                    <a:gd name="T71" fmla="*/ 124 h 769"/>
                    <a:gd name="T72" fmla="*/ 28 w 678"/>
                    <a:gd name="T73" fmla="*/ 121 h 769"/>
                    <a:gd name="T74" fmla="*/ 16 w 678"/>
                    <a:gd name="T75" fmla="*/ 105 h 769"/>
                    <a:gd name="T76" fmla="*/ 10 w 678"/>
                    <a:gd name="T77" fmla="*/ 98 h 769"/>
                    <a:gd name="T78" fmla="*/ 16 w 678"/>
                    <a:gd name="T79" fmla="*/ 84 h 769"/>
                    <a:gd name="T80" fmla="*/ 28 w 678"/>
                    <a:gd name="T81" fmla="*/ 85 h 769"/>
                    <a:gd name="T82" fmla="*/ 50 w 678"/>
                    <a:gd name="T83" fmla="*/ 52 h 769"/>
                    <a:gd name="T84" fmla="*/ 47 w 678"/>
                    <a:gd name="T85" fmla="*/ 43 h 769"/>
                    <a:gd name="T86" fmla="*/ 38 w 678"/>
                    <a:gd name="T87" fmla="*/ 29 h 769"/>
                    <a:gd name="T88" fmla="*/ 35 w 678"/>
                    <a:gd name="T89" fmla="*/ 20 h 769"/>
                    <a:gd name="T90" fmla="*/ 60 w 678"/>
                    <a:gd name="T91" fmla="*/ 13 h 769"/>
                    <a:gd name="T92" fmla="*/ 79 w 678"/>
                    <a:gd name="T93" fmla="*/ 0 h 769"/>
                    <a:gd name="T94" fmla="*/ 86 w 678"/>
                    <a:gd name="T95" fmla="*/ 20 h 769"/>
                    <a:gd name="T96" fmla="*/ 82 w 678"/>
                    <a:gd name="T97" fmla="*/ 28 h 769"/>
                    <a:gd name="T98" fmla="*/ 85 w 678"/>
                    <a:gd name="T99" fmla="*/ 37 h 769"/>
                    <a:gd name="T100" fmla="*/ 88 w 678"/>
                    <a:gd name="T101" fmla="*/ 52 h 769"/>
                    <a:gd name="T102" fmla="*/ 107 w 678"/>
                    <a:gd name="T103" fmla="*/ 61 h 7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78" h="769">
                      <a:moveTo>
                        <a:pt x="283" y="161"/>
                      </a:moveTo>
                      <a:lnTo>
                        <a:pt x="269" y="173"/>
                      </a:lnTo>
                      <a:lnTo>
                        <a:pt x="265" y="199"/>
                      </a:lnTo>
                      <a:lnTo>
                        <a:pt x="337" y="237"/>
                      </a:lnTo>
                      <a:lnTo>
                        <a:pt x="373" y="241"/>
                      </a:lnTo>
                      <a:lnTo>
                        <a:pt x="391" y="257"/>
                      </a:lnTo>
                      <a:lnTo>
                        <a:pt x="445" y="269"/>
                      </a:lnTo>
                      <a:lnTo>
                        <a:pt x="465" y="265"/>
                      </a:lnTo>
                      <a:lnTo>
                        <a:pt x="461" y="245"/>
                      </a:lnTo>
                      <a:lnTo>
                        <a:pt x="461" y="227"/>
                      </a:lnTo>
                      <a:lnTo>
                        <a:pt x="475" y="223"/>
                      </a:lnTo>
                      <a:lnTo>
                        <a:pt x="483" y="241"/>
                      </a:lnTo>
                      <a:lnTo>
                        <a:pt x="479" y="245"/>
                      </a:lnTo>
                      <a:lnTo>
                        <a:pt x="502" y="257"/>
                      </a:lnTo>
                      <a:lnTo>
                        <a:pt x="556" y="253"/>
                      </a:lnTo>
                      <a:lnTo>
                        <a:pt x="560" y="241"/>
                      </a:lnTo>
                      <a:lnTo>
                        <a:pt x="544" y="227"/>
                      </a:lnTo>
                      <a:lnTo>
                        <a:pt x="602" y="189"/>
                      </a:lnTo>
                      <a:lnTo>
                        <a:pt x="636" y="181"/>
                      </a:lnTo>
                      <a:lnTo>
                        <a:pt x="652" y="207"/>
                      </a:lnTo>
                      <a:lnTo>
                        <a:pt x="678" y="219"/>
                      </a:lnTo>
                      <a:lnTo>
                        <a:pt x="674" y="245"/>
                      </a:lnTo>
                      <a:lnTo>
                        <a:pt x="652" y="245"/>
                      </a:lnTo>
                      <a:lnTo>
                        <a:pt x="636" y="265"/>
                      </a:lnTo>
                      <a:lnTo>
                        <a:pt x="620" y="332"/>
                      </a:lnTo>
                      <a:lnTo>
                        <a:pt x="602" y="340"/>
                      </a:lnTo>
                      <a:lnTo>
                        <a:pt x="602" y="382"/>
                      </a:lnTo>
                      <a:lnTo>
                        <a:pt x="590" y="390"/>
                      </a:lnTo>
                      <a:lnTo>
                        <a:pt x="570" y="340"/>
                      </a:lnTo>
                      <a:lnTo>
                        <a:pt x="562" y="360"/>
                      </a:lnTo>
                      <a:lnTo>
                        <a:pt x="548" y="332"/>
                      </a:lnTo>
                      <a:lnTo>
                        <a:pt x="570" y="303"/>
                      </a:lnTo>
                      <a:lnTo>
                        <a:pt x="516" y="295"/>
                      </a:lnTo>
                      <a:lnTo>
                        <a:pt x="502" y="273"/>
                      </a:lnTo>
                      <a:lnTo>
                        <a:pt x="490" y="277"/>
                      </a:lnTo>
                      <a:lnTo>
                        <a:pt x="475" y="265"/>
                      </a:lnTo>
                      <a:lnTo>
                        <a:pt x="469" y="281"/>
                      </a:lnTo>
                      <a:lnTo>
                        <a:pt x="483" y="299"/>
                      </a:lnTo>
                      <a:lnTo>
                        <a:pt x="469" y="310"/>
                      </a:lnTo>
                      <a:lnTo>
                        <a:pt x="486" y="322"/>
                      </a:lnTo>
                      <a:lnTo>
                        <a:pt x="506" y="398"/>
                      </a:lnTo>
                      <a:lnTo>
                        <a:pt x="486" y="398"/>
                      </a:lnTo>
                      <a:lnTo>
                        <a:pt x="483" y="382"/>
                      </a:lnTo>
                      <a:lnTo>
                        <a:pt x="457" y="406"/>
                      </a:lnTo>
                      <a:lnTo>
                        <a:pt x="461" y="426"/>
                      </a:lnTo>
                      <a:lnTo>
                        <a:pt x="449" y="444"/>
                      </a:lnTo>
                      <a:lnTo>
                        <a:pt x="419" y="464"/>
                      </a:lnTo>
                      <a:lnTo>
                        <a:pt x="357" y="540"/>
                      </a:lnTo>
                      <a:lnTo>
                        <a:pt x="315" y="564"/>
                      </a:lnTo>
                      <a:lnTo>
                        <a:pt x="307" y="570"/>
                      </a:lnTo>
                      <a:lnTo>
                        <a:pt x="319" y="631"/>
                      </a:lnTo>
                      <a:lnTo>
                        <a:pt x="311" y="673"/>
                      </a:lnTo>
                      <a:lnTo>
                        <a:pt x="315" y="711"/>
                      </a:lnTo>
                      <a:lnTo>
                        <a:pt x="299" y="711"/>
                      </a:lnTo>
                      <a:lnTo>
                        <a:pt x="291" y="739"/>
                      </a:lnTo>
                      <a:lnTo>
                        <a:pt x="277" y="747"/>
                      </a:lnTo>
                      <a:lnTo>
                        <a:pt x="265" y="769"/>
                      </a:lnTo>
                      <a:lnTo>
                        <a:pt x="238" y="747"/>
                      </a:lnTo>
                      <a:lnTo>
                        <a:pt x="162" y="582"/>
                      </a:lnTo>
                      <a:lnTo>
                        <a:pt x="154" y="560"/>
                      </a:lnTo>
                      <a:lnTo>
                        <a:pt x="120" y="452"/>
                      </a:lnTo>
                      <a:lnTo>
                        <a:pt x="108" y="390"/>
                      </a:lnTo>
                      <a:lnTo>
                        <a:pt x="116" y="378"/>
                      </a:lnTo>
                      <a:lnTo>
                        <a:pt x="104" y="376"/>
                      </a:lnTo>
                      <a:lnTo>
                        <a:pt x="96" y="410"/>
                      </a:lnTo>
                      <a:lnTo>
                        <a:pt x="62" y="418"/>
                      </a:lnTo>
                      <a:lnTo>
                        <a:pt x="24" y="378"/>
                      </a:lnTo>
                      <a:lnTo>
                        <a:pt x="46" y="376"/>
                      </a:lnTo>
                      <a:lnTo>
                        <a:pt x="54" y="356"/>
                      </a:lnTo>
                      <a:lnTo>
                        <a:pt x="24" y="364"/>
                      </a:lnTo>
                      <a:lnTo>
                        <a:pt x="0" y="336"/>
                      </a:lnTo>
                      <a:lnTo>
                        <a:pt x="16" y="332"/>
                      </a:lnTo>
                      <a:lnTo>
                        <a:pt x="16" y="322"/>
                      </a:lnTo>
                      <a:lnTo>
                        <a:pt x="74" y="322"/>
                      </a:lnTo>
                      <a:lnTo>
                        <a:pt x="54" y="287"/>
                      </a:lnTo>
                      <a:lnTo>
                        <a:pt x="42" y="281"/>
                      </a:lnTo>
                      <a:lnTo>
                        <a:pt x="42" y="265"/>
                      </a:lnTo>
                      <a:lnTo>
                        <a:pt x="28" y="261"/>
                      </a:lnTo>
                      <a:lnTo>
                        <a:pt x="28" y="245"/>
                      </a:lnTo>
                      <a:lnTo>
                        <a:pt x="42" y="223"/>
                      </a:lnTo>
                      <a:lnTo>
                        <a:pt x="54" y="231"/>
                      </a:lnTo>
                      <a:lnTo>
                        <a:pt x="74" y="227"/>
                      </a:lnTo>
                      <a:lnTo>
                        <a:pt x="112" y="157"/>
                      </a:lnTo>
                      <a:lnTo>
                        <a:pt x="132" y="139"/>
                      </a:lnTo>
                      <a:lnTo>
                        <a:pt x="128" y="135"/>
                      </a:lnTo>
                      <a:lnTo>
                        <a:pt x="124" y="115"/>
                      </a:lnTo>
                      <a:lnTo>
                        <a:pt x="138" y="107"/>
                      </a:lnTo>
                      <a:lnTo>
                        <a:pt x="100" y="77"/>
                      </a:lnTo>
                      <a:lnTo>
                        <a:pt x="104" y="57"/>
                      </a:lnTo>
                      <a:lnTo>
                        <a:pt x="92" y="53"/>
                      </a:lnTo>
                      <a:lnTo>
                        <a:pt x="92" y="35"/>
                      </a:lnTo>
                      <a:lnTo>
                        <a:pt x="158" y="35"/>
                      </a:lnTo>
                      <a:lnTo>
                        <a:pt x="174" y="16"/>
                      </a:lnTo>
                      <a:lnTo>
                        <a:pt x="208" y="0"/>
                      </a:lnTo>
                      <a:lnTo>
                        <a:pt x="234" y="16"/>
                      </a:lnTo>
                      <a:lnTo>
                        <a:pt x="228" y="53"/>
                      </a:lnTo>
                      <a:lnTo>
                        <a:pt x="212" y="57"/>
                      </a:lnTo>
                      <a:lnTo>
                        <a:pt x="216" y="73"/>
                      </a:lnTo>
                      <a:lnTo>
                        <a:pt x="234" y="93"/>
                      </a:lnTo>
                      <a:lnTo>
                        <a:pt x="224" y="99"/>
                      </a:lnTo>
                      <a:lnTo>
                        <a:pt x="208" y="95"/>
                      </a:lnTo>
                      <a:lnTo>
                        <a:pt x="232" y="139"/>
                      </a:lnTo>
                      <a:lnTo>
                        <a:pt x="241" y="139"/>
                      </a:lnTo>
                      <a:lnTo>
                        <a:pt x="283" y="161"/>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52" name="vMap : Malaysia">
                  <a:extLst>
                    <a:ext uri="{FF2B5EF4-FFF2-40B4-BE49-F238E27FC236}">
                      <a16:creationId xmlns:a16="http://schemas.microsoft.com/office/drawing/2014/main" xmlns="" id="{ADE37163-EF89-DE4F-A591-85E72EE45493}"/>
                    </a:ext>
                  </a:extLst>
                </p:cNvPr>
                <p:cNvGrpSpPr/>
                <p:nvPr/>
              </p:nvGrpSpPr>
              <p:grpSpPr>
                <a:xfrm>
                  <a:off x="6350944" y="4047844"/>
                  <a:ext cx="430523" cy="155500"/>
                  <a:chOff x="9103225" y="3621283"/>
                  <a:chExt cx="705091" cy="254679"/>
                </a:xfrm>
                <a:solidFill>
                  <a:srgbClr val="0F4DBC"/>
                </a:solidFill>
              </p:grpSpPr>
              <p:sp>
                <p:nvSpPr>
                  <p:cNvPr id="809" name="vMap : Malaysia (West)">
                    <a:extLst>
                      <a:ext uri="{FF2B5EF4-FFF2-40B4-BE49-F238E27FC236}">
                        <a16:creationId xmlns:a16="http://schemas.microsoft.com/office/drawing/2014/main" xmlns="" id="{66AC6168-D7E7-454A-A53E-15E0E1E6766C}"/>
                      </a:ext>
                    </a:extLst>
                  </p:cNvPr>
                  <p:cNvSpPr>
                    <a:spLocks noChangeAspect="1"/>
                  </p:cNvSpPr>
                  <p:nvPr>
                    <p:custDataLst>
                      <p:tags r:id="rId304"/>
                    </p:custDataLst>
                  </p:nvPr>
                </p:nvSpPr>
                <p:spPr bwMode="gray">
                  <a:xfrm>
                    <a:off x="9103225" y="3636565"/>
                    <a:ext cx="159455" cy="226665"/>
                  </a:xfrm>
                  <a:custGeom>
                    <a:avLst/>
                    <a:gdLst>
                      <a:gd name="T0" fmla="*/ 18 w 108"/>
                      <a:gd name="T1" fmla="*/ 4 h 145"/>
                      <a:gd name="T2" fmla="*/ 11 w 108"/>
                      <a:gd name="T3" fmla="*/ 10 h 145"/>
                      <a:gd name="T4" fmla="*/ 8 w 108"/>
                      <a:gd name="T5" fmla="*/ 1 h 145"/>
                      <a:gd name="T6" fmla="*/ 0 w 108"/>
                      <a:gd name="T7" fmla="*/ 0 h 145"/>
                      <a:gd name="T8" fmla="*/ 1 w 108"/>
                      <a:gd name="T9" fmla="*/ 1 h 145"/>
                      <a:gd name="T10" fmla="*/ 5 w 108"/>
                      <a:gd name="T11" fmla="*/ 25 h 145"/>
                      <a:gd name="T12" fmla="*/ 12 w 108"/>
                      <a:gd name="T13" fmla="*/ 39 h 145"/>
                      <a:gd name="T14" fmla="*/ 33 w 108"/>
                      <a:gd name="T15" fmla="*/ 55 h 145"/>
                      <a:gd name="T16" fmla="*/ 34 w 108"/>
                      <a:gd name="T17" fmla="*/ 52 h 145"/>
                      <a:gd name="T18" fmla="*/ 37 w 108"/>
                      <a:gd name="T19" fmla="*/ 53 h 145"/>
                      <a:gd name="T20" fmla="*/ 38 w 108"/>
                      <a:gd name="T21" fmla="*/ 51 h 145"/>
                      <a:gd name="T22" fmla="*/ 31 w 108"/>
                      <a:gd name="T23" fmla="*/ 36 h 145"/>
                      <a:gd name="T24" fmla="*/ 30 w 108"/>
                      <a:gd name="T25" fmla="*/ 17 h 145"/>
                      <a:gd name="T26" fmla="*/ 18 w 108"/>
                      <a:gd name="T27" fmla="*/ 4 h 14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8" h="145">
                        <a:moveTo>
                          <a:pt x="50" y="12"/>
                        </a:moveTo>
                        <a:lnTo>
                          <a:pt x="32" y="28"/>
                        </a:lnTo>
                        <a:lnTo>
                          <a:pt x="24" y="4"/>
                        </a:lnTo>
                        <a:lnTo>
                          <a:pt x="0" y="0"/>
                        </a:lnTo>
                        <a:lnTo>
                          <a:pt x="4" y="4"/>
                        </a:lnTo>
                        <a:lnTo>
                          <a:pt x="16" y="65"/>
                        </a:lnTo>
                        <a:lnTo>
                          <a:pt x="36" y="103"/>
                        </a:lnTo>
                        <a:lnTo>
                          <a:pt x="92" y="145"/>
                        </a:lnTo>
                        <a:lnTo>
                          <a:pt x="96" y="137"/>
                        </a:lnTo>
                        <a:lnTo>
                          <a:pt x="104" y="141"/>
                        </a:lnTo>
                        <a:lnTo>
                          <a:pt x="108" y="135"/>
                        </a:lnTo>
                        <a:lnTo>
                          <a:pt x="88" y="95"/>
                        </a:lnTo>
                        <a:lnTo>
                          <a:pt x="84" y="46"/>
                        </a:lnTo>
                        <a:lnTo>
                          <a:pt x="50" y="12"/>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810" name="vMap : Malaysia (East)">
                    <a:extLst>
                      <a:ext uri="{FF2B5EF4-FFF2-40B4-BE49-F238E27FC236}">
                        <a16:creationId xmlns:a16="http://schemas.microsoft.com/office/drawing/2014/main" xmlns="" id="{FBF2D16D-9CFA-7845-85DF-4D6B945366CE}"/>
                      </a:ext>
                    </a:extLst>
                  </p:cNvPr>
                  <p:cNvSpPr>
                    <a:spLocks noChangeAspect="1"/>
                  </p:cNvSpPr>
                  <p:nvPr>
                    <p:custDataLst>
                      <p:tags r:id="rId305"/>
                    </p:custDataLst>
                  </p:nvPr>
                </p:nvSpPr>
                <p:spPr bwMode="gray">
                  <a:xfrm>
                    <a:off x="9457016" y="3621283"/>
                    <a:ext cx="351300" cy="254679"/>
                  </a:xfrm>
                  <a:custGeom>
                    <a:avLst/>
                    <a:gdLst>
                      <a:gd name="T0" fmla="*/ 1 w 229"/>
                      <a:gd name="T1" fmla="*/ 55 h 163"/>
                      <a:gd name="T2" fmla="*/ 9 w 229"/>
                      <a:gd name="T3" fmla="*/ 61 h 163"/>
                      <a:gd name="T4" fmla="*/ 19 w 229"/>
                      <a:gd name="T5" fmla="*/ 61 h 163"/>
                      <a:gd name="T6" fmla="*/ 25 w 229"/>
                      <a:gd name="T7" fmla="*/ 55 h 163"/>
                      <a:gd name="T8" fmla="*/ 35 w 229"/>
                      <a:gd name="T9" fmla="*/ 58 h 163"/>
                      <a:gd name="T10" fmla="*/ 42 w 229"/>
                      <a:gd name="T11" fmla="*/ 57 h 163"/>
                      <a:gd name="T12" fmla="*/ 47 w 229"/>
                      <a:gd name="T13" fmla="*/ 52 h 163"/>
                      <a:gd name="T14" fmla="*/ 57 w 229"/>
                      <a:gd name="T15" fmla="*/ 25 h 163"/>
                      <a:gd name="T16" fmla="*/ 73 w 229"/>
                      <a:gd name="T17" fmla="*/ 28 h 163"/>
                      <a:gd name="T18" fmla="*/ 81 w 229"/>
                      <a:gd name="T19" fmla="*/ 25 h 163"/>
                      <a:gd name="T20" fmla="*/ 78 w 229"/>
                      <a:gd name="T21" fmla="*/ 21 h 163"/>
                      <a:gd name="T22" fmla="*/ 87 w 229"/>
                      <a:gd name="T23" fmla="*/ 19 h 163"/>
                      <a:gd name="T24" fmla="*/ 73 w 229"/>
                      <a:gd name="T25" fmla="*/ 10 h 163"/>
                      <a:gd name="T26" fmla="*/ 73 w 229"/>
                      <a:gd name="T27" fmla="*/ 4 h 163"/>
                      <a:gd name="T28" fmla="*/ 68 w 229"/>
                      <a:gd name="T29" fmla="*/ 0 h 163"/>
                      <a:gd name="T30" fmla="*/ 65 w 229"/>
                      <a:gd name="T31" fmla="*/ 4 h 163"/>
                      <a:gd name="T32" fmla="*/ 65 w 229"/>
                      <a:gd name="T33" fmla="*/ 0 h 163"/>
                      <a:gd name="T34" fmla="*/ 51 w 229"/>
                      <a:gd name="T35" fmla="*/ 20 h 163"/>
                      <a:gd name="T36" fmla="*/ 52 w 229"/>
                      <a:gd name="T37" fmla="*/ 25 h 163"/>
                      <a:gd name="T38" fmla="*/ 49 w 229"/>
                      <a:gd name="T39" fmla="*/ 21 h 163"/>
                      <a:gd name="T40" fmla="*/ 46 w 229"/>
                      <a:gd name="T41" fmla="*/ 29 h 163"/>
                      <a:gd name="T42" fmla="*/ 39 w 229"/>
                      <a:gd name="T43" fmla="*/ 24 h 163"/>
                      <a:gd name="T44" fmla="*/ 30 w 229"/>
                      <a:gd name="T45" fmla="*/ 39 h 163"/>
                      <a:gd name="T46" fmla="*/ 17 w 229"/>
                      <a:gd name="T47" fmla="*/ 42 h 163"/>
                      <a:gd name="T48" fmla="*/ 14 w 229"/>
                      <a:gd name="T49" fmla="*/ 55 h 163"/>
                      <a:gd name="T50" fmla="*/ 0 w 229"/>
                      <a:gd name="T51" fmla="*/ 50 h 163"/>
                      <a:gd name="T52" fmla="*/ 1 w 229"/>
                      <a:gd name="T53" fmla="*/ 55 h 1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9" h="163">
                        <a:moveTo>
                          <a:pt x="4" y="145"/>
                        </a:moveTo>
                        <a:lnTo>
                          <a:pt x="24" y="163"/>
                        </a:lnTo>
                        <a:lnTo>
                          <a:pt x="50" y="163"/>
                        </a:lnTo>
                        <a:lnTo>
                          <a:pt x="66" y="147"/>
                        </a:lnTo>
                        <a:lnTo>
                          <a:pt x="92" y="155"/>
                        </a:lnTo>
                        <a:lnTo>
                          <a:pt x="112" y="151"/>
                        </a:lnTo>
                        <a:lnTo>
                          <a:pt x="124" y="137"/>
                        </a:lnTo>
                        <a:lnTo>
                          <a:pt x="150" y="67"/>
                        </a:lnTo>
                        <a:lnTo>
                          <a:pt x="191" y="75"/>
                        </a:lnTo>
                        <a:lnTo>
                          <a:pt x="215" y="67"/>
                        </a:lnTo>
                        <a:lnTo>
                          <a:pt x="207" y="56"/>
                        </a:lnTo>
                        <a:lnTo>
                          <a:pt x="229" y="50"/>
                        </a:lnTo>
                        <a:lnTo>
                          <a:pt x="191" y="26"/>
                        </a:lnTo>
                        <a:lnTo>
                          <a:pt x="191" y="10"/>
                        </a:lnTo>
                        <a:lnTo>
                          <a:pt x="181" y="0"/>
                        </a:lnTo>
                        <a:lnTo>
                          <a:pt x="170" y="10"/>
                        </a:lnTo>
                        <a:lnTo>
                          <a:pt x="170" y="0"/>
                        </a:lnTo>
                        <a:lnTo>
                          <a:pt x="134" y="52"/>
                        </a:lnTo>
                        <a:lnTo>
                          <a:pt x="138" y="67"/>
                        </a:lnTo>
                        <a:lnTo>
                          <a:pt x="128" y="56"/>
                        </a:lnTo>
                        <a:lnTo>
                          <a:pt x="120" y="79"/>
                        </a:lnTo>
                        <a:lnTo>
                          <a:pt x="104" y="63"/>
                        </a:lnTo>
                        <a:lnTo>
                          <a:pt x="78" y="105"/>
                        </a:lnTo>
                        <a:lnTo>
                          <a:pt x="46" y="113"/>
                        </a:lnTo>
                        <a:lnTo>
                          <a:pt x="36" y="145"/>
                        </a:lnTo>
                        <a:lnTo>
                          <a:pt x="0" y="133"/>
                        </a:lnTo>
                        <a:lnTo>
                          <a:pt x="4" y="145"/>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sp>
              <p:nvSpPr>
                <p:cNvPr id="653" name="vMap : Taiwan">
                  <a:extLst>
                    <a:ext uri="{FF2B5EF4-FFF2-40B4-BE49-F238E27FC236}">
                      <a16:creationId xmlns:a16="http://schemas.microsoft.com/office/drawing/2014/main" xmlns="" id="{80E3BBFD-0728-6441-BBA9-00E74D066685}"/>
                    </a:ext>
                  </a:extLst>
                </p:cNvPr>
                <p:cNvSpPr>
                  <a:spLocks noChangeAspect="1"/>
                </p:cNvSpPr>
                <p:nvPr>
                  <p:custDataLst>
                    <p:tags r:id="rId160"/>
                  </p:custDataLst>
                </p:nvPr>
              </p:nvSpPr>
              <p:spPr bwMode="gray">
                <a:xfrm>
                  <a:off x="6749519" y="3562685"/>
                  <a:ext cx="31947" cy="91745"/>
                </a:xfrm>
                <a:custGeom>
                  <a:avLst/>
                  <a:gdLst>
                    <a:gd name="T0" fmla="*/ 9 w 34"/>
                    <a:gd name="T1" fmla="*/ 0 h 95"/>
                    <a:gd name="T2" fmla="*/ 12 w 34"/>
                    <a:gd name="T3" fmla="*/ 3 h 95"/>
                    <a:gd name="T4" fmla="*/ 13 w 34"/>
                    <a:gd name="T5" fmla="*/ 7 h 95"/>
                    <a:gd name="T6" fmla="*/ 9 w 34"/>
                    <a:gd name="T7" fmla="*/ 37 h 95"/>
                    <a:gd name="T8" fmla="*/ 0 w 34"/>
                    <a:gd name="T9" fmla="*/ 19 h 95"/>
                    <a:gd name="T10" fmla="*/ 9 w 34"/>
                    <a:gd name="T11" fmla="*/ 0 h 9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95">
                      <a:moveTo>
                        <a:pt x="24" y="0"/>
                      </a:moveTo>
                      <a:lnTo>
                        <a:pt x="32" y="8"/>
                      </a:lnTo>
                      <a:lnTo>
                        <a:pt x="34" y="19"/>
                      </a:lnTo>
                      <a:lnTo>
                        <a:pt x="24" y="95"/>
                      </a:lnTo>
                      <a:lnTo>
                        <a:pt x="0" y="49"/>
                      </a:lnTo>
                      <a:lnTo>
                        <a:pt x="24"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54" name="vMap : Brunei">
                  <a:extLst>
                    <a:ext uri="{FF2B5EF4-FFF2-40B4-BE49-F238E27FC236}">
                      <a16:creationId xmlns:a16="http://schemas.microsoft.com/office/drawing/2014/main" xmlns="" id="{B324C957-60D2-8342-9084-5BD3B8AA84A4}"/>
                    </a:ext>
                  </a:extLst>
                </p:cNvPr>
                <p:cNvSpPr>
                  <a:spLocks noChangeAspect="1"/>
                </p:cNvSpPr>
                <p:nvPr>
                  <p:custDataLst>
                    <p:tags r:id="rId161"/>
                  </p:custDataLst>
                </p:nvPr>
              </p:nvSpPr>
              <p:spPr bwMode="gray">
                <a:xfrm>
                  <a:off x="6662807" y="4096049"/>
                  <a:ext cx="31947" cy="26435"/>
                </a:xfrm>
                <a:custGeom>
                  <a:avLst/>
                  <a:gdLst>
                    <a:gd name="T0" fmla="*/ 0 w 34"/>
                    <a:gd name="T1" fmla="*/ 4 h 27"/>
                    <a:gd name="T2" fmla="*/ 12 w 34"/>
                    <a:gd name="T3" fmla="*/ 0 h 27"/>
                    <a:gd name="T4" fmla="*/ 13 w 34"/>
                    <a:gd name="T5" fmla="*/ 6 h 27"/>
                    <a:gd name="T6" fmla="*/ 9 w 34"/>
                    <a:gd name="T7" fmla="*/ 2 h 27"/>
                    <a:gd name="T8" fmla="*/ 6 w 34"/>
                    <a:gd name="T9" fmla="*/ 11 h 27"/>
                    <a:gd name="T10" fmla="*/ 0 w 34"/>
                    <a:gd name="T11" fmla="*/ 4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7">
                      <a:moveTo>
                        <a:pt x="0" y="11"/>
                      </a:moveTo>
                      <a:lnTo>
                        <a:pt x="30" y="0"/>
                      </a:lnTo>
                      <a:lnTo>
                        <a:pt x="34" y="15"/>
                      </a:lnTo>
                      <a:lnTo>
                        <a:pt x="24" y="4"/>
                      </a:lnTo>
                      <a:lnTo>
                        <a:pt x="16" y="27"/>
                      </a:lnTo>
                      <a:lnTo>
                        <a:pt x="0" y="11"/>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55" name="vMap : Philippines">
                  <a:extLst>
                    <a:ext uri="{FF2B5EF4-FFF2-40B4-BE49-F238E27FC236}">
                      <a16:creationId xmlns:a16="http://schemas.microsoft.com/office/drawing/2014/main" xmlns="" id="{3EC3476B-B470-FE43-9372-79CD7E458F91}"/>
                    </a:ext>
                  </a:extLst>
                </p:cNvPr>
                <p:cNvGrpSpPr/>
                <p:nvPr/>
              </p:nvGrpSpPr>
              <p:grpSpPr>
                <a:xfrm>
                  <a:off x="6732786" y="3743064"/>
                  <a:ext cx="214500" cy="342100"/>
                  <a:chOff x="9728589" y="3122113"/>
                  <a:chExt cx="351299" cy="560294"/>
                </a:xfrm>
                <a:solidFill>
                  <a:srgbClr val="0F4DBC"/>
                </a:solidFill>
              </p:grpSpPr>
              <p:sp>
                <p:nvSpPr>
                  <p:cNvPr id="798" name="vMap : Philippines">
                    <a:extLst>
                      <a:ext uri="{FF2B5EF4-FFF2-40B4-BE49-F238E27FC236}">
                        <a16:creationId xmlns:a16="http://schemas.microsoft.com/office/drawing/2014/main" xmlns="" id="{7228B463-D843-D147-B4CF-DDB8A7869444}"/>
                      </a:ext>
                    </a:extLst>
                  </p:cNvPr>
                  <p:cNvSpPr>
                    <a:spLocks noChangeAspect="1"/>
                  </p:cNvSpPr>
                  <p:nvPr>
                    <p:custDataLst>
                      <p:tags r:id="rId293"/>
                    </p:custDataLst>
                  </p:nvPr>
                </p:nvSpPr>
                <p:spPr bwMode="gray">
                  <a:xfrm>
                    <a:off x="9728589" y="3430274"/>
                    <a:ext cx="79728" cy="122245"/>
                  </a:xfrm>
                  <a:custGeom>
                    <a:avLst/>
                    <a:gdLst>
                      <a:gd name="T0" fmla="*/ 19 w 52"/>
                      <a:gd name="T1" fmla="*/ 0 h 80"/>
                      <a:gd name="T2" fmla="*/ 20 w 52"/>
                      <a:gd name="T3" fmla="*/ 10 h 80"/>
                      <a:gd name="T4" fmla="*/ 0 w 52"/>
                      <a:gd name="T5" fmla="*/ 29 h 80"/>
                      <a:gd name="T6" fmla="*/ 16 w 52"/>
                      <a:gd name="T7" fmla="*/ 10 h 80"/>
                      <a:gd name="T8" fmla="*/ 19 w 52"/>
                      <a:gd name="T9" fmla="*/ 0 h 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 h="80">
                        <a:moveTo>
                          <a:pt x="50" y="0"/>
                        </a:moveTo>
                        <a:lnTo>
                          <a:pt x="52" y="28"/>
                        </a:lnTo>
                        <a:lnTo>
                          <a:pt x="0" y="80"/>
                        </a:lnTo>
                        <a:lnTo>
                          <a:pt x="42" y="28"/>
                        </a:lnTo>
                        <a:lnTo>
                          <a:pt x="5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9" name="vMap : Philippines">
                    <a:extLst>
                      <a:ext uri="{FF2B5EF4-FFF2-40B4-BE49-F238E27FC236}">
                        <a16:creationId xmlns:a16="http://schemas.microsoft.com/office/drawing/2014/main" xmlns="" id="{4D6F8868-D3E6-FE48-A517-710CEBC4034C}"/>
                      </a:ext>
                    </a:extLst>
                  </p:cNvPr>
                  <p:cNvSpPr>
                    <a:spLocks noChangeAspect="1"/>
                  </p:cNvSpPr>
                  <p:nvPr>
                    <p:custDataLst>
                      <p:tags r:id="rId294"/>
                    </p:custDataLst>
                  </p:nvPr>
                </p:nvSpPr>
                <p:spPr bwMode="gray">
                  <a:xfrm>
                    <a:off x="9905484" y="3501585"/>
                    <a:ext cx="174404" cy="180822"/>
                  </a:xfrm>
                  <a:custGeom>
                    <a:avLst/>
                    <a:gdLst>
                      <a:gd name="T0" fmla="*/ 30 w 112"/>
                      <a:gd name="T1" fmla="*/ 0 h 116"/>
                      <a:gd name="T2" fmla="*/ 39 w 112"/>
                      <a:gd name="T3" fmla="*/ 6 h 116"/>
                      <a:gd name="T4" fmla="*/ 44 w 112"/>
                      <a:gd name="T5" fmla="*/ 23 h 116"/>
                      <a:gd name="T6" fmla="*/ 43 w 112"/>
                      <a:gd name="T7" fmla="*/ 34 h 116"/>
                      <a:gd name="T8" fmla="*/ 38 w 112"/>
                      <a:gd name="T9" fmla="*/ 24 h 116"/>
                      <a:gd name="T10" fmla="*/ 33 w 112"/>
                      <a:gd name="T11" fmla="*/ 29 h 116"/>
                      <a:gd name="T12" fmla="*/ 36 w 112"/>
                      <a:gd name="T13" fmla="*/ 37 h 116"/>
                      <a:gd name="T14" fmla="*/ 34 w 112"/>
                      <a:gd name="T15" fmla="*/ 43 h 116"/>
                      <a:gd name="T16" fmla="*/ 31 w 112"/>
                      <a:gd name="T17" fmla="*/ 39 h 116"/>
                      <a:gd name="T18" fmla="*/ 23 w 112"/>
                      <a:gd name="T19" fmla="*/ 36 h 116"/>
                      <a:gd name="T20" fmla="*/ 21 w 112"/>
                      <a:gd name="T21" fmla="*/ 23 h 116"/>
                      <a:gd name="T22" fmla="*/ 15 w 112"/>
                      <a:gd name="T23" fmla="*/ 19 h 116"/>
                      <a:gd name="T24" fmla="*/ 9 w 112"/>
                      <a:gd name="T25" fmla="*/ 24 h 116"/>
                      <a:gd name="T26" fmla="*/ 6 w 112"/>
                      <a:gd name="T27" fmla="*/ 20 h 116"/>
                      <a:gd name="T28" fmla="*/ 0 w 112"/>
                      <a:gd name="T29" fmla="*/ 29 h 116"/>
                      <a:gd name="T30" fmla="*/ 3 w 112"/>
                      <a:gd name="T31" fmla="*/ 17 h 116"/>
                      <a:gd name="T32" fmla="*/ 12 w 112"/>
                      <a:gd name="T33" fmla="*/ 10 h 116"/>
                      <a:gd name="T34" fmla="*/ 15 w 112"/>
                      <a:gd name="T35" fmla="*/ 12 h 116"/>
                      <a:gd name="T36" fmla="*/ 16 w 112"/>
                      <a:gd name="T37" fmla="*/ 17 h 116"/>
                      <a:gd name="T38" fmla="*/ 19 w 112"/>
                      <a:gd name="T39" fmla="*/ 16 h 116"/>
                      <a:gd name="T40" fmla="*/ 26 w 112"/>
                      <a:gd name="T41" fmla="*/ 7 h 116"/>
                      <a:gd name="T42" fmla="*/ 31 w 112"/>
                      <a:gd name="T43" fmla="*/ 7 h 116"/>
                      <a:gd name="T44" fmla="*/ 30 w 112"/>
                      <a:gd name="T45" fmla="*/ 0 h 11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12" h="116">
                        <a:moveTo>
                          <a:pt x="76" y="0"/>
                        </a:moveTo>
                        <a:lnTo>
                          <a:pt x="100" y="16"/>
                        </a:lnTo>
                        <a:lnTo>
                          <a:pt x="112" y="62"/>
                        </a:lnTo>
                        <a:lnTo>
                          <a:pt x="108" y="92"/>
                        </a:lnTo>
                        <a:lnTo>
                          <a:pt x="96" y="66"/>
                        </a:lnTo>
                        <a:lnTo>
                          <a:pt x="84" y="78"/>
                        </a:lnTo>
                        <a:lnTo>
                          <a:pt x="92" y="100"/>
                        </a:lnTo>
                        <a:lnTo>
                          <a:pt x="88" y="116"/>
                        </a:lnTo>
                        <a:lnTo>
                          <a:pt x="80" y="104"/>
                        </a:lnTo>
                        <a:lnTo>
                          <a:pt x="58" y="96"/>
                        </a:lnTo>
                        <a:lnTo>
                          <a:pt x="54" y="62"/>
                        </a:lnTo>
                        <a:lnTo>
                          <a:pt x="38" y="50"/>
                        </a:lnTo>
                        <a:lnTo>
                          <a:pt x="24" y="66"/>
                        </a:lnTo>
                        <a:lnTo>
                          <a:pt x="16" y="54"/>
                        </a:lnTo>
                        <a:lnTo>
                          <a:pt x="0" y="78"/>
                        </a:lnTo>
                        <a:lnTo>
                          <a:pt x="8" y="46"/>
                        </a:lnTo>
                        <a:lnTo>
                          <a:pt x="30" y="28"/>
                        </a:lnTo>
                        <a:lnTo>
                          <a:pt x="38" y="32"/>
                        </a:lnTo>
                        <a:lnTo>
                          <a:pt x="42" y="46"/>
                        </a:lnTo>
                        <a:lnTo>
                          <a:pt x="50" y="42"/>
                        </a:lnTo>
                        <a:lnTo>
                          <a:pt x="66" y="20"/>
                        </a:lnTo>
                        <a:lnTo>
                          <a:pt x="80" y="20"/>
                        </a:lnTo>
                        <a:lnTo>
                          <a:pt x="76"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0" name="vMap : Philippines">
                    <a:extLst>
                      <a:ext uri="{FF2B5EF4-FFF2-40B4-BE49-F238E27FC236}">
                        <a16:creationId xmlns:a16="http://schemas.microsoft.com/office/drawing/2014/main" xmlns="" id="{C1A95552-442A-7446-BFBA-64B2488E0BB9}"/>
                      </a:ext>
                    </a:extLst>
                  </p:cNvPr>
                  <p:cNvSpPr>
                    <a:spLocks noChangeAspect="1"/>
                  </p:cNvSpPr>
                  <p:nvPr>
                    <p:custDataLst>
                      <p:tags r:id="rId295"/>
                    </p:custDataLst>
                  </p:nvPr>
                </p:nvSpPr>
                <p:spPr bwMode="gray">
                  <a:xfrm>
                    <a:off x="9917942" y="3453196"/>
                    <a:ext cx="34881" cy="76404"/>
                  </a:xfrm>
                  <a:custGeom>
                    <a:avLst/>
                    <a:gdLst>
                      <a:gd name="T0" fmla="*/ 3 w 22"/>
                      <a:gd name="T1" fmla="*/ 0 h 50"/>
                      <a:gd name="T2" fmla="*/ 9 w 22"/>
                      <a:gd name="T3" fmla="*/ 1 h 50"/>
                      <a:gd name="T4" fmla="*/ 6 w 22"/>
                      <a:gd name="T5" fmla="*/ 18 h 50"/>
                      <a:gd name="T6" fmla="*/ 0 w 22"/>
                      <a:gd name="T7" fmla="*/ 11 h 50"/>
                      <a:gd name="T8" fmla="*/ 3 w 22"/>
                      <a:gd name="T9" fmla="*/ 0 h 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50">
                        <a:moveTo>
                          <a:pt x="8" y="0"/>
                        </a:moveTo>
                        <a:lnTo>
                          <a:pt x="22" y="4"/>
                        </a:lnTo>
                        <a:lnTo>
                          <a:pt x="16" y="50"/>
                        </a:lnTo>
                        <a:lnTo>
                          <a:pt x="0" y="3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1" name="vMap : Philippines">
                    <a:extLst>
                      <a:ext uri="{FF2B5EF4-FFF2-40B4-BE49-F238E27FC236}">
                        <a16:creationId xmlns:a16="http://schemas.microsoft.com/office/drawing/2014/main" xmlns="" id="{E12C3C0A-E1A3-D94E-BD90-FAEEC8FF2834}"/>
                      </a:ext>
                    </a:extLst>
                  </p:cNvPr>
                  <p:cNvSpPr>
                    <a:spLocks noChangeAspect="1"/>
                  </p:cNvSpPr>
                  <p:nvPr>
                    <p:custDataLst>
                      <p:tags r:id="rId296"/>
                    </p:custDataLst>
                  </p:nvPr>
                </p:nvSpPr>
                <p:spPr bwMode="gray">
                  <a:xfrm>
                    <a:off x="9890535" y="3404807"/>
                    <a:ext cx="44847" cy="68763"/>
                  </a:xfrm>
                  <a:custGeom>
                    <a:avLst/>
                    <a:gdLst>
                      <a:gd name="T0" fmla="*/ 0 w 32"/>
                      <a:gd name="T1" fmla="*/ 0 h 44"/>
                      <a:gd name="T2" fmla="*/ 10 w 32"/>
                      <a:gd name="T3" fmla="*/ 4 h 44"/>
                      <a:gd name="T4" fmla="*/ 10 w 32"/>
                      <a:gd name="T5" fmla="*/ 9 h 44"/>
                      <a:gd name="T6" fmla="*/ 1 w 32"/>
                      <a:gd name="T7" fmla="*/ 17 h 44"/>
                      <a:gd name="T8" fmla="*/ 0 w 32"/>
                      <a:gd name="T9" fmla="*/ 0 h 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44">
                        <a:moveTo>
                          <a:pt x="0" y="0"/>
                        </a:moveTo>
                        <a:lnTo>
                          <a:pt x="32" y="12"/>
                        </a:lnTo>
                        <a:lnTo>
                          <a:pt x="32" y="24"/>
                        </a:lnTo>
                        <a:lnTo>
                          <a:pt x="4" y="44"/>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2" name="vMap : Philippines">
                    <a:extLst>
                      <a:ext uri="{FF2B5EF4-FFF2-40B4-BE49-F238E27FC236}">
                        <a16:creationId xmlns:a16="http://schemas.microsoft.com/office/drawing/2014/main" xmlns="" id="{487BA2A2-F36E-224F-82A0-BE0F16B0DAED}"/>
                      </a:ext>
                    </a:extLst>
                  </p:cNvPr>
                  <p:cNvSpPr>
                    <a:spLocks noChangeAspect="1"/>
                  </p:cNvSpPr>
                  <p:nvPr>
                    <p:custDataLst>
                      <p:tags r:id="rId297"/>
                    </p:custDataLst>
                  </p:nvPr>
                </p:nvSpPr>
                <p:spPr bwMode="gray">
                  <a:xfrm>
                    <a:off x="9790875" y="3122113"/>
                    <a:ext cx="171913" cy="259772"/>
                  </a:xfrm>
                  <a:custGeom>
                    <a:avLst/>
                    <a:gdLst>
                      <a:gd name="T0" fmla="*/ 18 w 114"/>
                      <a:gd name="T1" fmla="*/ 0 h 165"/>
                      <a:gd name="T2" fmla="*/ 18 w 114"/>
                      <a:gd name="T3" fmla="*/ 11 h 165"/>
                      <a:gd name="T4" fmla="*/ 22 w 114"/>
                      <a:gd name="T5" fmla="*/ 16 h 165"/>
                      <a:gd name="T6" fmla="*/ 15 w 114"/>
                      <a:gd name="T7" fmla="*/ 33 h 165"/>
                      <a:gd name="T8" fmla="*/ 18 w 114"/>
                      <a:gd name="T9" fmla="*/ 43 h 165"/>
                      <a:gd name="T10" fmla="*/ 22 w 114"/>
                      <a:gd name="T11" fmla="*/ 49 h 165"/>
                      <a:gd name="T12" fmla="*/ 28 w 114"/>
                      <a:gd name="T13" fmla="*/ 44 h 165"/>
                      <a:gd name="T14" fmla="*/ 32 w 114"/>
                      <a:gd name="T15" fmla="*/ 50 h 165"/>
                      <a:gd name="T16" fmla="*/ 34 w 114"/>
                      <a:gd name="T17" fmla="*/ 47 h 165"/>
                      <a:gd name="T18" fmla="*/ 39 w 114"/>
                      <a:gd name="T19" fmla="*/ 49 h 165"/>
                      <a:gd name="T20" fmla="*/ 37 w 114"/>
                      <a:gd name="T21" fmla="*/ 51 h 165"/>
                      <a:gd name="T22" fmla="*/ 42 w 114"/>
                      <a:gd name="T23" fmla="*/ 59 h 165"/>
                      <a:gd name="T24" fmla="*/ 42 w 114"/>
                      <a:gd name="T25" fmla="*/ 63 h 165"/>
                      <a:gd name="T26" fmla="*/ 28 w 114"/>
                      <a:gd name="T27" fmla="*/ 49 h 165"/>
                      <a:gd name="T28" fmla="*/ 29 w 114"/>
                      <a:gd name="T29" fmla="*/ 56 h 165"/>
                      <a:gd name="T30" fmla="*/ 21 w 114"/>
                      <a:gd name="T31" fmla="*/ 49 h 165"/>
                      <a:gd name="T32" fmla="*/ 11 w 114"/>
                      <a:gd name="T33" fmla="*/ 49 h 165"/>
                      <a:gd name="T34" fmla="*/ 11 w 114"/>
                      <a:gd name="T35" fmla="*/ 40 h 165"/>
                      <a:gd name="T36" fmla="*/ 8 w 114"/>
                      <a:gd name="T37" fmla="*/ 40 h 165"/>
                      <a:gd name="T38" fmla="*/ 8 w 114"/>
                      <a:gd name="T39" fmla="*/ 43 h 165"/>
                      <a:gd name="T40" fmla="*/ 4 w 114"/>
                      <a:gd name="T41" fmla="*/ 35 h 165"/>
                      <a:gd name="T42" fmla="*/ 0 w 114"/>
                      <a:gd name="T43" fmla="*/ 23 h 165"/>
                      <a:gd name="T44" fmla="*/ 4 w 114"/>
                      <a:gd name="T45" fmla="*/ 25 h 165"/>
                      <a:gd name="T46" fmla="*/ 3 w 114"/>
                      <a:gd name="T47" fmla="*/ 0 h 165"/>
                      <a:gd name="T48" fmla="*/ 18 w 114"/>
                      <a:gd name="T49" fmla="*/ 0 h 16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4" h="165">
                        <a:moveTo>
                          <a:pt x="50" y="0"/>
                        </a:moveTo>
                        <a:lnTo>
                          <a:pt x="50" y="28"/>
                        </a:lnTo>
                        <a:lnTo>
                          <a:pt x="60" y="42"/>
                        </a:lnTo>
                        <a:lnTo>
                          <a:pt x="42" y="88"/>
                        </a:lnTo>
                        <a:lnTo>
                          <a:pt x="50" y="111"/>
                        </a:lnTo>
                        <a:lnTo>
                          <a:pt x="60" y="127"/>
                        </a:lnTo>
                        <a:lnTo>
                          <a:pt x="76" y="115"/>
                        </a:lnTo>
                        <a:lnTo>
                          <a:pt x="88" y="131"/>
                        </a:lnTo>
                        <a:lnTo>
                          <a:pt x="92" y="123"/>
                        </a:lnTo>
                        <a:lnTo>
                          <a:pt x="106" y="127"/>
                        </a:lnTo>
                        <a:lnTo>
                          <a:pt x="100" y="133"/>
                        </a:lnTo>
                        <a:lnTo>
                          <a:pt x="114" y="153"/>
                        </a:lnTo>
                        <a:lnTo>
                          <a:pt x="114" y="165"/>
                        </a:lnTo>
                        <a:lnTo>
                          <a:pt x="76" y="127"/>
                        </a:lnTo>
                        <a:lnTo>
                          <a:pt x="80" y="145"/>
                        </a:lnTo>
                        <a:lnTo>
                          <a:pt x="58" y="127"/>
                        </a:lnTo>
                        <a:lnTo>
                          <a:pt x="30" y="127"/>
                        </a:lnTo>
                        <a:lnTo>
                          <a:pt x="30" y="103"/>
                        </a:lnTo>
                        <a:lnTo>
                          <a:pt x="22" y="103"/>
                        </a:lnTo>
                        <a:lnTo>
                          <a:pt x="22" y="111"/>
                        </a:lnTo>
                        <a:lnTo>
                          <a:pt x="10" y="92"/>
                        </a:lnTo>
                        <a:lnTo>
                          <a:pt x="0" y="62"/>
                        </a:lnTo>
                        <a:lnTo>
                          <a:pt x="10" y="66"/>
                        </a:lnTo>
                        <a:lnTo>
                          <a:pt x="8" y="0"/>
                        </a:lnTo>
                        <a:lnTo>
                          <a:pt x="5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3" name="vMap : Philippines">
                    <a:extLst>
                      <a:ext uri="{FF2B5EF4-FFF2-40B4-BE49-F238E27FC236}">
                        <a16:creationId xmlns:a16="http://schemas.microsoft.com/office/drawing/2014/main" xmlns="" id="{2BB01492-4846-9C48-AECF-2E3A2E057174}"/>
                      </a:ext>
                    </a:extLst>
                  </p:cNvPr>
                  <p:cNvSpPr>
                    <a:spLocks noChangeAspect="1"/>
                  </p:cNvSpPr>
                  <p:nvPr>
                    <p:custDataLst>
                      <p:tags r:id="rId298"/>
                    </p:custDataLst>
                  </p:nvPr>
                </p:nvSpPr>
                <p:spPr bwMode="gray">
                  <a:xfrm>
                    <a:off x="9962789" y="3481210"/>
                    <a:ext cx="29898" cy="20374"/>
                  </a:xfrm>
                  <a:custGeom>
                    <a:avLst/>
                    <a:gdLst>
                      <a:gd name="T0" fmla="*/ 0 w 20"/>
                      <a:gd name="T1" fmla="*/ 3 h 12"/>
                      <a:gd name="T2" fmla="*/ 7 w 20"/>
                      <a:gd name="T3" fmla="*/ 0 h 12"/>
                      <a:gd name="T4" fmla="*/ 7 w 20"/>
                      <a:gd name="T5" fmla="*/ 5 h 12"/>
                      <a:gd name="T6" fmla="*/ 0 w 20"/>
                      <a:gd name="T7" fmla="*/ 3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2">
                        <a:moveTo>
                          <a:pt x="0" y="8"/>
                        </a:moveTo>
                        <a:lnTo>
                          <a:pt x="20" y="0"/>
                        </a:lnTo>
                        <a:lnTo>
                          <a:pt x="20" y="12"/>
                        </a:lnTo>
                        <a:lnTo>
                          <a:pt x="0"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4" name="vMap : Philippines">
                    <a:extLst>
                      <a:ext uri="{FF2B5EF4-FFF2-40B4-BE49-F238E27FC236}">
                        <a16:creationId xmlns:a16="http://schemas.microsoft.com/office/drawing/2014/main" xmlns="" id="{498CE0C1-58FF-9044-8773-3F6C4BE9ACE5}"/>
                      </a:ext>
                    </a:extLst>
                  </p:cNvPr>
                  <p:cNvSpPr>
                    <a:spLocks noChangeAspect="1"/>
                  </p:cNvSpPr>
                  <p:nvPr>
                    <p:custDataLst>
                      <p:tags r:id="rId299"/>
                    </p:custDataLst>
                  </p:nvPr>
                </p:nvSpPr>
                <p:spPr bwMode="gray">
                  <a:xfrm>
                    <a:off x="9977737" y="3422634"/>
                    <a:ext cx="42356" cy="66216"/>
                  </a:xfrm>
                  <a:custGeom>
                    <a:avLst/>
                    <a:gdLst>
                      <a:gd name="T0" fmla="*/ 0 w 28"/>
                      <a:gd name="T1" fmla="*/ 0 h 42"/>
                      <a:gd name="T2" fmla="*/ 7 w 28"/>
                      <a:gd name="T3" fmla="*/ 4 h 42"/>
                      <a:gd name="T4" fmla="*/ 10 w 28"/>
                      <a:gd name="T5" fmla="*/ 14 h 42"/>
                      <a:gd name="T6" fmla="*/ 9 w 28"/>
                      <a:gd name="T7" fmla="*/ 16 h 42"/>
                      <a:gd name="T8" fmla="*/ 0 w 28"/>
                      <a:gd name="T9" fmla="*/ 0 h 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42">
                        <a:moveTo>
                          <a:pt x="0" y="0"/>
                        </a:moveTo>
                        <a:lnTo>
                          <a:pt x="20" y="12"/>
                        </a:lnTo>
                        <a:lnTo>
                          <a:pt x="28" y="36"/>
                        </a:lnTo>
                        <a:lnTo>
                          <a:pt x="24" y="42"/>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5" name="vMap : Philippines">
                    <a:extLst>
                      <a:ext uri="{FF2B5EF4-FFF2-40B4-BE49-F238E27FC236}">
                        <a16:creationId xmlns:a16="http://schemas.microsoft.com/office/drawing/2014/main" xmlns="" id="{EF0AECF0-42CE-234D-AAE8-04BBE7AA3D62}"/>
                      </a:ext>
                    </a:extLst>
                  </p:cNvPr>
                  <p:cNvSpPr>
                    <a:spLocks noChangeAspect="1"/>
                  </p:cNvSpPr>
                  <p:nvPr>
                    <p:custDataLst>
                      <p:tags r:id="rId300"/>
                    </p:custDataLst>
                  </p:nvPr>
                </p:nvSpPr>
                <p:spPr bwMode="gray">
                  <a:xfrm>
                    <a:off x="9977737" y="3381885"/>
                    <a:ext cx="57305" cy="58576"/>
                  </a:xfrm>
                  <a:custGeom>
                    <a:avLst/>
                    <a:gdLst>
                      <a:gd name="T0" fmla="*/ 0 w 38"/>
                      <a:gd name="T1" fmla="*/ 0 h 38"/>
                      <a:gd name="T2" fmla="*/ 9 w 38"/>
                      <a:gd name="T3" fmla="*/ 0 h 38"/>
                      <a:gd name="T4" fmla="*/ 14 w 38"/>
                      <a:gd name="T5" fmla="*/ 14 h 38"/>
                      <a:gd name="T6" fmla="*/ 9 w 38"/>
                      <a:gd name="T7" fmla="*/ 14 h 38"/>
                      <a:gd name="T8" fmla="*/ 0 w 38"/>
                      <a:gd name="T9" fmla="*/ 0 h 3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8" h="38">
                        <a:moveTo>
                          <a:pt x="0" y="0"/>
                        </a:moveTo>
                        <a:lnTo>
                          <a:pt x="24" y="0"/>
                        </a:lnTo>
                        <a:lnTo>
                          <a:pt x="38" y="38"/>
                        </a:lnTo>
                        <a:lnTo>
                          <a:pt x="24" y="38"/>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6" name="vMap : Philippines">
                    <a:extLst>
                      <a:ext uri="{FF2B5EF4-FFF2-40B4-BE49-F238E27FC236}">
                        <a16:creationId xmlns:a16="http://schemas.microsoft.com/office/drawing/2014/main" xmlns="" id="{5AE95F48-DABB-A946-800B-F39531B92A03}"/>
                      </a:ext>
                    </a:extLst>
                  </p:cNvPr>
                  <p:cNvSpPr>
                    <a:spLocks noChangeAspect="1"/>
                  </p:cNvSpPr>
                  <p:nvPr>
                    <p:custDataLst>
                      <p:tags r:id="rId301"/>
                    </p:custDataLst>
                  </p:nvPr>
                </p:nvSpPr>
                <p:spPr bwMode="gray">
                  <a:xfrm>
                    <a:off x="9935381" y="3376792"/>
                    <a:ext cx="27407" cy="33109"/>
                  </a:xfrm>
                  <a:custGeom>
                    <a:avLst/>
                    <a:gdLst>
                      <a:gd name="T0" fmla="*/ 0 w 18"/>
                      <a:gd name="T1" fmla="*/ 0 h 22"/>
                      <a:gd name="T2" fmla="*/ 7 w 18"/>
                      <a:gd name="T3" fmla="*/ 8 h 22"/>
                      <a:gd name="T4" fmla="*/ 3 w 18"/>
                      <a:gd name="T5" fmla="*/ 4 h 22"/>
                      <a:gd name="T6" fmla="*/ 0 w 18"/>
                      <a:gd name="T7" fmla="*/ 5 h 22"/>
                      <a:gd name="T8" fmla="*/ 0 w 18"/>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22">
                        <a:moveTo>
                          <a:pt x="0" y="0"/>
                        </a:moveTo>
                        <a:lnTo>
                          <a:pt x="18" y="22"/>
                        </a:lnTo>
                        <a:lnTo>
                          <a:pt x="8" y="12"/>
                        </a:lnTo>
                        <a:lnTo>
                          <a:pt x="0" y="1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7" name="vMap : Philippines">
                    <a:extLst>
                      <a:ext uri="{FF2B5EF4-FFF2-40B4-BE49-F238E27FC236}">
                        <a16:creationId xmlns:a16="http://schemas.microsoft.com/office/drawing/2014/main" xmlns="" id="{32F5078B-CF8D-EB42-9938-667F7A8B1B81}"/>
                      </a:ext>
                    </a:extLst>
                  </p:cNvPr>
                  <p:cNvSpPr>
                    <a:spLocks noChangeAspect="1"/>
                  </p:cNvSpPr>
                  <p:nvPr>
                    <p:custDataLst>
                      <p:tags r:id="rId302"/>
                    </p:custDataLst>
                  </p:nvPr>
                </p:nvSpPr>
                <p:spPr bwMode="gray">
                  <a:xfrm>
                    <a:off x="9825756" y="3338591"/>
                    <a:ext cx="49830" cy="53482"/>
                  </a:xfrm>
                  <a:custGeom>
                    <a:avLst/>
                    <a:gdLst>
                      <a:gd name="T0" fmla="*/ 0 w 32"/>
                      <a:gd name="T1" fmla="*/ 0 h 36"/>
                      <a:gd name="T2" fmla="*/ 11 w 32"/>
                      <a:gd name="T3" fmla="*/ 3 h 36"/>
                      <a:gd name="T4" fmla="*/ 13 w 32"/>
                      <a:gd name="T5" fmla="*/ 11 h 36"/>
                      <a:gd name="T6" fmla="*/ 9 w 32"/>
                      <a:gd name="T7" fmla="*/ 12 h 36"/>
                      <a:gd name="T8" fmla="*/ 0 w 32"/>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36">
                        <a:moveTo>
                          <a:pt x="0" y="0"/>
                        </a:moveTo>
                        <a:lnTo>
                          <a:pt x="28" y="8"/>
                        </a:lnTo>
                        <a:lnTo>
                          <a:pt x="32" y="32"/>
                        </a:lnTo>
                        <a:lnTo>
                          <a:pt x="24" y="3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808" name="vMap : Philippines">
                    <a:extLst>
                      <a:ext uri="{FF2B5EF4-FFF2-40B4-BE49-F238E27FC236}">
                        <a16:creationId xmlns:a16="http://schemas.microsoft.com/office/drawing/2014/main" xmlns="" id="{87416C07-25A7-4B40-ADA9-E18D171AB0AC}"/>
                      </a:ext>
                    </a:extLst>
                  </p:cNvPr>
                  <p:cNvSpPr>
                    <a:spLocks noChangeAspect="1"/>
                  </p:cNvSpPr>
                  <p:nvPr>
                    <p:custDataLst>
                      <p:tags r:id="rId303"/>
                    </p:custDataLst>
                  </p:nvPr>
                </p:nvSpPr>
                <p:spPr bwMode="gray">
                  <a:xfrm>
                    <a:off x="9952823" y="3435369"/>
                    <a:ext cx="14949" cy="73856"/>
                  </a:xfrm>
                  <a:custGeom>
                    <a:avLst/>
                    <a:gdLst>
                      <a:gd name="T0" fmla="*/ 2 w 12"/>
                      <a:gd name="T1" fmla="*/ 0 h 50"/>
                      <a:gd name="T2" fmla="*/ 3 w 12"/>
                      <a:gd name="T3" fmla="*/ 8 h 50"/>
                      <a:gd name="T4" fmla="*/ 0 w 12"/>
                      <a:gd name="T5" fmla="*/ 17 h 50"/>
                      <a:gd name="T6" fmla="*/ 2 w 12"/>
                      <a:gd name="T7" fmla="*/ 0 h 5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50">
                        <a:moveTo>
                          <a:pt x="8" y="0"/>
                        </a:moveTo>
                        <a:lnTo>
                          <a:pt x="12" y="24"/>
                        </a:lnTo>
                        <a:lnTo>
                          <a:pt x="0" y="5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656" name="vMap : South Korea">
                  <a:extLst>
                    <a:ext uri="{FF2B5EF4-FFF2-40B4-BE49-F238E27FC236}">
                      <a16:creationId xmlns:a16="http://schemas.microsoft.com/office/drawing/2014/main" xmlns="" id="{4F574965-431C-4A4B-90EB-5ED9CF92C3AD}"/>
                    </a:ext>
                  </a:extLst>
                </p:cNvPr>
                <p:cNvSpPr>
                  <a:spLocks noChangeAspect="1"/>
                </p:cNvSpPr>
                <p:nvPr>
                  <p:custDataLst>
                    <p:tags r:id="rId162"/>
                  </p:custDataLst>
                </p:nvPr>
              </p:nvSpPr>
              <p:spPr bwMode="gray">
                <a:xfrm>
                  <a:off x="6779945" y="3219029"/>
                  <a:ext cx="79106" cy="110405"/>
                </a:xfrm>
                <a:custGeom>
                  <a:avLst/>
                  <a:gdLst>
                    <a:gd name="T0" fmla="*/ 11 w 88"/>
                    <a:gd name="T1" fmla="*/ 0 h 115"/>
                    <a:gd name="T2" fmla="*/ 21 w 88"/>
                    <a:gd name="T3" fmla="*/ 12 h 115"/>
                    <a:gd name="T4" fmla="*/ 31 w 88"/>
                    <a:gd name="T5" fmla="*/ 26 h 115"/>
                    <a:gd name="T6" fmla="*/ 31 w 88"/>
                    <a:gd name="T7" fmla="*/ 33 h 115"/>
                    <a:gd name="T8" fmla="*/ 25 w 88"/>
                    <a:gd name="T9" fmla="*/ 40 h 115"/>
                    <a:gd name="T10" fmla="*/ 21 w 88"/>
                    <a:gd name="T11" fmla="*/ 36 h 115"/>
                    <a:gd name="T12" fmla="*/ 18 w 88"/>
                    <a:gd name="T13" fmla="*/ 43 h 115"/>
                    <a:gd name="T14" fmla="*/ 9 w 88"/>
                    <a:gd name="T15" fmla="*/ 44 h 115"/>
                    <a:gd name="T16" fmla="*/ 8 w 88"/>
                    <a:gd name="T17" fmla="*/ 27 h 115"/>
                    <a:gd name="T18" fmla="*/ 0 w 88"/>
                    <a:gd name="T19" fmla="*/ 19 h 115"/>
                    <a:gd name="T20" fmla="*/ 5 w 88"/>
                    <a:gd name="T21" fmla="*/ 17 h 115"/>
                    <a:gd name="T22" fmla="*/ 0 w 88"/>
                    <a:gd name="T23" fmla="*/ 9 h 115"/>
                    <a:gd name="T24" fmla="*/ 11 w 88"/>
                    <a:gd name="T25" fmla="*/ 0 h 1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8" h="115">
                      <a:moveTo>
                        <a:pt x="30" y="0"/>
                      </a:moveTo>
                      <a:lnTo>
                        <a:pt x="60" y="30"/>
                      </a:lnTo>
                      <a:lnTo>
                        <a:pt x="88" y="68"/>
                      </a:lnTo>
                      <a:lnTo>
                        <a:pt x="88" y="88"/>
                      </a:lnTo>
                      <a:lnTo>
                        <a:pt x="72" y="103"/>
                      </a:lnTo>
                      <a:lnTo>
                        <a:pt x="60" y="95"/>
                      </a:lnTo>
                      <a:lnTo>
                        <a:pt x="50" y="111"/>
                      </a:lnTo>
                      <a:lnTo>
                        <a:pt x="26" y="115"/>
                      </a:lnTo>
                      <a:lnTo>
                        <a:pt x="22" y="72"/>
                      </a:lnTo>
                      <a:lnTo>
                        <a:pt x="0" y="50"/>
                      </a:lnTo>
                      <a:lnTo>
                        <a:pt x="14" y="46"/>
                      </a:lnTo>
                      <a:lnTo>
                        <a:pt x="0" y="22"/>
                      </a:lnTo>
                      <a:lnTo>
                        <a:pt x="30"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57" name="vMap : North Korea">
                  <a:extLst>
                    <a:ext uri="{FF2B5EF4-FFF2-40B4-BE49-F238E27FC236}">
                      <a16:creationId xmlns:a16="http://schemas.microsoft.com/office/drawing/2014/main" xmlns="" id="{029F48EC-91DF-AD48-8564-96E6B4A8BB7C}"/>
                    </a:ext>
                  </a:extLst>
                </p:cNvPr>
                <p:cNvSpPr>
                  <a:spLocks noChangeAspect="1"/>
                </p:cNvSpPr>
                <p:nvPr>
                  <p:custDataLst>
                    <p:tags r:id="rId163"/>
                  </p:custDataLst>
                </p:nvPr>
              </p:nvSpPr>
              <p:spPr bwMode="gray">
                <a:xfrm>
                  <a:off x="6706924" y="3103959"/>
                  <a:ext cx="100405" cy="135285"/>
                </a:xfrm>
                <a:custGeom>
                  <a:avLst/>
                  <a:gdLst>
                    <a:gd name="T0" fmla="*/ 38 w 107"/>
                    <a:gd name="T1" fmla="*/ 3 h 142"/>
                    <a:gd name="T2" fmla="*/ 41 w 107"/>
                    <a:gd name="T3" fmla="*/ 4 h 142"/>
                    <a:gd name="T4" fmla="*/ 36 w 107"/>
                    <a:gd name="T5" fmla="*/ 13 h 142"/>
                    <a:gd name="T6" fmla="*/ 41 w 107"/>
                    <a:gd name="T7" fmla="*/ 20 h 142"/>
                    <a:gd name="T8" fmla="*/ 27 w 107"/>
                    <a:gd name="T9" fmla="*/ 32 h 142"/>
                    <a:gd name="T10" fmla="*/ 29 w 107"/>
                    <a:gd name="T11" fmla="*/ 37 h 142"/>
                    <a:gd name="T12" fmla="*/ 41 w 107"/>
                    <a:gd name="T13" fmla="*/ 45 h 142"/>
                    <a:gd name="T14" fmla="*/ 29 w 107"/>
                    <a:gd name="T15" fmla="*/ 53 h 142"/>
                    <a:gd name="T16" fmla="*/ 19 w 107"/>
                    <a:gd name="T17" fmla="*/ 51 h 142"/>
                    <a:gd name="T18" fmla="*/ 17 w 107"/>
                    <a:gd name="T19" fmla="*/ 53 h 142"/>
                    <a:gd name="T20" fmla="*/ 15 w 107"/>
                    <a:gd name="T21" fmla="*/ 50 h 142"/>
                    <a:gd name="T22" fmla="*/ 12 w 107"/>
                    <a:gd name="T23" fmla="*/ 51 h 142"/>
                    <a:gd name="T24" fmla="*/ 14 w 107"/>
                    <a:gd name="T25" fmla="*/ 44 h 142"/>
                    <a:gd name="T26" fmla="*/ 12 w 107"/>
                    <a:gd name="T27" fmla="*/ 36 h 142"/>
                    <a:gd name="T28" fmla="*/ 4 w 107"/>
                    <a:gd name="T29" fmla="*/ 36 h 142"/>
                    <a:gd name="T30" fmla="*/ 0 w 107"/>
                    <a:gd name="T31" fmla="*/ 31 h 142"/>
                    <a:gd name="T32" fmla="*/ 12 w 107"/>
                    <a:gd name="T33" fmla="*/ 15 h 142"/>
                    <a:gd name="T34" fmla="*/ 25 w 107"/>
                    <a:gd name="T35" fmla="*/ 15 h 142"/>
                    <a:gd name="T36" fmla="*/ 22 w 107"/>
                    <a:gd name="T37" fmla="*/ 10 h 142"/>
                    <a:gd name="T38" fmla="*/ 28 w 107"/>
                    <a:gd name="T39" fmla="*/ 9 h 142"/>
                    <a:gd name="T40" fmla="*/ 31 w 107"/>
                    <a:gd name="T41" fmla="*/ 0 h 142"/>
                    <a:gd name="T42" fmla="*/ 38 w 107"/>
                    <a:gd name="T43" fmla="*/ 3 h 1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07" h="142">
                      <a:moveTo>
                        <a:pt x="99" y="8"/>
                      </a:moveTo>
                      <a:lnTo>
                        <a:pt x="107" y="12"/>
                      </a:lnTo>
                      <a:lnTo>
                        <a:pt x="95" y="36"/>
                      </a:lnTo>
                      <a:lnTo>
                        <a:pt x="107" y="54"/>
                      </a:lnTo>
                      <a:lnTo>
                        <a:pt x="69" y="86"/>
                      </a:lnTo>
                      <a:lnTo>
                        <a:pt x="77" y="100"/>
                      </a:lnTo>
                      <a:lnTo>
                        <a:pt x="107" y="120"/>
                      </a:lnTo>
                      <a:lnTo>
                        <a:pt x="77" y="142"/>
                      </a:lnTo>
                      <a:lnTo>
                        <a:pt x="49" y="136"/>
                      </a:lnTo>
                      <a:lnTo>
                        <a:pt x="45" y="142"/>
                      </a:lnTo>
                      <a:lnTo>
                        <a:pt x="41" y="132"/>
                      </a:lnTo>
                      <a:lnTo>
                        <a:pt x="31" y="136"/>
                      </a:lnTo>
                      <a:lnTo>
                        <a:pt x="37" y="116"/>
                      </a:lnTo>
                      <a:lnTo>
                        <a:pt x="31" y="94"/>
                      </a:lnTo>
                      <a:lnTo>
                        <a:pt x="12" y="94"/>
                      </a:lnTo>
                      <a:lnTo>
                        <a:pt x="0" y="82"/>
                      </a:lnTo>
                      <a:lnTo>
                        <a:pt x="33" y="40"/>
                      </a:lnTo>
                      <a:lnTo>
                        <a:pt x="65" y="40"/>
                      </a:lnTo>
                      <a:lnTo>
                        <a:pt x="57" y="28"/>
                      </a:lnTo>
                      <a:lnTo>
                        <a:pt x="73" y="24"/>
                      </a:lnTo>
                      <a:lnTo>
                        <a:pt x="83" y="0"/>
                      </a:lnTo>
                      <a:lnTo>
                        <a:pt x="99" y="8"/>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58" name="vMap : Japan">
                  <a:extLst>
                    <a:ext uri="{FF2B5EF4-FFF2-40B4-BE49-F238E27FC236}">
                      <a16:creationId xmlns:a16="http://schemas.microsoft.com/office/drawing/2014/main" xmlns="" id="{88B6A2E4-7FE6-8E44-A7F5-298DE5C658A1}"/>
                    </a:ext>
                  </a:extLst>
                </p:cNvPr>
                <p:cNvGrpSpPr/>
                <p:nvPr/>
              </p:nvGrpSpPr>
              <p:grpSpPr>
                <a:xfrm>
                  <a:off x="6887956" y="3037094"/>
                  <a:ext cx="244926" cy="505375"/>
                  <a:chOff x="9982720" y="1965870"/>
                  <a:chExt cx="401129" cy="827707"/>
                </a:xfrm>
                <a:solidFill>
                  <a:srgbClr val="E6E6E6"/>
                </a:solidFill>
              </p:grpSpPr>
              <p:sp>
                <p:nvSpPr>
                  <p:cNvPr id="791" name="vMap : Japan (Offshore)">
                    <a:extLst>
                      <a:ext uri="{FF2B5EF4-FFF2-40B4-BE49-F238E27FC236}">
                        <a16:creationId xmlns:a16="http://schemas.microsoft.com/office/drawing/2014/main" xmlns="" id="{EE060CAE-DBC0-1843-85D1-8403D6E6C2F8}"/>
                      </a:ext>
                    </a:extLst>
                  </p:cNvPr>
                  <p:cNvSpPr>
                    <a:spLocks noChangeAspect="1"/>
                  </p:cNvSpPr>
                  <p:nvPr>
                    <p:custDataLst>
                      <p:tags r:id="rId286"/>
                    </p:custDataLst>
                  </p:nvPr>
                </p:nvSpPr>
                <p:spPr bwMode="gray">
                  <a:xfrm>
                    <a:off x="10007635" y="2763015"/>
                    <a:ext cx="12458" cy="30562"/>
                  </a:xfrm>
                  <a:custGeom>
                    <a:avLst/>
                    <a:gdLst>
                      <a:gd name="T0" fmla="*/ 0 w 8"/>
                      <a:gd name="T1" fmla="*/ 4 h 20"/>
                      <a:gd name="T2" fmla="*/ 3 w 8"/>
                      <a:gd name="T3" fmla="*/ 0 h 20"/>
                      <a:gd name="T4" fmla="*/ 0 w 8"/>
                      <a:gd name="T5" fmla="*/ 7 h 20"/>
                      <a:gd name="T6" fmla="*/ 0 w 8"/>
                      <a:gd name="T7" fmla="*/ 4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0">
                        <a:moveTo>
                          <a:pt x="0" y="12"/>
                        </a:moveTo>
                        <a:lnTo>
                          <a:pt x="8" y="0"/>
                        </a:lnTo>
                        <a:lnTo>
                          <a:pt x="0" y="20"/>
                        </a:lnTo>
                        <a:lnTo>
                          <a:pt x="0"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2" name="vMap : Japan (Offshore)">
                    <a:extLst>
                      <a:ext uri="{FF2B5EF4-FFF2-40B4-BE49-F238E27FC236}">
                        <a16:creationId xmlns:a16="http://schemas.microsoft.com/office/drawing/2014/main" xmlns="" id="{F9D52797-717B-E348-89E9-AEBA4A200972}"/>
                      </a:ext>
                    </a:extLst>
                  </p:cNvPr>
                  <p:cNvSpPr>
                    <a:spLocks noChangeAspect="1"/>
                  </p:cNvSpPr>
                  <p:nvPr>
                    <p:custDataLst>
                      <p:tags r:id="rId287"/>
                    </p:custDataLst>
                  </p:nvPr>
                </p:nvSpPr>
                <p:spPr bwMode="gray">
                  <a:xfrm>
                    <a:off x="9982720" y="2465041"/>
                    <a:ext cx="87203" cy="122245"/>
                  </a:xfrm>
                  <a:custGeom>
                    <a:avLst/>
                    <a:gdLst>
                      <a:gd name="T0" fmla="*/ 18 w 58"/>
                      <a:gd name="T1" fmla="*/ 30 h 78"/>
                      <a:gd name="T2" fmla="*/ 21 w 58"/>
                      <a:gd name="T3" fmla="*/ 26 h 78"/>
                      <a:gd name="T4" fmla="*/ 21 w 58"/>
                      <a:gd name="T5" fmla="*/ 10 h 78"/>
                      <a:gd name="T6" fmla="*/ 15 w 58"/>
                      <a:gd name="T7" fmla="*/ 1 h 78"/>
                      <a:gd name="T8" fmla="*/ 8 w 58"/>
                      <a:gd name="T9" fmla="*/ 0 h 78"/>
                      <a:gd name="T10" fmla="*/ 0 w 58"/>
                      <a:gd name="T11" fmla="*/ 7 h 78"/>
                      <a:gd name="T12" fmla="*/ 4 w 58"/>
                      <a:gd name="T13" fmla="*/ 13 h 78"/>
                      <a:gd name="T14" fmla="*/ 8 w 58"/>
                      <a:gd name="T15" fmla="*/ 12 h 78"/>
                      <a:gd name="T16" fmla="*/ 7 w 58"/>
                      <a:gd name="T17" fmla="*/ 7 h 78"/>
                      <a:gd name="T18" fmla="*/ 10 w 58"/>
                      <a:gd name="T19" fmla="*/ 12 h 78"/>
                      <a:gd name="T20" fmla="*/ 13 w 58"/>
                      <a:gd name="T21" fmla="*/ 26 h 78"/>
                      <a:gd name="T22" fmla="*/ 17 w 58"/>
                      <a:gd name="T23" fmla="*/ 28 h 78"/>
                      <a:gd name="T24" fmla="*/ 18 w 58"/>
                      <a:gd name="T25" fmla="*/ 30 h 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78">
                        <a:moveTo>
                          <a:pt x="50" y="78"/>
                        </a:moveTo>
                        <a:lnTo>
                          <a:pt x="58" y="70"/>
                        </a:lnTo>
                        <a:lnTo>
                          <a:pt x="58" y="28"/>
                        </a:lnTo>
                        <a:lnTo>
                          <a:pt x="42" y="4"/>
                        </a:lnTo>
                        <a:lnTo>
                          <a:pt x="24" y="0"/>
                        </a:lnTo>
                        <a:lnTo>
                          <a:pt x="0" y="20"/>
                        </a:lnTo>
                        <a:lnTo>
                          <a:pt x="12" y="34"/>
                        </a:lnTo>
                        <a:lnTo>
                          <a:pt x="24" y="32"/>
                        </a:lnTo>
                        <a:lnTo>
                          <a:pt x="20" y="20"/>
                        </a:lnTo>
                        <a:lnTo>
                          <a:pt x="26" y="32"/>
                        </a:lnTo>
                        <a:lnTo>
                          <a:pt x="34" y="70"/>
                        </a:lnTo>
                        <a:lnTo>
                          <a:pt x="46" y="74"/>
                        </a:lnTo>
                        <a:lnTo>
                          <a:pt x="50" y="78"/>
                        </a:lnTo>
                      </a:path>
                    </a:pathLst>
                  </a:custGeom>
                  <a:solidFill>
                    <a:srgbClr val="5783D0"/>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3" name="vMap : Japan (Offshore)">
                    <a:extLst>
                      <a:ext uri="{FF2B5EF4-FFF2-40B4-BE49-F238E27FC236}">
                        <a16:creationId xmlns:a16="http://schemas.microsoft.com/office/drawing/2014/main" xmlns="" id="{CAF1319D-B49F-3D43-8F4F-689FC24673BE}"/>
                      </a:ext>
                    </a:extLst>
                  </p:cNvPr>
                  <p:cNvSpPr>
                    <a:spLocks noChangeAspect="1"/>
                  </p:cNvSpPr>
                  <p:nvPr>
                    <p:custDataLst>
                      <p:tags r:id="rId288"/>
                    </p:custDataLst>
                  </p:nvPr>
                </p:nvSpPr>
                <p:spPr bwMode="gray">
                  <a:xfrm>
                    <a:off x="10069922" y="2444667"/>
                    <a:ext cx="89694" cy="68763"/>
                  </a:xfrm>
                  <a:custGeom>
                    <a:avLst/>
                    <a:gdLst>
                      <a:gd name="T0" fmla="*/ 20 w 57"/>
                      <a:gd name="T1" fmla="*/ 11 h 46"/>
                      <a:gd name="T2" fmla="*/ 11 w 57"/>
                      <a:gd name="T3" fmla="*/ 9 h 46"/>
                      <a:gd name="T4" fmla="*/ 8 w 57"/>
                      <a:gd name="T5" fmla="*/ 16 h 46"/>
                      <a:gd name="T6" fmla="*/ 0 w 57"/>
                      <a:gd name="T7" fmla="*/ 9 h 46"/>
                      <a:gd name="T8" fmla="*/ 3 w 57"/>
                      <a:gd name="T9" fmla="*/ 4 h 46"/>
                      <a:gd name="T10" fmla="*/ 13 w 57"/>
                      <a:gd name="T11" fmla="*/ 0 h 46"/>
                      <a:gd name="T12" fmla="*/ 23 w 57"/>
                      <a:gd name="T13" fmla="*/ 5 h 46"/>
                      <a:gd name="T14" fmla="*/ 20 w 57"/>
                      <a:gd name="T15" fmla="*/ 11 h 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7" h="46">
                        <a:moveTo>
                          <a:pt x="49" y="30"/>
                        </a:moveTo>
                        <a:lnTo>
                          <a:pt x="29" y="26"/>
                        </a:lnTo>
                        <a:lnTo>
                          <a:pt x="21" y="46"/>
                        </a:lnTo>
                        <a:lnTo>
                          <a:pt x="0" y="26"/>
                        </a:lnTo>
                        <a:lnTo>
                          <a:pt x="8" y="10"/>
                        </a:lnTo>
                        <a:lnTo>
                          <a:pt x="33" y="0"/>
                        </a:lnTo>
                        <a:lnTo>
                          <a:pt x="57" y="14"/>
                        </a:lnTo>
                        <a:lnTo>
                          <a:pt x="49" y="30"/>
                        </a:lnTo>
                      </a:path>
                    </a:pathLst>
                  </a:custGeom>
                  <a:solidFill>
                    <a:srgbClr val="5783D0"/>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4" name="vMap : Japan (Offshore)">
                    <a:extLst>
                      <a:ext uri="{FF2B5EF4-FFF2-40B4-BE49-F238E27FC236}">
                        <a16:creationId xmlns:a16="http://schemas.microsoft.com/office/drawing/2014/main" xmlns="" id="{4B6E1814-7527-F745-9A60-AF5DC793EEE0}"/>
                      </a:ext>
                    </a:extLst>
                  </p:cNvPr>
                  <p:cNvSpPr>
                    <a:spLocks noChangeAspect="1"/>
                  </p:cNvSpPr>
                  <p:nvPr>
                    <p:custDataLst>
                      <p:tags r:id="rId289"/>
                    </p:custDataLst>
                  </p:nvPr>
                </p:nvSpPr>
                <p:spPr bwMode="gray">
                  <a:xfrm>
                    <a:off x="10144666" y="1965870"/>
                    <a:ext cx="189353" cy="173182"/>
                  </a:xfrm>
                  <a:custGeom>
                    <a:avLst/>
                    <a:gdLst>
                      <a:gd name="T0" fmla="*/ 36 w 122"/>
                      <a:gd name="T1" fmla="*/ 13 h 107"/>
                      <a:gd name="T2" fmla="*/ 39 w 122"/>
                      <a:gd name="T3" fmla="*/ 11 h 107"/>
                      <a:gd name="T4" fmla="*/ 39 w 122"/>
                      <a:gd name="T5" fmla="*/ 17 h 107"/>
                      <a:gd name="T6" fmla="*/ 47 w 122"/>
                      <a:gd name="T7" fmla="*/ 23 h 107"/>
                      <a:gd name="T8" fmla="*/ 36 w 122"/>
                      <a:gd name="T9" fmla="*/ 27 h 107"/>
                      <a:gd name="T10" fmla="*/ 36 w 122"/>
                      <a:gd name="T11" fmla="*/ 38 h 107"/>
                      <a:gd name="T12" fmla="*/ 19 w 122"/>
                      <a:gd name="T13" fmla="*/ 32 h 107"/>
                      <a:gd name="T14" fmla="*/ 7 w 122"/>
                      <a:gd name="T15" fmla="*/ 32 h 107"/>
                      <a:gd name="T16" fmla="*/ 9 w 122"/>
                      <a:gd name="T17" fmla="*/ 35 h 107"/>
                      <a:gd name="T18" fmla="*/ 18 w 122"/>
                      <a:gd name="T19" fmla="*/ 40 h 107"/>
                      <a:gd name="T20" fmla="*/ 10 w 122"/>
                      <a:gd name="T21" fmla="*/ 43 h 107"/>
                      <a:gd name="T22" fmla="*/ 3 w 122"/>
                      <a:gd name="T23" fmla="*/ 32 h 107"/>
                      <a:gd name="T24" fmla="*/ 4 w 122"/>
                      <a:gd name="T25" fmla="*/ 27 h 107"/>
                      <a:gd name="T26" fmla="*/ 3 w 122"/>
                      <a:gd name="T27" fmla="*/ 23 h 107"/>
                      <a:gd name="T28" fmla="*/ 10 w 122"/>
                      <a:gd name="T29" fmla="*/ 22 h 107"/>
                      <a:gd name="T30" fmla="*/ 0 w 122"/>
                      <a:gd name="T31" fmla="*/ 0 h 107"/>
                      <a:gd name="T32" fmla="*/ 21 w 122"/>
                      <a:gd name="T33" fmla="*/ 11 h 107"/>
                      <a:gd name="T34" fmla="*/ 36 w 122"/>
                      <a:gd name="T35" fmla="*/ 13 h 10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2" h="107">
                        <a:moveTo>
                          <a:pt x="92" y="33"/>
                        </a:moveTo>
                        <a:lnTo>
                          <a:pt x="100" y="29"/>
                        </a:lnTo>
                        <a:lnTo>
                          <a:pt x="100" y="41"/>
                        </a:lnTo>
                        <a:lnTo>
                          <a:pt x="122" y="57"/>
                        </a:lnTo>
                        <a:lnTo>
                          <a:pt x="92" y="67"/>
                        </a:lnTo>
                        <a:lnTo>
                          <a:pt x="92" y="95"/>
                        </a:lnTo>
                        <a:lnTo>
                          <a:pt x="50" y="79"/>
                        </a:lnTo>
                        <a:lnTo>
                          <a:pt x="18" y="79"/>
                        </a:lnTo>
                        <a:lnTo>
                          <a:pt x="22" y="87"/>
                        </a:lnTo>
                        <a:lnTo>
                          <a:pt x="46" y="99"/>
                        </a:lnTo>
                        <a:lnTo>
                          <a:pt x="26" y="107"/>
                        </a:lnTo>
                        <a:lnTo>
                          <a:pt x="8" y="79"/>
                        </a:lnTo>
                        <a:lnTo>
                          <a:pt x="12" y="67"/>
                        </a:lnTo>
                        <a:lnTo>
                          <a:pt x="8" y="57"/>
                        </a:lnTo>
                        <a:lnTo>
                          <a:pt x="26" y="53"/>
                        </a:lnTo>
                        <a:lnTo>
                          <a:pt x="0" y="0"/>
                        </a:lnTo>
                        <a:lnTo>
                          <a:pt x="54" y="29"/>
                        </a:lnTo>
                        <a:lnTo>
                          <a:pt x="92" y="33"/>
                        </a:lnTo>
                      </a:path>
                    </a:pathLst>
                  </a:custGeom>
                  <a:solidFill>
                    <a:srgbClr val="5783D0"/>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5" name="vMap : Japan (Offshore)">
                    <a:extLst>
                      <a:ext uri="{FF2B5EF4-FFF2-40B4-BE49-F238E27FC236}">
                        <a16:creationId xmlns:a16="http://schemas.microsoft.com/office/drawing/2014/main" xmlns="" id="{73421CA8-A368-2749-A69B-AC721578A9BD}"/>
                      </a:ext>
                    </a:extLst>
                  </p:cNvPr>
                  <p:cNvSpPr>
                    <a:spLocks noChangeAspect="1"/>
                  </p:cNvSpPr>
                  <p:nvPr>
                    <p:custDataLst>
                      <p:tags r:id="rId290"/>
                    </p:custDataLst>
                  </p:nvPr>
                </p:nvSpPr>
                <p:spPr bwMode="gray">
                  <a:xfrm>
                    <a:off x="10343985" y="1965870"/>
                    <a:ext cx="39864" cy="43296"/>
                  </a:xfrm>
                  <a:custGeom>
                    <a:avLst/>
                    <a:gdLst>
                      <a:gd name="T0" fmla="*/ 11 w 24"/>
                      <a:gd name="T1" fmla="*/ 0 h 25"/>
                      <a:gd name="T2" fmla="*/ 0 w 24"/>
                      <a:gd name="T3" fmla="*/ 12 h 25"/>
                      <a:gd name="T4" fmla="*/ 2 w 24"/>
                      <a:gd name="T5" fmla="*/ 1 h 25"/>
                      <a:gd name="T6" fmla="*/ 11 w 24"/>
                      <a:gd name="T7" fmla="*/ 0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25">
                        <a:moveTo>
                          <a:pt x="24" y="0"/>
                        </a:moveTo>
                        <a:lnTo>
                          <a:pt x="0" y="25"/>
                        </a:lnTo>
                        <a:lnTo>
                          <a:pt x="4" y="3"/>
                        </a:lnTo>
                        <a:lnTo>
                          <a:pt x="2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6" name="vMap : Japan (Offshore)">
                    <a:extLst>
                      <a:ext uri="{FF2B5EF4-FFF2-40B4-BE49-F238E27FC236}">
                        <a16:creationId xmlns:a16="http://schemas.microsoft.com/office/drawing/2014/main" xmlns="" id="{F9FA92B6-C2A0-034E-B5B9-8261F09F7203}"/>
                      </a:ext>
                    </a:extLst>
                  </p:cNvPr>
                  <p:cNvSpPr>
                    <a:spLocks noChangeAspect="1"/>
                  </p:cNvSpPr>
                  <p:nvPr>
                    <p:custDataLst>
                      <p:tags r:id="rId291"/>
                    </p:custDataLst>
                  </p:nvPr>
                </p:nvSpPr>
                <p:spPr bwMode="gray">
                  <a:xfrm>
                    <a:off x="10316580" y="2009166"/>
                    <a:ext cx="9966" cy="30562"/>
                  </a:xfrm>
                  <a:custGeom>
                    <a:avLst/>
                    <a:gdLst>
                      <a:gd name="T0" fmla="*/ 0 w 8"/>
                      <a:gd name="T1" fmla="*/ 0 h 20"/>
                      <a:gd name="T2" fmla="*/ 2 w 8"/>
                      <a:gd name="T3" fmla="*/ 1 h 20"/>
                      <a:gd name="T4" fmla="*/ 0 w 8"/>
                      <a:gd name="T5" fmla="*/ 7 h 20"/>
                      <a:gd name="T6" fmla="*/ 0 w 8"/>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0">
                        <a:moveTo>
                          <a:pt x="0" y="0"/>
                        </a:moveTo>
                        <a:lnTo>
                          <a:pt x="8" y="4"/>
                        </a:lnTo>
                        <a:lnTo>
                          <a:pt x="0" y="20"/>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7" name="vMap : Japan (Mainland)">
                    <a:extLst>
                      <a:ext uri="{FF2B5EF4-FFF2-40B4-BE49-F238E27FC236}">
                        <a16:creationId xmlns:a16="http://schemas.microsoft.com/office/drawing/2014/main" xmlns="" id="{82BD5E6A-8380-CD47-AA57-378074ADFF28}"/>
                      </a:ext>
                    </a:extLst>
                  </p:cNvPr>
                  <p:cNvSpPr>
                    <a:spLocks noChangeAspect="1"/>
                  </p:cNvSpPr>
                  <p:nvPr>
                    <p:custDataLst>
                      <p:tags r:id="rId292"/>
                    </p:custDataLst>
                  </p:nvPr>
                </p:nvSpPr>
                <p:spPr bwMode="gray">
                  <a:xfrm>
                    <a:off x="10012618" y="2139053"/>
                    <a:ext cx="328876" cy="343816"/>
                  </a:xfrm>
                  <a:custGeom>
                    <a:avLst/>
                    <a:gdLst>
                      <a:gd name="T0" fmla="*/ 54 w 213"/>
                      <a:gd name="T1" fmla="*/ 0 h 221"/>
                      <a:gd name="T2" fmla="*/ 56 w 213"/>
                      <a:gd name="T3" fmla="*/ 0 h 221"/>
                      <a:gd name="T4" fmla="*/ 73 w 213"/>
                      <a:gd name="T5" fmla="*/ 20 h 221"/>
                      <a:gd name="T6" fmla="*/ 75 w 213"/>
                      <a:gd name="T7" fmla="*/ 33 h 221"/>
                      <a:gd name="T8" fmla="*/ 70 w 213"/>
                      <a:gd name="T9" fmla="*/ 33 h 221"/>
                      <a:gd name="T10" fmla="*/ 82 w 213"/>
                      <a:gd name="T11" fmla="*/ 58 h 221"/>
                      <a:gd name="T12" fmla="*/ 81 w 213"/>
                      <a:gd name="T13" fmla="*/ 64 h 221"/>
                      <a:gd name="T14" fmla="*/ 76 w 213"/>
                      <a:gd name="T15" fmla="*/ 68 h 221"/>
                      <a:gd name="T16" fmla="*/ 76 w 213"/>
                      <a:gd name="T17" fmla="*/ 60 h 221"/>
                      <a:gd name="T18" fmla="*/ 73 w 213"/>
                      <a:gd name="T19" fmla="*/ 60 h 221"/>
                      <a:gd name="T20" fmla="*/ 70 w 213"/>
                      <a:gd name="T21" fmla="*/ 70 h 221"/>
                      <a:gd name="T22" fmla="*/ 66 w 213"/>
                      <a:gd name="T23" fmla="*/ 65 h 221"/>
                      <a:gd name="T24" fmla="*/ 64 w 213"/>
                      <a:gd name="T25" fmla="*/ 71 h 221"/>
                      <a:gd name="T26" fmla="*/ 54 w 213"/>
                      <a:gd name="T27" fmla="*/ 71 h 221"/>
                      <a:gd name="T28" fmla="*/ 54 w 213"/>
                      <a:gd name="T29" fmla="*/ 68 h 221"/>
                      <a:gd name="T30" fmla="*/ 50 w 213"/>
                      <a:gd name="T31" fmla="*/ 65 h 221"/>
                      <a:gd name="T32" fmla="*/ 48 w 213"/>
                      <a:gd name="T33" fmla="*/ 70 h 221"/>
                      <a:gd name="T34" fmla="*/ 54 w 213"/>
                      <a:gd name="T35" fmla="*/ 73 h 221"/>
                      <a:gd name="T36" fmla="*/ 50 w 213"/>
                      <a:gd name="T37" fmla="*/ 75 h 221"/>
                      <a:gd name="T38" fmla="*/ 46 w 213"/>
                      <a:gd name="T39" fmla="*/ 82 h 221"/>
                      <a:gd name="T40" fmla="*/ 39 w 213"/>
                      <a:gd name="T41" fmla="*/ 76 h 221"/>
                      <a:gd name="T42" fmla="*/ 38 w 213"/>
                      <a:gd name="T43" fmla="*/ 70 h 221"/>
                      <a:gd name="T44" fmla="*/ 15 w 213"/>
                      <a:gd name="T45" fmla="*/ 73 h 221"/>
                      <a:gd name="T46" fmla="*/ 12 w 213"/>
                      <a:gd name="T47" fmla="*/ 78 h 221"/>
                      <a:gd name="T48" fmla="*/ 1 w 213"/>
                      <a:gd name="T49" fmla="*/ 76 h 221"/>
                      <a:gd name="T50" fmla="*/ 0 w 213"/>
                      <a:gd name="T51" fmla="*/ 73 h 221"/>
                      <a:gd name="T52" fmla="*/ 12 w 213"/>
                      <a:gd name="T53" fmla="*/ 61 h 221"/>
                      <a:gd name="T54" fmla="*/ 38 w 213"/>
                      <a:gd name="T55" fmla="*/ 61 h 221"/>
                      <a:gd name="T56" fmla="*/ 39 w 213"/>
                      <a:gd name="T57" fmla="*/ 40 h 221"/>
                      <a:gd name="T58" fmla="*/ 43 w 213"/>
                      <a:gd name="T59" fmla="*/ 48 h 221"/>
                      <a:gd name="T60" fmla="*/ 53 w 213"/>
                      <a:gd name="T61" fmla="*/ 43 h 221"/>
                      <a:gd name="T62" fmla="*/ 56 w 213"/>
                      <a:gd name="T63" fmla="*/ 27 h 221"/>
                      <a:gd name="T64" fmla="*/ 48 w 213"/>
                      <a:gd name="T65" fmla="*/ 8 h 221"/>
                      <a:gd name="T66" fmla="*/ 50 w 213"/>
                      <a:gd name="T67" fmla="*/ 2 h 221"/>
                      <a:gd name="T68" fmla="*/ 54 w 213"/>
                      <a:gd name="T69" fmla="*/ 7 h 221"/>
                      <a:gd name="T70" fmla="*/ 56 w 213"/>
                      <a:gd name="T71" fmla="*/ 5 h 221"/>
                      <a:gd name="T72" fmla="*/ 56 w 213"/>
                      <a:gd name="T73" fmla="*/ 1 h 221"/>
                      <a:gd name="T74" fmla="*/ 51 w 213"/>
                      <a:gd name="T75" fmla="*/ 1 h 221"/>
                      <a:gd name="T76" fmla="*/ 54 w 213"/>
                      <a:gd name="T77" fmla="*/ 0 h 22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221">
                        <a:moveTo>
                          <a:pt x="141" y="0"/>
                        </a:moveTo>
                        <a:lnTo>
                          <a:pt x="145" y="0"/>
                        </a:lnTo>
                        <a:lnTo>
                          <a:pt x="191" y="54"/>
                        </a:lnTo>
                        <a:lnTo>
                          <a:pt x="195" y="88"/>
                        </a:lnTo>
                        <a:lnTo>
                          <a:pt x="183" y="88"/>
                        </a:lnTo>
                        <a:lnTo>
                          <a:pt x="213" y="156"/>
                        </a:lnTo>
                        <a:lnTo>
                          <a:pt x="209" y="172"/>
                        </a:lnTo>
                        <a:lnTo>
                          <a:pt x="197" y="183"/>
                        </a:lnTo>
                        <a:lnTo>
                          <a:pt x="197" y="160"/>
                        </a:lnTo>
                        <a:lnTo>
                          <a:pt x="191" y="160"/>
                        </a:lnTo>
                        <a:lnTo>
                          <a:pt x="183" y="187"/>
                        </a:lnTo>
                        <a:lnTo>
                          <a:pt x="171" y="175"/>
                        </a:lnTo>
                        <a:lnTo>
                          <a:pt x="167" y="191"/>
                        </a:lnTo>
                        <a:lnTo>
                          <a:pt x="141" y="191"/>
                        </a:lnTo>
                        <a:lnTo>
                          <a:pt x="141" y="183"/>
                        </a:lnTo>
                        <a:lnTo>
                          <a:pt x="129" y="175"/>
                        </a:lnTo>
                        <a:lnTo>
                          <a:pt x="125" y="187"/>
                        </a:lnTo>
                        <a:lnTo>
                          <a:pt x="141" y="197"/>
                        </a:lnTo>
                        <a:lnTo>
                          <a:pt x="129" y="201"/>
                        </a:lnTo>
                        <a:lnTo>
                          <a:pt x="121" y="221"/>
                        </a:lnTo>
                        <a:lnTo>
                          <a:pt x="101" y="205"/>
                        </a:lnTo>
                        <a:lnTo>
                          <a:pt x="99" y="187"/>
                        </a:lnTo>
                        <a:lnTo>
                          <a:pt x="38" y="195"/>
                        </a:lnTo>
                        <a:lnTo>
                          <a:pt x="30" y="209"/>
                        </a:lnTo>
                        <a:lnTo>
                          <a:pt x="4" y="205"/>
                        </a:lnTo>
                        <a:lnTo>
                          <a:pt x="0" y="195"/>
                        </a:lnTo>
                        <a:lnTo>
                          <a:pt x="30" y="164"/>
                        </a:lnTo>
                        <a:lnTo>
                          <a:pt x="99" y="164"/>
                        </a:lnTo>
                        <a:lnTo>
                          <a:pt x="101" y="106"/>
                        </a:lnTo>
                        <a:lnTo>
                          <a:pt x="113" y="130"/>
                        </a:lnTo>
                        <a:lnTo>
                          <a:pt x="137" y="114"/>
                        </a:lnTo>
                        <a:lnTo>
                          <a:pt x="145" y="72"/>
                        </a:lnTo>
                        <a:lnTo>
                          <a:pt x="125" y="22"/>
                        </a:lnTo>
                        <a:lnTo>
                          <a:pt x="129" y="6"/>
                        </a:lnTo>
                        <a:lnTo>
                          <a:pt x="141" y="18"/>
                        </a:lnTo>
                        <a:lnTo>
                          <a:pt x="145" y="14"/>
                        </a:lnTo>
                        <a:lnTo>
                          <a:pt x="145" y="4"/>
                        </a:lnTo>
                        <a:lnTo>
                          <a:pt x="133" y="4"/>
                        </a:lnTo>
                        <a:lnTo>
                          <a:pt x="141" y="0"/>
                        </a:lnTo>
                      </a:path>
                    </a:pathLst>
                  </a:custGeom>
                  <a:solidFill>
                    <a:srgbClr val="5783D0"/>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659" name="vMap : Russia">
                  <a:extLst>
                    <a:ext uri="{FF2B5EF4-FFF2-40B4-BE49-F238E27FC236}">
                      <a16:creationId xmlns:a16="http://schemas.microsoft.com/office/drawing/2014/main" xmlns="" id="{DDF3546F-110F-8645-9407-A8753026D6CC}"/>
                    </a:ext>
                  </a:extLst>
                </p:cNvPr>
                <p:cNvGrpSpPr/>
                <p:nvPr/>
              </p:nvGrpSpPr>
              <p:grpSpPr>
                <a:xfrm>
                  <a:off x="4616682" y="2217609"/>
                  <a:ext cx="2779383" cy="925226"/>
                  <a:chOff x="5857991" y="416509"/>
                  <a:chExt cx="4551948" cy="1515341"/>
                </a:xfrm>
                <a:solidFill>
                  <a:srgbClr val="0F4DBC"/>
                </a:solidFill>
              </p:grpSpPr>
              <p:grpSp>
                <p:nvGrpSpPr>
                  <p:cNvPr id="767" name="vMap : Russia (Offshore)">
                    <a:extLst>
                      <a:ext uri="{FF2B5EF4-FFF2-40B4-BE49-F238E27FC236}">
                        <a16:creationId xmlns:a16="http://schemas.microsoft.com/office/drawing/2014/main" xmlns="" id="{87053141-CF07-B047-93A3-2221AC152A45}"/>
                      </a:ext>
                    </a:extLst>
                  </p:cNvPr>
                  <p:cNvGrpSpPr/>
                  <p:nvPr/>
                </p:nvGrpSpPr>
                <p:grpSpPr>
                  <a:xfrm>
                    <a:off x="6393662" y="416509"/>
                    <a:ext cx="3664978" cy="1319237"/>
                    <a:chOff x="6393662" y="416509"/>
                    <a:chExt cx="3664978" cy="1319237"/>
                  </a:xfrm>
                  <a:grpFill/>
                </p:grpSpPr>
                <p:sp>
                  <p:nvSpPr>
                    <p:cNvPr id="769" name="vMap : Russia (Offshore)">
                      <a:extLst>
                        <a:ext uri="{FF2B5EF4-FFF2-40B4-BE49-F238E27FC236}">
                          <a16:creationId xmlns:a16="http://schemas.microsoft.com/office/drawing/2014/main" xmlns="" id="{AE12C28B-786C-EE43-BA28-6039FCFD9377}"/>
                        </a:ext>
                      </a:extLst>
                    </p:cNvPr>
                    <p:cNvSpPr>
                      <a:spLocks noChangeAspect="1"/>
                    </p:cNvSpPr>
                    <p:nvPr>
                      <p:custDataLst>
                        <p:tags r:id="rId264"/>
                      </p:custDataLst>
                    </p:nvPr>
                  </p:nvSpPr>
                  <p:spPr bwMode="gray">
                    <a:xfrm>
                      <a:off x="6650284" y="760327"/>
                      <a:ext cx="62288" cy="30562"/>
                    </a:xfrm>
                    <a:custGeom>
                      <a:avLst/>
                      <a:gdLst>
                        <a:gd name="T0" fmla="*/ 2 w 41"/>
                        <a:gd name="T1" fmla="*/ 4 h 20"/>
                        <a:gd name="T2" fmla="*/ 0 w 41"/>
                        <a:gd name="T3" fmla="*/ 3 h 20"/>
                        <a:gd name="T4" fmla="*/ 2 w 41"/>
                        <a:gd name="T5" fmla="*/ 0 h 20"/>
                        <a:gd name="T6" fmla="*/ 15 w 41"/>
                        <a:gd name="T7" fmla="*/ 7 h 20"/>
                        <a:gd name="T8" fmla="*/ 2 w 41"/>
                        <a:gd name="T9" fmla="*/ 4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20">
                          <a:moveTo>
                            <a:pt x="6" y="12"/>
                          </a:moveTo>
                          <a:lnTo>
                            <a:pt x="0" y="8"/>
                          </a:lnTo>
                          <a:lnTo>
                            <a:pt x="6" y="0"/>
                          </a:lnTo>
                          <a:lnTo>
                            <a:pt x="41" y="20"/>
                          </a:lnTo>
                          <a:lnTo>
                            <a:pt x="6"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0" name="vMap : Russia (Offshore)">
                      <a:extLst>
                        <a:ext uri="{FF2B5EF4-FFF2-40B4-BE49-F238E27FC236}">
                          <a16:creationId xmlns:a16="http://schemas.microsoft.com/office/drawing/2014/main" xmlns="" id="{4C10BAA8-274F-D648-BC8F-2B57A3120C4D}"/>
                        </a:ext>
                      </a:extLst>
                    </p:cNvPr>
                    <p:cNvSpPr>
                      <a:spLocks noChangeAspect="1"/>
                    </p:cNvSpPr>
                    <p:nvPr>
                      <p:custDataLst>
                        <p:tags r:id="rId265"/>
                      </p:custDataLst>
                    </p:nvPr>
                  </p:nvSpPr>
                  <p:spPr bwMode="gray">
                    <a:xfrm>
                      <a:off x="6470897" y="732312"/>
                      <a:ext cx="29898" cy="20374"/>
                    </a:xfrm>
                    <a:custGeom>
                      <a:avLst/>
                      <a:gdLst>
                        <a:gd name="T0" fmla="*/ 0 w 20"/>
                        <a:gd name="T1" fmla="*/ 0 h 12"/>
                        <a:gd name="T2" fmla="*/ 4 w 20"/>
                        <a:gd name="T3" fmla="*/ 0 h 12"/>
                        <a:gd name="T4" fmla="*/ 7 w 20"/>
                        <a:gd name="T5" fmla="*/ 5 h 12"/>
                        <a:gd name="T6" fmla="*/ 0 w 20"/>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2">
                          <a:moveTo>
                            <a:pt x="0" y="0"/>
                          </a:moveTo>
                          <a:lnTo>
                            <a:pt x="12" y="0"/>
                          </a:lnTo>
                          <a:lnTo>
                            <a:pt x="20" y="12"/>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1" name="vMap : Russia (Offshore)">
                      <a:extLst>
                        <a:ext uri="{FF2B5EF4-FFF2-40B4-BE49-F238E27FC236}">
                          <a16:creationId xmlns:a16="http://schemas.microsoft.com/office/drawing/2014/main" xmlns="" id="{6F739A69-11B8-6344-A91C-F1C865C7FAFA}"/>
                        </a:ext>
                      </a:extLst>
                    </p:cNvPr>
                    <p:cNvSpPr>
                      <a:spLocks noChangeAspect="1"/>
                    </p:cNvSpPr>
                    <p:nvPr>
                      <p:custDataLst>
                        <p:tags r:id="rId266"/>
                      </p:custDataLst>
                    </p:nvPr>
                  </p:nvSpPr>
                  <p:spPr bwMode="gray">
                    <a:xfrm>
                      <a:off x="6470897" y="541302"/>
                      <a:ext cx="336352" cy="129887"/>
                    </a:xfrm>
                    <a:custGeom>
                      <a:avLst/>
                      <a:gdLst>
                        <a:gd name="T0" fmla="*/ 0 w 221"/>
                        <a:gd name="T1" fmla="*/ 27 h 82"/>
                        <a:gd name="T2" fmla="*/ 14 w 221"/>
                        <a:gd name="T3" fmla="*/ 24 h 82"/>
                        <a:gd name="T4" fmla="*/ 7 w 221"/>
                        <a:gd name="T5" fmla="*/ 22 h 82"/>
                        <a:gd name="T6" fmla="*/ 13 w 221"/>
                        <a:gd name="T7" fmla="*/ 21 h 82"/>
                        <a:gd name="T8" fmla="*/ 9 w 221"/>
                        <a:gd name="T9" fmla="*/ 19 h 82"/>
                        <a:gd name="T10" fmla="*/ 16 w 221"/>
                        <a:gd name="T11" fmla="*/ 19 h 82"/>
                        <a:gd name="T12" fmla="*/ 10 w 221"/>
                        <a:gd name="T13" fmla="*/ 18 h 82"/>
                        <a:gd name="T14" fmla="*/ 10 w 221"/>
                        <a:gd name="T15" fmla="*/ 17 h 82"/>
                        <a:gd name="T16" fmla="*/ 7 w 221"/>
                        <a:gd name="T17" fmla="*/ 16 h 82"/>
                        <a:gd name="T18" fmla="*/ 19 w 221"/>
                        <a:gd name="T19" fmla="*/ 14 h 82"/>
                        <a:gd name="T20" fmla="*/ 24 w 221"/>
                        <a:gd name="T21" fmla="*/ 9 h 82"/>
                        <a:gd name="T22" fmla="*/ 37 w 221"/>
                        <a:gd name="T23" fmla="*/ 7 h 82"/>
                        <a:gd name="T24" fmla="*/ 36 w 221"/>
                        <a:gd name="T25" fmla="*/ 6 h 82"/>
                        <a:gd name="T26" fmla="*/ 56 w 221"/>
                        <a:gd name="T27" fmla="*/ 6 h 82"/>
                        <a:gd name="T28" fmla="*/ 70 w 221"/>
                        <a:gd name="T29" fmla="*/ 0 h 82"/>
                        <a:gd name="T30" fmla="*/ 82 w 221"/>
                        <a:gd name="T31" fmla="*/ 3 h 82"/>
                        <a:gd name="T32" fmla="*/ 79 w 221"/>
                        <a:gd name="T33" fmla="*/ 7 h 82"/>
                        <a:gd name="T34" fmla="*/ 54 w 221"/>
                        <a:gd name="T35" fmla="*/ 11 h 82"/>
                        <a:gd name="T36" fmla="*/ 37 w 221"/>
                        <a:gd name="T37" fmla="*/ 17 h 82"/>
                        <a:gd name="T38" fmla="*/ 40 w 221"/>
                        <a:gd name="T39" fmla="*/ 17 h 82"/>
                        <a:gd name="T40" fmla="*/ 37 w 221"/>
                        <a:gd name="T41" fmla="*/ 19 h 82"/>
                        <a:gd name="T42" fmla="*/ 33 w 221"/>
                        <a:gd name="T43" fmla="*/ 18 h 82"/>
                        <a:gd name="T44" fmla="*/ 36 w 221"/>
                        <a:gd name="T45" fmla="*/ 21 h 82"/>
                        <a:gd name="T46" fmla="*/ 26 w 221"/>
                        <a:gd name="T47" fmla="*/ 21 h 82"/>
                        <a:gd name="T48" fmla="*/ 30 w 221"/>
                        <a:gd name="T49" fmla="*/ 22 h 82"/>
                        <a:gd name="T50" fmla="*/ 28 w 221"/>
                        <a:gd name="T51" fmla="*/ 26 h 82"/>
                        <a:gd name="T52" fmla="*/ 23 w 221"/>
                        <a:gd name="T53" fmla="*/ 22 h 82"/>
                        <a:gd name="T54" fmla="*/ 21 w 221"/>
                        <a:gd name="T55" fmla="*/ 24 h 82"/>
                        <a:gd name="T56" fmla="*/ 27 w 221"/>
                        <a:gd name="T57" fmla="*/ 27 h 82"/>
                        <a:gd name="T58" fmla="*/ 20 w 221"/>
                        <a:gd name="T59" fmla="*/ 27 h 82"/>
                        <a:gd name="T60" fmla="*/ 26 w 221"/>
                        <a:gd name="T61" fmla="*/ 29 h 82"/>
                        <a:gd name="T62" fmla="*/ 21 w 221"/>
                        <a:gd name="T63" fmla="*/ 29 h 82"/>
                        <a:gd name="T64" fmla="*/ 24 w 221"/>
                        <a:gd name="T65" fmla="*/ 30 h 82"/>
                        <a:gd name="T66" fmla="*/ 21 w 221"/>
                        <a:gd name="T67" fmla="*/ 32 h 82"/>
                        <a:gd name="T68" fmla="*/ 6 w 221"/>
                        <a:gd name="T69" fmla="*/ 30 h 82"/>
                        <a:gd name="T70" fmla="*/ 10 w 221"/>
                        <a:gd name="T71" fmla="*/ 29 h 82"/>
                        <a:gd name="T72" fmla="*/ 0 w 221"/>
                        <a:gd name="T73" fmla="*/ 27 h 8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21" h="82">
                          <a:moveTo>
                            <a:pt x="0" y="70"/>
                          </a:moveTo>
                          <a:lnTo>
                            <a:pt x="38" y="62"/>
                          </a:lnTo>
                          <a:lnTo>
                            <a:pt x="20" y="58"/>
                          </a:lnTo>
                          <a:lnTo>
                            <a:pt x="34" y="54"/>
                          </a:lnTo>
                          <a:lnTo>
                            <a:pt x="24" y="50"/>
                          </a:lnTo>
                          <a:lnTo>
                            <a:pt x="42" y="50"/>
                          </a:lnTo>
                          <a:lnTo>
                            <a:pt x="26" y="46"/>
                          </a:lnTo>
                          <a:lnTo>
                            <a:pt x="26" y="44"/>
                          </a:lnTo>
                          <a:lnTo>
                            <a:pt x="20" y="40"/>
                          </a:lnTo>
                          <a:lnTo>
                            <a:pt x="50" y="36"/>
                          </a:lnTo>
                          <a:lnTo>
                            <a:pt x="66" y="24"/>
                          </a:lnTo>
                          <a:lnTo>
                            <a:pt x="100" y="20"/>
                          </a:lnTo>
                          <a:lnTo>
                            <a:pt x="96" y="16"/>
                          </a:lnTo>
                          <a:lnTo>
                            <a:pt x="150" y="16"/>
                          </a:lnTo>
                          <a:lnTo>
                            <a:pt x="187" y="0"/>
                          </a:lnTo>
                          <a:lnTo>
                            <a:pt x="221" y="8"/>
                          </a:lnTo>
                          <a:lnTo>
                            <a:pt x="213" y="20"/>
                          </a:lnTo>
                          <a:lnTo>
                            <a:pt x="146" y="28"/>
                          </a:lnTo>
                          <a:lnTo>
                            <a:pt x="100" y="44"/>
                          </a:lnTo>
                          <a:lnTo>
                            <a:pt x="108" y="44"/>
                          </a:lnTo>
                          <a:lnTo>
                            <a:pt x="100" y="50"/>
                          </a:lnTo>
                          <a:lnTo>
                            <a:pt x="88" y="46"/>
                          </a:lnTo>
                          <a:lnTo>
                            <a:pt x="96" y="54"/>
                          </a:lnTo>
                          <a:lnTo>
                            <a:pt x="70" y="54"/>
                          </a:lnTo>
                          <a:lnTo>
                            <a:pt x="80" y="58"/>
                          </a:lnTo>
                          <a:lnTo>
                            <a:pt x="76" y="66"/>
                          </a:lnTo>
                          <a:lnTo>
                            <a:pt x="62" y="58"/>
                          </a:lnTo>
                          <a:lnTo>
                            <a:pt x="58" y="62"/>
                          </a:lnTo>
                          <a:lnTo>
                            <a:pt x="72" y="70"/>
                          </a:lnTo>
                          <a:lnTo>
                            <a:pt x="54" y="70"/>
                          </a:lnTo>
                          <a:lnTo>
                            <a:pt x="70" y="74"/>
                          </a:lnTo>
                          <a:lnTo>
                            <a:pt x="58" y="74"/>
                          </a:lnTo>
                          <a:lnTo>
                            <a:pt x="66" y="78"/>
                          </a:lnTo>
                          <a:lnTo>
                            <a:pt x="58" y="82"/>
                          </a:lnTo>
                          <a:lnTo>
                            <a:pt x="16" y="78"/>
                          </a:lnTo>
                          <a:lnTo>
                            <a:pt x="26" y="74"/>
                          </a:lnTo>
                          <a:lnTo>
                            <a:pt x="0" y="7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2" name="vMap : Russia (Offshore)">
                      <a:extLst>
                        <a:ext uri="{FF2B5EF4-FFF2-40B4-BE49-F238E27FC236}">
                          <a16:creationId xmlns:a16="http://schemas.microsoft.com/office/drawing/2014/main" xmlns="" id="{60A8C8EC-BF60-8842-BE88-3BEA97F1CE8F}"/>
                        </a:ext>
                      </a:extLst>
                    </p:cNvPr>
                    <p:cNvSpPr>
                      <a:spLocks noChangeAspect="1"/>
                    </p:cNvSpPr>
                    <p:nvPr>
                      <p:custDataLst>
                        <p:tags r:id="rId267"/>
                      </p:custDataLst>
                    </p:nvPr>
                  </p:nvSpPr>
                  <p:spPr bwMode="gray">
                    <a:xfrm>
                      <a:off x="6436016" y="671189"/>
                      <a:ext cx="184370" cy="89138"/>
                    </a:xfrm>
                    <a:custGeom>
                      <a:avLst/>
                      <a:gdLst>
                        <a:gd name="T0" fmla="*/ 10 w 120"/>
                        <a:gd name="T1" fmla="*/ 0 h 60"/>
                        <a:gd name="T2" fmla="*/ 30 w 120"/>
                        <a:gd name="T3" fmla="*/ 0 h 60"/>
                        <a:gd name="T4" fmla="*/ 23 w 120"/>
                        <a:gd name="T5" fmla="*/ 4 h 60"/>
                        <a:gd name="T6" fmla="*/ 27 w 120"/>
                        <a:gd name="T7" fmla="*/ 4 h 60"/>
                        <a:gd name="T8" fmla="*/ 25 w 120"/>
                        <a:gd name="T9" fmla="*/ 6 h 60"/>
                        <a:gd name="T10" fmla="*/ 27 w 120"/>
                        <a:gd name="T11" fmla="*/ 11 h 60"/>
                        <a:gd name="T12" fmla="*/ 35 w 120"/>
                        <a:gd name="T13" fmla="*/ 16 h 60"/>
                        <a:gd name="T14" fmla="*/ 46 w 120"/>
                        <a:gd name="T15" fmla="*/ 19 h 60"/>
                        <a:gd name="T16" fmla="*/ 30 w 120"/>
                        <a:gd name="T17" fmla="*/ 20 h 60"/>
                        <a:gd name="T18" fmla="*/ 19 w 120"/>
                        <a:gd name="T19" fmla="*/ 19 h 60"/>
                        <a:gd name="T20" fmla="*/ 19 w 120"/>
                        <a:gd name="T21" fmla="*/ 17 h 60"/>
                        <a:gd name="T22" fmla="*/ 22 w 120"/>
                        <a:gd name="T23" fmla="*/ 17 h 60"/>
                        <a:gd name="T24" fmla="*/ 17 w 120"/>
                        <a:gd name="T25" fmla="*/ 16 h 60"/>
                        <a:gd name="T26" fmla="*/ 19 w 120"/>
                        <a:gd name="T27" fmla="*/ 15 h 60"/>
                        <a:gd name="T28" fmla="*/ 3 w 120"/>
                        <a:gd name="T29" fmla="*/ 13 h 60"/>
                        <a:gd name="T30" fmla="*/ 0 w 120"/>
                        <a:gd name="T31" fmla="*/ 9 h 60"/>
                        <a:gd name="T32" fmla="*/ 6 w 120"/>
                        <a:gd name="T33" fmla="*/ 9 h 60"/>
                        <a:gd name="T34" fmla="*/ 9 w 120"/>
                        <a:gd name="T35" fmla="*/ 5 h 60"/>
                        <a:gd name="T36" fmla="*/ 4 w 120"/>
                        <a:gd name="T37" fmla="*/ 4 h 60"/>
                        <a:gd name="T38" fmla="*/ 10 w 120"/>
                        <a:gd name="T39" fmla="*/ 0 h 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 h="60">
                          <a:moveTo>
                            <a:pt x="28" y="0"/>
                          </a:moveTo>
                          <a:lnTo>
                            <a:pt x="78" y="0"/>
                          </a:lnTo>
                          <a:lnTo>
                            <a:pt x="62" y="10"/>
                          </a:lnTo>
                          <a:lnTo>
                            <a:pt x="70" y="10"/>
                          </a:lnTo>
                          <a:lnTo>
                            <a:pt x="66" y="18"/>
                          </a:lnTo>
                          <a:lnTo>
                            <a:pt x="70" y="30"/>
                          </a:lnTo>
                          <a:lnTo>
                            <a:pt x="90" y="46"/>
                          </a:lnTo>
                          <a:lnTo>
                            <a:pt x="120" y="56"/>
                          </a:lnTo>
                          <a:lnTo>
                            <a:pt x="78" y="60"/>
                          </a:lnTo>
                          <a:lnTo>
                            <a:pt x="50" y="54"/>
                          </a:lnTo>
                          <a:lnTo>
                            <a:pt x="50" y="50"/>
                          </a:lnTo>
                          <a:lnTo>
                            <a:pt x="58" y="50"/>
                          </a:lnTo>
                          <a:lnTo>
                            <a:pt x="44" y="46"/>
                          </a:lnTo>
                          <a:lnTo>
                            <a:pt x="50" y="42"/>
                          </a:lnTo>
                          <a:lnTo>
                            <a:pt x="8" y="38"/>
                          </a:lnTo>
                          <a:lnTo>
                            <a:pt x="0" y="26"/>
                          </a:lnTo>
                          <a:lnTo>
                            <a:pt x="16" y="26"/>
                          </a:lnTo>
                          <a:lnTo>
                            <a:pt x="24" y="14"/>
                          </a:lnTo>
                          <a:lnTo>
                            <a:pt x="12" y="10"/>
                          </a:lnTo>
                          <a:lnTo>
                            <a:pt x="2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3" name="vMap : Russia (Offshore)">
                      <a:extLst>
                        <a:ext uri="{FF2B5EF4-FFF2-40B4-BE49-F238E27FC236}">
                          <a16:creationId xmlns:a16="http://schemas.microsoft.com/office/drawing/2014/main" xmlns="" id="{9FCB4BC6-A19C-7D45-BCD2-91EE99F69D7A}"/>
                        </a:ext>
                      </a:extLst>
                    </p:cNvPr>
                    <p:cNvSpPr>
                      <a:spLocks noChangeAspect="1"/>
                    </p:cNvSpPr>
                    <p:nvPr>
                      <p:custDataLst>
                        <p:tags r:id="rId268"/>
                      </p:custDataLst>
                    </p:nvPr>
                  </p:nvSpPr>
                  <p:spPr bwMode="gray">
                    <a:xfrm>
                      <a:off x="6393662" y="803621"/>
                      <a:ext cx="52322" cy="25467"/>
                    </a:xfrm>
                    <a:custGeom>
                      <a:avLst/>
                      <a:gdLst>
                        <a:gd name="T0" fmla="*/ 1 w 34"/>
                        <a:gd name="T1" fmla="*/ 0 h 16"/>
                        <a:gd name="T2" fmla="*/ 13 w 34"/>
                        <a:gd name="T3" fmla="*/ 3 h 16"/>
                        <a:gd name="T4" fmla="*/ 1 w 34"/>
                        <a:gd name="T5" fmla="*/ 6 h 16"/>
                        <a:gd name="T6" fmla="*/ 0 w 34"/>
                        <a:gd name="T7" fmla="*/ 2 h 16"/>
                        <a:gd name="T8" fmla="*/ 1 w 34"/>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16">
                          <a:moveTo>
                            <a:pt x="4" y="0"/>
                          </a:moveTo>
                          <a:lnTo>
                            <a:pt x="34" y="8"/>
                          </a:lnTo>
                          <a:lnTo>
                            <a:pt x="4" y="16"/>
                          </a:lnTo>
                          <a:lnTo>
                            <a:pt x="0" y="4"/>
                          </a:lnTo>
                          <a:lnTo>
                            <a:pt x="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4" name="vMap : Russia (Offshore)">
                      <a:extLst>
                        <a:ext uri="{FF2B5EF4-FFF2-40B4-BE49-F238E27FC236}">
                          <a16:creationId xmlns:a16="http://schemas.microsoft.com/office/drawing/2014/main" xmlns="" id="{26BE4A1E-AA8F-4C43-A9C0-150D23D4272E}"/>
                        </a:ext>
                      </a:extLst>
                    </p:cNvPr>
                    <p:cNvSpPr>
                      <a:spLocks noChangeAspect="1"/>
                    </p:cNvSpPr>
                    <p:nvPr>
                      <p:custDataLst>
                        <p:tags r:id="rId269"/>
                      </p:custDataLst>
                    </p:nvPr>
                  </p:nvSpPr>
                  <p:spPr bwMode="gray">
                    <a:xfrm>
                      <a:off x="7288105" y="447071"/>
                      <a:ext cx="184370" cy="43296"/>
                    </a:xfrm>
                    <a:custGeom>
                      <a:avLst/>
                      <a:gdLst>
                        <a:gd name="T0" fmla="*/ 30 w 121"/>
                        <a:gd name="T1" fmla="*/ 0 h 25"/>
                        <a:gd name="T2" fmla="*/ 42 w 121"/>
                        <a:gd name="T3" fmla="*/ 3 h 25"/>
                        <a:gd name="T4" fmla="*/ 42 w 121"/>
                        <a:gd name="T5" fmla="*/ 6 h 25"/>
                        <a:gd name="T6" fmla="*/ 39 w 121"/>
                        <a:gd name="T7" fmla="*/ 6 h 25"/>
                        <a:gd name="T8" fmla="*/ 45 w 121"/>
                        <a:gd name="T9" fmla="*/ 10 h 25"/>
                        <a:gd name="T10" fmla="*/ 36 w 121"/>
                        <a:gd name="T11" fmla="*/ 12 h 25"/>
                        <a:gd name="T12" fmla="*/ 0 w 121"/>
                        <a:gd name="T13" fmla="*/ 3 h 25"/>
                        <a:gd name="T14" fmla="*/ 8 w 121"/>
                        <a:gd name="T15" fmla="*/ 0 h 25"/>
                        <a:gd name="T16" fmla="*/ 23 w 121"/>
                        <a:gd name="T17" fmla="*/ 0 h 25"/>
                        <a:gd name="T18" fmla="*/ 30 w 121"/>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1" h="25">
                          <a:moveTo>
                            <a:pt x="80" y="0"/>
                          </a:moveTo>
                          <a:lnTo>
                            <a:pt x="113" y="7"/>
                          </a:lnTo>
                          <a:lnTo>
                            <a:pt x="113" y="13"/>
                          </a:lnTo>
                          <a:lnTo>
                            <a:pt x="104" y="13"/>
                          </a:lnTo>
                          <a:lnTo>
                            <a:pt x="121" y="21"/>
                          </a:lnTo>
                          <a:lnTo>
                            <a:pt x="96" y="25"/>
                          </a:lnTo>
                          <a:lnTo>
                            <a:pt x="0" y="7"/>
                          </a:lnTo>
                          <a:lnTo>
                            <a:pt x="22" y="0"/>
                          </a:lnTo>
                          <a:lnTo>
                            <a:pt x="60" y="0"/>
                          </a:lnTo>
                          <a:lnTo>
                            <a:pt x="8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5" name="vMap : Russia (Offshore)">
                      <a:extLst>
                        <a:ext uri="{FF2B5EF4-FFF2-40B4-BE49-F238E27FC236}">
                          <a16:creationId xmlns:a16="http://schemas.microsoft.com/office/drawing/2014/main" xmlns="" id="{F46E6618-19C8-2343-AE0A-B544BBDB1D18}"/>
                        </a:ext>
                      </a:extLst>
                    </p:cNvPr>
                    <p:cNvSpPr>
                      <a:spLocks noChangeAspect="1"/>
                    </p:cNvSpPr>
                    <p:nvPr>
                      <p:custDataLst>
                        <p:tags r:id="rId270"/>
                      </p:custDataLst>
                    </p:nvPr>
                  </p:nvSpPr>
                  <p:spPr bwMode="gray">
                    <a:xfrm>
                      <a:off x="7233292" y="416509"/>
                      <a:ext cx="134540" cy="30562"/>
                    </a:xfrm>
                    <a:custGeom>
                      <a:avLst/>
                      <a:gdLst>
                        <a:gd name="T0" fmla="*/ 13 w 90"/>
                        <a:gd name="T1" fmla="*/ 0 h 20"/>
                        <a:gd name="T2" fmla="*/ 16 w 90"/>
                        <a:gd name="T3" fmla="*/ 0 h 20"/>
                        <a:gd name="T4" fmla="*/ 32 w 90"/>
                        <a:gd name="T5" fmla="*/ 3 h 20"/>
                        <a:gd name="T6" fmla="*/ 29 w 90"/>
                        <a:gd name="T7" fmla="*/ 3 h 20"/>
                        <a:gd name="T8" fmla="*/ 32 w 90"/>
                        <a:gd name="T9" fmla="*/ 6 h 20"/>
                        <a:gd name="T10" fmla="*/ 16 w 90"/>
                        <a:gd name="T11" fmla="*/ 7 h 20"/>
                        <a:gd name="T12" fmla="*/ 0 w 90"/>
                        <a:gd name="T13" fmla="*/ 6 h 20"/>
                        <a:gd name="T14" fmla="*/ 13 w 90"/>
                        <a:gd name="T15" fmla="*/ 0 h 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0" h="20">
                          <a:moveTo>
                            <a:pt x="36" y="0"/>
                          </a:moveTo>
                          <a:lnTo>
                            <a:pt x="44" y="0"/>
                          </a:lnTo>
                          <a:lnTo>
                            <a:pt x="90" y="8"/>
                          </a:lnTo>
                          <a:lnTo>
                            <a:pt x="82" y="8"/>
                          </a:lnTo>
                          <a:lnTo>
                            <a:pt x="90" y="16"/>
                          </a:lnTo>
                          <a:lnTo>
                            <a:pt x="44" y="20"/>
                          </a:lnTo>
                          <a:lnTo>
                            <a:pt x="0" y="16"/>
                          </a:lnTo>
                          <a:lnTo>
                            <a:pt x="36"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6" name="vMap : Russia (Offshore)">
                      <a:extLst>
                        <a:ext uri="{FF2B5EF4-FFF2-40B4-BE49-F238E27FC236}">
                          <a16:creationId xmlns:a16="http://schemas.microsoft.com/office/drawing/2014/main" xmlns="" id="{66A2405F-4CB3-2C44-A403-676F18CE1198}"/>
                        </a:ext>
                      </a:extLst>
                    </p:cNvPr>
                    <p:cNvSpPr>
                      <a:spLocks noChangeAspect="1"/>
                    </p:cNvSpPr>
                    <p:nvPr>
                      <p:custDataLst>
                        <p:tags r:id="rId271"/>
                      </p:custDataLst>
                    </p:nvPr>
                  </p:nvSpPr>
                  <p:spPr bwMode="gray">
                    <a:xfrm>
                      <a:off x="7240767" y="447071"/>
                      <a:ext cx="59796" cy="15280"/>
                    </a:xfrm>
                    <a:custGeom>
                      <a:avLst/>
                      <a:gdLst>
                        <a:gd name="T0" fmla="*/ 8 w 40"/>
                        <a:gd name="T1" fmla="*/ 5 h 7"/>
                        <a:gd name="T2" fmla="*/ 0 w 40"/>
                        <a:gd name="T3" fmla="*/ 0 h 7"/>
                        <a:gd name="T4" fmla="*/ 14 w 40"/>
                        <a:gd name="T5" fmla="*/ 3 h 7"/>
                        <a:gd name="T6" fmla="*/ 8 w 40"/>
                        <a:gd name="T7" fmla="*/ 5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 h="7">
                          <a:moveTo>
                            <a:pt x="24" y="7"/>
                          </a:moveTo>
                          <a:lnTo>
                            <a:pt x="0" y="0"/>
                          </a:lnTo>
                          <a:lnTo>
                            <a:pt x="40" y="3"/>
                          </a:lnTo>
                          <a:lnTo>
                            <a:pt x="24" y="7"/>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7" name="vMap : Russia (Offshore)">
                      <a:extLst>
                        <a:ext uri="{FF2B5EF4-FFF2-40B4-BE49-F238E27FC236}">
                          <a16:creationId xmlns:a16="http://schemas.microsoft.com/office/drawing/2014/main" xmlns="" id="{8F9E4699-3617-7E49-8ED3-67B1B2249F8F}"/>
                        </a:ext>
                      </a:extLst>
                    </p:cNvPr>
                    <p:cNvSpPr>
                      <a:spLocks noChangeAspect="1"/>
                    </p:cNvSpPr>
                    <p:nvPr>
                      <p:custDataLst>
                        <p:tags r:id="rId272"/>
                      </p:custDataLst>
                    </p:nvPr>
                  </p:nvSpPr>
                  <p:spPr bwMode="gray">
                    <a:xfrm>
                      <a:off x="7494899" y="464898"/>
                      <a:ext cx="124574" cy="50936"/>
                    </a:xfrm>
                    <a:custGeom>
                      <a:avLst/>
                      <a:gdLst>
                        <a:gd name="T0" fmla="*/ 0 w 80"/>
                        <a:gd name="T1" fmla="*/ 8 h 32"/>
                        <a:gd name="T2" fmla="*/ 6 w 80"/>
                        <a:gd name="T3" fmla="*/ 0 h 32"/>
                        <a:gd name="T4" fmla="*/ 10 w 80"/>
                        <a:gd name="T5" fmla="*/ 2 h 32"/>
                        <a:gd name="T6" fmla="*/ 12 w 80"/>
                        <a:gd name="T7" fmla="*/ 3 h 32"/>
                        <a:gd name="T8" fmla="*/ 18 w 80"/>
                        <a:gd name="T9" fmla="*/ 3 h 32"/>
                        <a:gd name="T10" fmla="*/ 31 w 80"/>
                        <a:gd name="T11" fmla="*/ 6 h 32"/>
                        <a:gd name="T12" fmla="*/ 31 w 80"/>
                        <a:gd name="T13" fmla="*/ 9 h 32"/>
                        <a:gd name="T14" fmla="*/ 5 w 80"/>
                        <a:gd name="T15" fmla="*/ 13 h 32"/>
                        <a:gd name="T16" fmla="*/ 0 w 80"/>
                        <a:gd name="T17" fmla="*/ 11 h 32"/>
                        <a:gd name="T18" fmla="*/ 0 w 80"/>
                        <a:gd name="T19" fmla="*/ 8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0" h="32">
                          <a:moveTo>
                            <a:pt x="0" y="20"/>
                          </a:moveTo>
                          <a:lnTo>
                            <a:pt x="14" y="0"/>
                          </a:lnTo>
                          <a:lnTo>
                            <a:pt x="26" y="4"/>
                          </a:lnTo>
                          <a:lnTo>
                            <a:pt x="30" y="8"/>
                          </a:lnTo>
                          <a:lnTo>
                            <a:pt x="46" y="8"/>
                          </a:lnTo>
                          <a:lnTo>
                            <a:pt x="80" y="16"/>
                          </a:lnTo>
                          <a:lnTo>
                            <a:pt x="80" y="24"/>
                          </a:lnTo>
                          <a:lnTo>
                            <a:pt x="12" y="32"/>
                          </a:lnTo>
                          <a:lnTo>
                            <a:pt x="0" y="28"/>
                          </a:lnTo>
                          <a:lnTo>
                            <a:pt x="0" y="2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8" name="vMap : Russia (Offshore)">
                      <a:extLst>
                        <a:ext uri="{FF2B5EF4-FFF2-40B4-BE49-F238E27FC236}">
                          <a16:creationId xmlns:a16="http://schemas.microsoft.com/office/drawing/2014/main" xmlns="" id="{C55298F5-1AAD-6B45-A11A-FA90D172169B}"/>
                        </a:ext>
                      </a:extLst>
                    </p:cNvPr>
                    <p:cNvSpPr>
                      <a:spLocks noChangeAspect="1"/>
                    </p:cNvSpPr>
                    <p:nvPr>
                      <p:custDataLst>
                        <p:tags r:id="rId273"/>
                      </p:custDataLst>
                    </p:nvPr>
                  </p:nvSpPr>
                  <p:spPr bwMode="gray">
                    <a:xfrm>
                      <a:off x="9490580" y="1394476"/>
                      <a:ext cx="286522" cy="341270"/>
                    </a:xfrm>
                    <a:custGeom>
                      <a:avLst/>
                      <a:gdLst>
                        <a:gd name="T0" fmla="*/ 3 w 187"/>
                        <a:gd name="T1" fmla="*/ 0 h 222"/>
                        <a:gd name="T2" fmla="*/ 20 w 187"/>
                        <a:gd name="T3" fmla="*/ 14 h 222"/>
                        <a:gd name="T4" fmla="*/ 31 w 187"/>
                        <a:gd name="T5" fmla="*/ 26 h 222"/>
                        <a:gd name="T6" fmla="*/ 64 w 187"/>
                        <a:gd name="T7" fmla="*/ 53 h 222"/>
                        <a:gd name="T8" fmla="*/ 52 w 187"/>
                        <a:gd name="T9" fmla="*/ 47 h 222"/>
                        <a:gd name="T10" fmla="*/ 47 w 187"/>
                        <a:gd name="T11" fmla="*/ 49 h 222"/>
                        <a:gd name="T12" fmla="*/ 54 w 187"/>
                        <a:gd name="T13" fmla="*/ 64 h 222"/>
                        <a:gd name="T14" fmla="*/ 67 w 187"/>
                        <a:gd name="T15" fmla="*/ 74 h 222"/>
                        <a:gd name="T16" fmla="*/ 71 w 187"/>
                        <a:gd name="T17" fmla="*/ 78 h 222"/>
                        <a:gd name="T18" fmla="*/ 61 w 187"/>
                        <a:gd name="T19" fmla="*/ 74 h 222"/>
                        <a:gd name="T20" fmla="*/ 61 w 187"/>
                        <a:gd name="T21" fmla="*/ 81 h 222"/>
                        <a:gd name="T22" fmla="*/ 54 w 187"/>
                        <a:gd name="T23" fmla="*/ 74 h 222"/>
                        <a:gd name="T24" fmla="*/ 49 w 187"/>
                        <a:gd name="T25" fmla="*/ 60 h 222"/>
                        <a:gd name="T26" fmla="*/ 41 w 187"/>
                        <a:gd name="T27" fmla="*/ 55 h 222"/>
                        <a:gd name="T28" fmla="*/ 25 w 187"/>
                        <a:gd name="T29" fmla="*/ 29 h 222"/>
                        <a:gd name="T30" fmla="*/ 12 w 187"/>
                        <a:gd name="T31" fmla="*/ 18 h 222"/>
                        <a:gd name="T32" fmla="*/ 4 w 187"/>
                        <a:gd name="T33" fmla="*/ 7 h 222"/>
                        <a:gd name="T34" fmla="*/ 7 w 187"/>
                        <a:gd name="T35" fmla="*/ 6 h 222"/>
                        <a:gd name="T36" fmla="*/ 0 w 187"/>
                        <a:gd name="T37" fmla="*/ 0 h 222"/>
                        <a:gd name="T38" fmla="*/ 3 w 187"/>
                        <a:gd name="T39" fmla="*/ 0 h 2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7" h="222">
                          <a:moveTo>
                            <a:pt x="8" y="0"/>
                          </a:moveTo>
                          <a:lnTo>
                            <a:pt x="54" y="38"/>
                          </a:lnTo>
                          <a:lnTo>
                            <a:pt x="82" y="72"/>
                          </a:lnTo>
                          <a:lnTo>
                            <a:pt x="169" y="146"/>
                          </a:lnTo>
                          <a:lnTo>
                            <a:pt x="137" y="130"/>
                          </a:lnTo>
                          <a:lnTo>
                            <a:pt x="124" y="134"/>
                          </a:lnTo>
                          <a:lnTo>
                            <a:pt x="141" y="176"/>
                          </a:lnTo>
                          <a:lnTo>
                            <a:pt x="177" y="204"/>
                          </a:lnTo>
                          <a:lnTo>
                            <a:pt x="187" y="214"/>
                          </a:lnTo>
                          <a:lnTo>
                            <a:pt x="161" y="204"/>
                          </a:lnTo>
                          <a:lnTo>
                            <a:pt x="161" y="222"/>
                          </a:lnTo>
                          <a:lnTo>
                            <a:pt x="141" y="204"/>
                          </a:lnTo>
                          <a:lnTo>
                            <a:pt x="128" y="164"/>
                          </a:lnTo>
                          <a:lnTo>
                            <a:pt x="108" y="150"/>
                          </a:lnTo>
                          <a:lnTo>
                            <a:pt x="66" y="80"/>
                          </a:lnTo>
                          <a:lnTo>
                            <a:pt x="32" y="50"/>
                          </a:lnTo>
                          <a:lnTo>
                            <a:pt x="12" y="20"/>
                          </a:lnTo>
                          <a:lnTo>
                            <a:pt x="20" y="16"/>
                          </a:lnTo>
                          <a:lnTo>
                            <a:pt x="0" y="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79" name="vMap : Russia (Offshore)">
                      <a:extLst>
                        <a:ext uri="{FF2B5EF4-FFF2-40B4-BE49-F238E27FC236}">
                          <a16:creationId xmlns:a16="http://schemas.microsoft.com/office/drawing/2014/main" xmlns="" id="{A1F61A65-D758-9848-BED4-02299DEB94C6}"/>
                        </a:ext>
                      </a:extLst>
                    </p:cNvPr>
                    <p:cNvSpPr>
                      <a:spLocks noChangeAspect="1"/>
                    </p:cNvSpPr>
                    <p:nvPr>
                      <p:custDataLst>
                        <p:tags r:id="rId274"/>
                      </p:custDataLst>
                    </p:nvPr>
                  </p:nvSpPr>
                  <p:spPr bwMode="gray">
                    <a:xfrm>
                      <a:off x="9811982" y="727218"/>
                      <a:ext cx="89694" cy="25467"/>
                    </a:xfrm>
                    <a:custGeom>
                      <a:avLst/>
                      <a:gdLst>
                        <a:gd name="T0" fmla="*/ 3 w 58"/>
                        <a:gd name="T1" fmla="*/ 0 h 16"/>
                        <a:gd name="T2" fmla="*/ 22 w 58"/>
                        <a:gd name="T3" fmla="*/ 3 h 16"/>
                        <a:gd name="T4" fmla="*/ 18 w 58"/>
                        <a:gd name="T5" fmla="*/ 6 h 16"/>
                        <a:gd name="T6" fmla="*/ 10 w 58"/>
                        <a:gd name="T7" fmla="*/ 5 h 16"/>
                        <a:gd name="T8" fmla="*/ 0 w 58"/>
                        <a:gd name="T9" fmla="*/ 5 h 16"/>
                        <a:gd name="T10" fmla="*/ 1 w 58"/>
                        <a:gd name="T11" fmla="*/ 0 h 16"/>
                        <a:gd name="T12" fmla="*/ 3 w 58"/>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8" h="16">
                          <a:moveTo>
                            <a:pt x="8" y="0"/>
                          </a:moveTo>
                          <a:lnTo>
                            <a:pt x="58" y="8"/>
                          </a:lnTo>
                          <a:lnTo>
                            <a:pt x="46" y="16"/>
                          </a:lnTo>
                          <a:lnTo>
                            <a:pt x="26" y="12"/>
                          </a:lnTo>
                          <a:lnTo>
                            <a:pt x="0" y="12"/>
                          </a:lnTo>
                          <a:lnTo>
                            <a:pt x="4" y="0"/>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0" name="vMap : Russia (Offshore)">
                      <a:extLst>
                        <a:ext uri="{FF2B5EF4-FFF2-40B4-BE49-F238E27FC236}">
                          <a16:creationId xmlns:a16="http://schemas.microsoft.com/office/drawing/2014/main" xmlns="" id="{B6856784-859D-FA48-ADDF-754B1C30D985}"/>
                        </a:ext>
                      </a:extLst>
                    </p:cNvPr>
                    <p:cNvSpPr>
                      <a:spLocks noChangeAspect="1"/>
                    </p:cNvSpPr>
                    <p:nvPr>
                      <p:custDataLst>
                        <p:tags r:id="rId275"/>
                      </p:custDataLst>
                    </p:nvPr>
                  </p:nvSpPr>
                  <p:spPr bwMode="gray">
                    <a:xfrm>
                      <a:off x="9592731" y="778154"/>
                      <a:ext cx="49830" cy="20374"/>
                    </a:xfrm>
                    <a:custGeom>
                      <a:avLst/>
                      <a:gdLst>
                        <a:gd name="T0" fmla="*/ 0 w 30"/>
                        <a:gd name="T1" fmla="*/ 0 h 12"/>
                        <a:gd name="T2" fmla="*/ 13 w 30"/>
                        <a:gd name="T3" fmla="*/ 3 h 12"/>
                        <a:gd name="T4" fmla="*/ 8 w 30"/>
                        <a:gd name="T5" fmla="*/ 5 h 12"/>
                        <a:gd name="T6" fmla="*/ 0 w 30"/>
                        <a:gd name="T7" fmla="*/ 2 h 12"/>
                        <a:gd name="T8" fmla="*/ 0 w 3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12">
                          <a:moveTo>
                            <a:pt x="0" y="0"/>
                          </a:moveTo>
                          <a:lnTo>
                            <a:pt x="30" y="8"/>
                          </a:lnTo>
                          <a:lnTo>
                            <a:pt x="18" y="12"/>
                          </a:lnTo>
                          <a:lnTo>
                            <a:pt x="0" y="4"/>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1" name="vMap : Russia (Offshore)">
                      <a:extLst>
                        <a:ext uri="{FF2B5EF4-FFF2-40B4-BE49-F238E27FC236}">
                          <a16:creationId xmlns:a16="http://schemas.microsoft.com/office/drawing/2014/main" xmlns="" id="{E8F65124-F27C-1647-93B5-21CF6268ED7E}"/>
                        </a:ext>
                      </a:extLst>
                    </p:cNvPr>
                    <p:cNvSpPr>
                      <a:spLocks noChangeAspect="1"/>
                    </p:cNvSpPr>
                    <p:nvPr>
                      <p:custDataLst>
                        <p:tags r:id="rId276"/>
                      </p:custDataLst>
                    </p:nvPr>
                  </p:nvSpPr>
                  <p:spPr bwMode="gray">
                    <a:xfrm>
                      <a:off x="8690813" y="645721"/>
                      <a:ext cx="99659" cy="25467"/>
                    </a:xfrm>
                    <a:custGeom>
                      <a:avLst/>
                      <a:gdLst>
                        <a:gd name="T0" fmla="*/ 3 w 66"/>
                        <a:gd name="T1" fmla="*/ 0 h 16"/>
                        <a:gd name="T2" fmla="*/ 12 w 66"/>
                        <a:gd name="T3" fmla="*/ 2 h 16"/>
                        <a:gd name="T4" fmla="*/ 24 w 66"/>
                        <a:gd name="T5" fmla="*/ 6 h 16"/>
                        <a:gd name="T6" fmla="*/ 0 w 66"/>
                        <a:gd name="T7" fmla="*/ 5 h 16"/>
                        <a:gd name="T8" fmla="*/ 3 w 66"/>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6" h="16">
                          <a:moveTo>
                            <a:pt x="8" y="0"/>
                          </a:moveTo>
                          <a:lnTo>
                            <a:pt x="32" y="4"/>
                          </a:lnTo>
                          <a:lnTo>
                            <a:pt x="66" y="16"/>
                          </a:lnTo>
                          <a:lnTo>
                            <a:pt x="0" y="12"/>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2" name="vMap : Russia (Offshore)">
                      <a:extLst>
                        <a:ext uri="{FF2B5EF4-FFF2-40B4-BE49-F238E27FC236}">
                          <a16:creationId xmlns:a16="http://schemas.microsoft.com/office/drawing/2014/main" xmlns="" id="{DF0A1754-F62C-7C4D-B4BB-141FDA402E37}"/>
                        </a:ext>
                      </a:extLst>
                    </p:cNvPr>
                    <p:cNvSpPr>
                      <a:spLocks noChangeAspect="1"/>
                    </p:cNvSpPr>
                    <p:nvPr>
                      <p:custDataLst>
                        <p:tags r:id="rId277"/>
                      </p:custDataLst>
                    </p:nvPr>
                  </p:nvSpPr>
                  <p:spPr bwMode="gray">
                    <a:xfrm>
                      <a:off x="8750609" y="592238"/>
                      <a:ext cx="139523" cy="22922"/>
                    </a:xfrm>
                    <a:custGeom>
                      <a:avLst/>
                      <a:gdLst>
                        <a:gd name="T0" fmla="*/ 0 w 92"/>
                        <a:gd name="T1" fmla="*/ 0 h 14"/>
                        <a:gd name="T2" fmla="*/ 34 w 92"/>
                        <a:gd name="T3" fmla="*/ 3 h 14"/>
                        <a:gd name="T4" fmla="*/ 27 w 92"/>
                        <a:gd name="T5" fmla="*/ 6 h 14"/>
                        <a:gd name="T6" fmla="*/ 11 w 92"/>
                        <a:gd name="T7" fmla="*/ 5 h 14"/>
                        <a:gd name="T8" fmla="*/ 0 w 92"/>
                        <a:gd name="T9" fmla="*/ 0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 h="14">
                          <a:moveTo>
                            <a:pt x="0" y="0"/>
                          </a:moveTo>
                          <a:lnTo>
                            <a:pt x="92" y="8"/>
                          </a:lnTo>
                          <a:lnTo>
                            <a:pt x="72" y="14"/>
                          </a:lnTo>
                          <a:lnTo>
                            <a:pt x="30" y="12"/>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3" name="vMap : Russia (Offshore)">
                      <a:extLst>
                        <a:ext uri="{FF2B5EF4-FFF2-40B4-BE49-F238E27FC236}">
                          <a16:creationId xmlns:a16="http://schemas.microsoft.com/office/drawing/2014/main" xmlns="" id="{5321F157-8E61-494A-B30C-F70DB8BCD439}"/>
                        </a:ext>
                      </a:extLst>
                    </p:cNvPr>
                    <p:cNvSpPr>
                      <a:spLocks noChangeAspect="1"/>
                    </p:cNvSpPr>
                    <p:nvPr>
                      <p:custDataLst>
                        <p:tags r:id="rId278"/>
                      </p:custDataLst>
                    </p:nvPr>
                  </p:nvSpPr>
                  <p:spPr bwMode="gray">
                    <a:xfrm>
                      <a:off x="8655932" y="579504"/>
                      <a:ext cx="84711" cy="30562"/>
                    </a:xfrm>
                    <a:custGeom>
                      <a:avLst/>
                      <a:gdLst>
                        <a:gd name="T0" fmla="*/ 21 w 54"/>
                        <a:gd name="T1" fmla="*/ 3 h 20"/>
                        <a:gd name="T2" fmla="*/ 10 w 54"/>
                        <a:gd name="T3" fmla="*/ 7 h 20"/>
                        <a:gd name="T4" fmla="*/ 2 w 54"/>
                        <a:gd name="T5" fmla="*/ 4 h 20"/>
                        <a:gd name="T6" fmla="*/ 0 w 54"/>
                        <a:gd name="T7" fmla="*/ 0 h 20"/>
                        <a:gd name="T8" fmla="*/ 21 w 54"/>
                        <a:gd name="T9" fmla="*/ 3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20">
                          <a:moveTo>
                            <a:pt x="54" y="8"/>
                          </a:moveTo>
                          <a:lnTo>
                            <a:pt x="26" y="20"/>
                          </a:lnTo>
                          <a:lnTo>
                            <a:pt x="4" y="12"/>
                          </a:lnTo>
                          <a:lnTo>
                            <a:pt x="0" y="0"/>
                          </a:lnTo>
                          <a:lnTo>
                            <a:pt x="54"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4" name="vMap : Russia (Offshore)">
                      <a:extLst>
                        <a:ext uri="{FF2B5EF4-FFF2-40B4-BE49-F238E27FC236}">
                          <a16:creationId xmlns:a16="http://schemas.microsoft.com/office/drawing/2014/main" xmlns="" id="{D50CE3B2-5552-2440-8DD1-1966D8387C19}"/>
                        </a:ext>
                      </a:extLst>
                    </p:cNvPr>
                    <p:cNvSpPr>
                      <a:spLocks noChangeAspect="1"/>
                    </p:cNvSpPr>
                    <p:nvPr>
                      <p:custDataLst>
                        <p:tags r:id="rId279"/>
                      </p:custDataLst>
                    </p:nvPr>
                  </p:nvSpPr>
                  <p:spPr bwMode="gray">
                    <a:xfrm>
                      <a:off x="8501460" y="566771"/>
                      <a:ext cx="201811" cy="48389"/>
                    </a:xfrm>
                    <a:custGeom>
                      <a:avLst/>
                      <a:gdLst>
                        <a:gd name="T0" fmla="*/ 2 w 129"/>
                        <a:gd name="T1" fmla="*/ 6 h 30"/>
                        <a:gd name="T2" fmla="*/ 5 w 129"/>
                        <a:gd name="T3" fmla="*/ 3 h 30"/>
                        <a:gd name="T4" fmla="*/ 0 w 129"/>
                        <a:gd name="T5" fmla="*/ 3 h 30"/>
                        <a:gd name="T6" fmla="*/ 8 w 129"/>
                        <a:gd name="T7" fmla="*/ 0 h 30"/>
                        <a:gd name="T8" fmla="*/ 19 w 129"/>
                        <a:gd name="T9" fmla="*/ 3 h 30"/>
                        <a:gd name="T10" fmla="*/ 26 w 129"/>
                        <a:gd name="T11" fmla="*/ 6 h 30"/>
                        <a:gd name="T12" fmla="*/ 23 w 129"/>
                        <a:gd name="T13" fmla="*/ 2 h 30"/>
                        <a:gd name="T14" fmla="*/ 26 w 129"/>
                        <a:gd name="T15" fmla="*/ 2 h 30"/>
                        <a:gd name="T16" fmla="*/ 36 w 129"/>
                        <a:gd name="T17" fmla="*/ 5 h 30"/>
                        <a:gd name="T18" fmla="*/ 39 w 129"/>
                        <a:gd name="T19" fmla="*/ 8 h 30"/>
                        <a:gd name="T20" fmla="*/ 42 w 129"/>
                        <a:gd name="T21" fmla="*/ 10 h 30"/>
                        <a:gd name="T22" fmla="*/ 51 w 129"/>
                        <a:gd name="T23" fmla="*/ 12 h 30"/>
                        <a:gd name="T24" fmla="*/ 18 w 129"/>
                        <a:gd name="T25" fmla="*/ 12 h 30"/>
                        <a:gd name="T26" fmla="*/ 2 w 129"/>
                        <a:gd name="T27" fmla="*/ 6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29" h="30">
                          <a:moveTo>
                            <a:pt x="4" y="16"/>
                          </a:moveTo>
                          <a:lnTo>
                            <a:pt x="12" y="8"/>
                          </a:lnTo>
                          <a:lnTo>
                            <a:pt x="0" y="8"/>
                          </a:lnTo>
                          <a:lnTo>
                            <a:pt x="20" y="0"/>
                          </a:lnTo>
                          <a:lnTo>
                            <a:pt x="49" y="8"/>
                          </a:lnTo>
                          <a:lnTo>
                            <a:pt x="67" y="16"/>
                          </a:lnTo>
                          <a:lnTo>
                            <a:pt x="57" y="4"/>
                          </a:lnTo>
                          <a:lnTo>
                            <a:pt x="67" y="4"/>
                          </a:lnTo>
                          <a:lnTo>
                            <a:pt x="91" y="12"/>
                          </a:lnTo>
                          <a:lnTo>
                            <a:pt x="99" y="20"/>
                          </a:lnTo>
                          <a:lnTo>
                            <a:pt x="107" y="24"/>
                          </a:lnTo>
                          <a:lnTo>
                            <a:pt x="129" y="30"/>
                          </a:lnTo>
                          <a:lnTo>
                            <a:pt x="45" y="30"/>
                          </a:lnTo>
                          <a:lnTo>
                            <a:pt x="4" y="1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5" name="vMap : Russia (Offshore)">
                      <a:extLst>
                        <a:ext uri="{FF2B5EF4-FFF2-40B4-BE49-F238E27FC236}">
                          <a16:creationId xmlns:a16="http://schemas.microsoft.com/office/drawing/2014/main" xmlns="" id="{0BB1E418-586E-D34F-AE2F-5FF8A65A438C}"/>
                        </a:ext>
                      </a:extLst>
                    </p:cNvPr>
                    <p:cNvSpPr>
                      <a:spLocks noChangeAspect="1"/>
                    </p:cNvSpPr>
                    <p:nvPr>
                      <p:custDataLst>
                        <p:tags r:id="rId280"/>
                      </p:custDataLst>
                    </p:nvPr>
                  </p:nvSpPr>
                  <p:spPr bwMode="gray">
                    <a:xfrm>
                      <a:off x="8466579" y="579504"/>
                      <a:ext cx="27407" cy="17827"/>
                    </a:xfrm>
                    <a:custGeom>
                      <a:avLst/>
                      <a:gdLst>
                        <a:gd name="T0" fmla="*/ 8 w 16"/>
                        <a:gd name="T1" fmla="*/ 3 h 12"/>
                        <a:gd name="T2" fmla="*/ 6 w 16"/>
                        <a:gd name="T3" fmla="*/ 4 h 12"/>
                        <a:gd name="T4" fmla="*/ 0 w 16"/>
                        <a:gd name="T5" fmla="*/ 0 h 12"/>
                        <a:gd name="T6" fmla="*/ 8 w 16"/>
                        <a:gd name="T7" fmla="*/ 3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12">
                          <a:moveTo>
                            <a:pt x="16" y="8"/>
                          </a:moveTo>
                          <a:lnTo>
                            <a:pt x="12" y="12"/>
                          </a:lnTo>
                          <a:lnTo>
                            <a:pt x="0" y="0"/>
                          </a:lnTo>
                          <a:lnTo>
                            <a:pt x="16"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6" name="vMap : Russia (Offshore)">
                      <a:extLst>
                        <a:ext uri="{FF2B5EF4-FFF2-40B4-BE49-F238E27FC236}">
                          <a16:creationId xmlns:a16="http://schemas.microsoft.com/office/drawing/2014/main" xmlns="" id="{32A3FAB1-03A5-1B46-8507-947B698FD49E}"/>
                        </a:ext>
                      </a:extLst>
                    </p:cNvPr>
                    <p:cNvSpPr>
                      <a:spLocks noChangeAspect="1"/>
                    </p:cNvSpPr>
                    <p:nvPr>
                      <p:custDataLst>
                        <p:tags r:id="rId281"/>
                      </p:custDataLst>
                    </p:nvPr>
                  </p:nvSpPr>
                  <p:spPr bwMode="gray">
                    <a:xfrm>
                      <a:off x="10046182" y="1544738"/>
                      <a:ext cx="12458" cy="17827"/>
                    </a:xfrm>
                    <a:custGeom>
                      <a:avLst/>
                      <a:gdLst>
                        <a:gd name="T0" fmla="*/ 3 w 6"/>
                        <a:gd name="T1" fmla="*/ 0 h 16"/>
                        <a:gd name="T2" fmla="*/ 0 w 6"/>
                        <a:gd name="T3" fmla="*/ 3 h 16"/>
                        <a:gd name="T4" fmla="*/ 4 w 6"/>
                        <a:gd name="T5" fmla="*/ 2 h 16"/>
                        <a:gd name="T6" fmla="*/ 3 w 6"/>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6">
                          <a:moveTo>
                            <a:pt x="4" y="0"/>
                          </a:moveTo>
                          <a:lnTo>
                            <a:pt x="0" y="16"/>
                          </a:lnTo>
                          <a:lnTo>
                            <a:pt x="6" y="8"/>
                          </a:lnTo>
                          <a:lnTo>
                            <a:pt x="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7" name="vMap : Russia (Offshore)">
                      <a:extLst>
                        <a:ext uri="{FF2B5EF4-FFF2-40B4-BE49-F238E27FC236}">
                          <a16:creationId xmlns:a16="http://schemas.microsoft.com/office/drawing/2014/main" xmlns="" id="{05100FE4-BA25-5D40-B4DB-E32AFADC7D9F}"/>
                        </a:ext>
                      </a:extLst>
                    </p:cNvPr>
                    <p:cNvSpPr>
                      <a:spLocks noChangeAspect="1"/>
                    </p:cNvSpPr>
                    <p:nvPr>
                      <p:custDataLst>
                        <p:tags r:id="rId282"/>
                      </p:custDataLst>
                    </p:nvPr>
                  </p:nvSpPr>
                  <p:spPr bwMode="gray">
                    <a:xfrm>
                      <a:off x="9968945" y="1193280"/>
                      <a:ext cx="29898" cy="28015"/>
                    </a:xfrm>
                    <a:custGeom>
                      <a:avLst/>
                      <a:gdLst>
                        <a:gd name="T0" fmla="*/ 3 w 18"/>
                        <a:gd name="T1" fmla="*/ 0 h 18"/>
                        <a:gd name="T2" fmla="*/ 0 w 18"/>
                        <a:gd name="T3" fmla="*/ 1 h 18"/>
                        <a:gd name="T4" fmla="*/ 3 w 18"/>
                        <a:gd name="T5" fmla="*/ 7 h 18"/>
                        <a:gd name="T6" fmla="*/ 8 w 18"/>
                        <a:gd name="T7" fmla="*/ 1 h 18"/>
                        <a:gd name="T8" fmla="*/ 3 w 1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8">
                          <a:moveTo>
                            <a:pt x="6" y="0"/>
                          </a:moveTo>
                          <a:lnTo>
                            <a:pt x="0" y="2"/>
                          </a:lnTo>
                          <a:lnTo>
                            <a:pt x="6" y="18"/>
                          </a:lnTo>
                          <a:lnTo>
                            <a:pt x="18" y="2"/>
                          </a:lnTo>
                          <a:lnTo>
                            <a:pt x="6"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8" name="vMap : Russia (Offshore)">
                      <a:extLst>
                        <a:ext uri="{FF2B5EF4-FFF2-40B4-BE49-F238E27FC236}">
                          <a16:creationId xmlns:a16="http://schemas.microsoft.com/office/drawing/2014/main" xmlns="" id="{7765F85A-26B0-EE49-86A7-BA8C2E158294}"/>
                        </a:ext>
                      </a:extLst>
                    </p:cNvPr>
                    <p:cNvSpPr>
                      <a:spLocks noChangeAspect="1"/>
                    </p:cNvSpPr>
                    <p:nvPr>
                      <p:custDataLst>
                        <p:tags r:id="rId283"/>
                      </p:custDataLst>
                    </p:nvPr>
                  </p:nvSpPr>
                  <p:spPr bwMode="gray">
                    <a:xfrm>
                      <a:off x="8715728" y="686469"/>
                      <a:ext cx="29898" cy="15280"/>
                    </a:xfrm>
                    <a:custGeom>
                      <a:avLst/>
                      <a:gdLst>
                        <a:gd name="T0" fmla="*/ 3 w 20"/>
                        <a:gd name="T1" fmla="*/ 2 h 8"/>
                        <a:gd name="T2" fmla="*/ 7 w 20"/>
                        <a:gd name="T3" fmla="*/ 0 h 8"/>
                        <a:gd name="T4" fmla="*/ 7 w 20"/>
                        <a:gd name="T5" fmla="*/ 2 h 8"/>
                        <a:gd name="T6" fmla="*/ 0 w 20"/>
                        <a:gd name="T7" fmla="*/ 5 h 8"/>
                        <a:gd name="T8" fmla="*/ 3 w 20"/>
                        <a:gd name="T9" fmla="*/ 2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8">
                          <a:moveTo>
                            <a:pt x="8" y="4"/>
                          </a:moveTo>
                          <a:lnTo>
                            <a:pt x="20" y="0"/>
                          </a:lnTo>
                          <a:lnTo>
                            <a:pt x="20" y="4"/>
                          </a:lnTo>
                          <a:lnTo>
                            <a:pt x="0" y="8"/>
                          </a:lnTo>
                          <a:lnTo>
                            <a:pt x="8" y="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89" name="vMap : Russia (Offshore)">
                      <a:extLst>
                        <a:ext uri="{FF2B5EF4-FFF2-40B4-BE49-F238E27FC236}">
                          <a16:creationId xmlns:a16="http://schemas.microsoft.com/office/drawing/2014/main" xmlns="" id="{356A4D7A-9740-DF47-83C2-A76FC0C5ABCA}"/>
                        </a:ext>
                      </a:extLst>
                    </p:cNvPr>
                    <p:cNvSpPr>
                      <a:spLocks noChangeAspect="1"/>
                    </p:cNvSpPr>
                    <p:nvPr>
                      <p:custDataLst>
                        <p:tags r:id="rId284"/>
                      </p:custDataLst>
                    </p:nvPr>
                  </p:nvSpPr>
                  <p:spPr bwMode="gray">
                    <a:xfrm>
                      <a:off x="8663406" y="640627"/>
                      <a:ext cx="19932" cy="5093"/>
                    </a:xfrm>
                    <a:custGeom>
                      <a:avLst/>
                      <a:gdLst>
                        <a:gd name="T0" fmla="*/ 5 w 14"/>
                        <a:gd name="T1" fmla="*/ 0 h 4"/>
                        <a:gd name="T2" fmla="*/ 0 w 14"/>
                        <a:gd name="T3" fmla="*/ 0 h 4"/>
                        <a:gd name="T4" fmla="*/ 5 w 14"/>
                        <a:gd name="T5" fmla="*/ 1 h 4"/>
                        <a:gd name="T6" fmla="*/ 5 w 1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4">
                          <a:moveTo>
                            <a:pt x="14" y="0"/>
                          </a:moveTo>
                          <a:lnTo>
                            <a:pt x="0" y="0"/>
                          </a:lnTo>
                          <a:lnTo>
                            <a:pt x="14" y="4"/>
                          </a:lnTo>
                          <a:lnTo>
                            <a:pt x="1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90" name="vMap : Russia (Offshore)">
                      <a:extLst>
                        <a:ext uri="{FF2B5EF4-FFF2-40B4-BE49-F238E27FC236}">
                          <a16:creationId xmlns:a16="http://schemas.microsoft.com/office/drawing/2014/main" xmlns="" id="{5F47C4BD-0CD1-2541-AD1C-3615AD45439C}"/>
                        </a:ext>
                      </a:extLst>
                    </p:cNvPr>
                    <p:cNvSpPr>
                      <a:spLocks noChangeAspect="1"/>
                    </p:cNvSpPr>
                    <p:nvPr>
                      <p:custDataLst>
                        <p:tags r:id="rId285"/>
                      </p:custDataLst>
                    </p:nvPr>
                  </p:nvSpPr>
                  <p:spPr bwMode="gray">
                    <a:xfrm>
                      <a:off x="9316175" y="1353727"/>
                      <a:ext cx="22424" cy="17827"/>
                    </a:xfrm>
                    <a:custGeom>
                      <a:avLst/>
                      <a:gdLst>
                        <a:gd name="T0" fmla="*/ 2 w 14"/>
                        <a:gd name="T1" fmla="*/ 3 h 12"/>
                        <a:gd name="T2" fmla="*/ 6 w 14"/>
                        <a:gd name="T3" fmla="*/ 4 h 12"/>
                        <a:gd name="T4" fmla="*/ 6 w 14"/>
                        <a:gd name="T5" fmla="*/ 1 h 12"/>
                        <a:gd name="T6" fmla="*/ 0 w 14"/>
                        <a:gd name="T7" fmla="*/ 0 h 12"/>
                        <a:gd name="T8" fmla="*/ 2 w 14"/>
                        <a:gd name="T9" fmla="*/ 3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2">
                          <a:moveTo>
                            <a:pt x="4" y="8"/>
                          </a:moveTo>
                          <a:lnTo>
                            <a:pt x="14" y="12"/>
                          </a:lnTo>
                          <a:lnTo>
                            <a:pt x="14" y="4"/>
                          </a:lnTo>
                          <a:lnTo>
                            <a:pt x="0" y="0"/>
                          </a:lnTo>
                          <a:lnTo>
                            <a:pt x="4"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768" name="vMap : Russia (Mainland)">
                    <a:extLst>
                      <a:ext uri="{FF2B5EF4-FFF2-40B4-BE49-F238E27FC236}">
                        <a16:creationId xmlns:a16="http://schemas.microsoft.com/office/drawing/2014/main" xmlns="" id="{9D31F055-D623-124F-96A6-4535534E9001}"/>
                      </a:ext>
                    </a:extLst>
                  </p:cNvPr>
                  <p:cNvSpPr>
                    <a:spLocks noChangeAspect="1"/>
                  </p:cNvSpPr>
                  <p:nvPr>
                    <p:custDataLst>
                      <p:tags r:id="rId263"/>
                    </p:custDataLst>
                  </p:nvPr>
                </p:nvSpPr>
                <p:spPr bwMode="gray">
                  <a:xfrm>
                    <a:off x="5857991" y="520927"/>
                    <a:ext cx="4551948" cy="1410923"/>
                  </a:xfrm>
                  <a:custGeom>
                    <a:avLst/>
                    <a:gdLst>
                      <a:gd name="connsiteX0" fmla="*/ 1760515 w 4551948"/>
                      <a:gd name="connsiteY0" fmla="*/ 0 h 1410923"/>
                      <a:gd name="connsiteX1" fmla="*/ 1824756 w 4551948"/>
                      <a:gd name="connsiteY1" fmla="*/ 12489 h 1410923"/>
                      <a:gd name="connsiteX2" fmla="*/ 1797224 w 4551948"/>
                      <a:gd name="connsiteY2" fmla="*/ 21857 h 1410923"/>
                      <a:gd name="connsiteX3" fmla="*/ 1867584 w 4551948"/>
                      <a:gd name="connsiteY3" fmla="*/ 21857 h 1410923"/>
                      <a:gd name="connsiteX4" fmla="*/ 1861465 w 4551948"/>
                      <a:gd name="connsiteY4" fmla="*/ 40591 h 1410923"/>
                      <a:gd name="connsiteX5" fmla="*/ 1970064 w 4551948"/>
                      <a:gd name="connsiteY5" fmla="*/ 28101 h 1410923"/>
                      <a:gd name="connsiteX6" fmla="*/ 2064896 w 4551948"/>
                      <a:gd name="connsiteY6" fmla="*/ 59325 h 1410923"/>
                      <a:gd name="connsiteX7" fmla="*/ 2071014 w 4551948"/>
                      <a:gd name="connsiteY7" fmla="*/ 71815 h 1410923"/>
                      <a:gd name="connsiteX8" fmla="*/ 2083251 w 4551948"/>
                      <a:gd name="connsiteY8" fmla="*/ 71815 h 1410923"/>
                      <a:gd name="connsiteX9" fmla="*/ 2083251 w 4551948"/>
                      <a:gd name="connsiteY9" fmla="*/ 90549 h 1410923"/>
                      <a:gd name="connsiteX10" fmla="*/ 1944061 w 4551948"/>
                      <a:gd name="connsiteY10" fmla="*/ 171731 h 1410923"/>
                      <a:gd name="connsiteX11" fmla="*/ 2000655 w 4551948"/>
                      <a:gd name="connsiteY11" fmla="*/ 162364 h 1410923"/>
                      <a:gd name="connsiteX12" fmla="*/ 1988418 w 4551948"/>
                      <a:gd name="connsiteY12" fmla="*/ 156119 h 1410923"/>
                      <a:gd name="connsiteX13" fmla="*/ 2046541 w 4551948"/>
                      <a:gd name="connsiteY13" fmla="*/ 137385 h 1410923"/>
                      <a:gd name="connsiteX14" fmla="*/ 2034305 w 4551948"/>
                      <a:gd name="connsiteY14" fmla="*/ 131140 h 1410923"/>
                      <a:gd name="connsiteX15" fmla="*/ 2040423 w 4551948"/>
                      <a:gd name="connsiteY15" fmla="*/ 118650 h 1410923"/>
                      <a:gd name="connsiteX16" fmla="*/ 2077132 w 4551948"/>
                      <a:gd name="connsiteY16" fmla="*/ 118650 h 1410923"/>
                      <a:gd name="connsiteX17" fmla="*/ 2083251 w 4551948"/>
                      <a:gd name="connsiteY17" fmla="*/ 131140 h 1410923"/>
                      <a:gd name="connsiteX18" fmla="*/ 2116901 w 4551948"/>
                      <a:gd name="connsiteY18" fmla="*/ 137385 h 1410923"/>
                      <a:gd name="connsiteX19" fmla="*/ 2110782 w 4551948"/>
                      <a:gd name="connsiteY19" fmla="*/ 118650 h 1410923"/>
                      <a:gd name="connsiteX20" fmla="*/ 2159728 w 4551948"/>
                      <a:gd name="connsiteY20" fmla="*/ 149874 h 1410923"/>
                      <a:gd name="connsiteX21" fmla="*/ 2193378 w 4551948"/>
                      <a:gd name="connsiteY21" fmla="*/ 149874 h 1410923"/>
                      <a:gd name="connsiteX22" fmla="*/ 2147492 w 4551948"/>
                      <a:gd name="connsiteY22" fmla="*/ 137385 h 1410923"/>
                      <a:gd name="connsiteX23" fmla="*/ 2199497 w 4551948"/>
                      <a:gd name="connsiteY23" fmla="*/ 137385 h 1410923"/>
                      <a:gd name="connsiteX24" fmla="*/ 2288211 w 4551948"/>
                      <a:gd name="connsiteY24" fmla="*/ 143629 h 1410923"/>
                      <a:gd name="connsiteX25" fmla="*/ 2294329 w 4551948"/>
                      <a:gd name="connsiteY25" fmla="*/ 149874 h 1410923"/>
                      <a:gd name="connsiteX26" fmla="*/ 2363159 w 4551948"/>
                      <a:gd name="connsiteY26" fmla="*/ 162364 h 1410923"/>
                      <a:gd name="connsiteX27" fmla="*/ 2415163 w 4551948"/>
                      <a:gd name="connsiteY27" fmla="*/ 156119 h 1410923"/>
                      <a:gd name="connsiteX28" fmla="*/ 2390691 w 4551948"/>
                      <a:gd name="connsiteY28" fmla="*/ 131140 h 1410923"/>
                      <a:gd name="connsiteX29" fmla="*/ 2396809 w 4551948"/>
                      <a:gd name="connsiteY29" fmla="*/ 131140 h 1410923"/>
                      <a:gd name="connsiteX30" fmla="*/ 2528350 w 4551948"/>
                      <a:gd name="connsiteY30" fmla="*/ 143629 h 1410923"/>
                      <a:gd name="connsiteX31" fmla="*/ 2580355 w 4551948"/>
                      <a:gd name="connsiteY31" fmla="*/ 156119 h 1410923"/>
                      <a:gd name="connsiteX32" fmla="*/ 2592591 w 4551948"/>
                      <a:gd name="connsiteY32" fmla="*/ 171731 h 1410923"/>
                      <a:gd name="connsiteX33" fmla="*/ 2614005 w 4551948"/>
                      <a:gd name="connsiteY33" fmla="*/ 184220 h 1410923"/>
                      <a:gd name="connsiteX34" fmla="*/ 2601769 w 4551948"/>
                      <a:gd name="connsiteY34" fmla="*/ 196710 h 1410923"/>
                      <a:gd name="connsiteX35" fmla="*/ 2614005 w 4551948"/>
                      <a:gd name="connsiteY35" fmla="*/ 202955 h 1410923"/>
                      <a:gd name="connsiteX36" fmla="*/ 2719544 w 4551948"/>
                      <a:gd name="connsiteY36" fmla="*/ 237301 h 1410923"/>
                      <a:gd name="connsiteX37" fmla="*/ 2708837 w 4551948"/>
                      <a:gd name="connsiteY37" fmla="*/ 196710 h 1410923"/>
                      <a:gd name="connsiteX38" fmla="*/ 2747076 w 4551948"/>
                      <a:gd name="connsiteY38" fmla="*/ 215444 h 1410923"/>
                      <a:gd name="connsiteX39" fmla="*/ 2796022 w 4551948"/>
                      <a:gd name="connsiteY39" fmla="*/ 202955 h 1410923"/>
                      <a:gd name="connsiteX40" fmla="*/ 2878618 w 4551948"/>
                      <a:gd name="connsiteY40" fmla="*/ 221689 h 1410923"/>
                      <a:gd name="connsiteX41" fmla="*/ 2918386 w 4551948"/>
                      <a:gd name="connsiteY41" fmla="*/ 215444 h 1410923"/>
                      <a:gd name="connsiteX42" fmla="*/ 2884736 w 4551948"/>
                      <a:gd name="connsiteY42" fmla="*/ 190465 h 1410923"/>
                      <a:gd name="connsiteX43" fmla="*/ 2893913 w 4551948"/>
                      <a:gd name="connsiteY43" fmla="*/ 171731 h 1410923"/>
                      <a:gd name="connsiteX44" fmla="*/ 2884736 w 4551948"/>
                      <a:gd name="connsiteY44" fmla="*/ 165486 h 1410923"/>
                      <a:gd name="connsiteX45" fmla="*/ 2884736 w 4551948"/>
                      <a:gd name="connsiteY45" fmla="*/ 162364 h 1410923"/>
                      <a:gd name="connsiteX46" fmla="*/ 3127935 w 4551948"/>
                      <a:gd name="connsiteY46" fmla="*/ 184220 h 1410923"/>
                      <a:gd name="connsiteX47" fmla="*/ 3164644 w 4551948"/>
                      <a:gd name="connsiteY47" fmla="*/ 196710 h 1410923"/>
                      <a:gd name="connsiteX48" fmla="*/ 3146289 w 4551948"/>
                      <a:gd name="connsiteY48" fmla="*/ 202955 h 1410923"/>
                      <a:gd name="connsiteX49" fmla="*/ 3222767 w 4551948"/>
                      <a:gd name="connsiteY49" fmla="*/ 215444 h 1410923"/>
                      <a:gd name="connsiteX50" fmla="*/ 3256417 w 4551948"/>
                      <a:gd name="connsiteY50" fmla="*/ 221689 h 1410923"/>
                      <a:gd name="connsiteX51" fmla="*/ 3247240 w 4551948"/>
                      <a:gd name="connsiteY51" fmla="*/ 227934 h 1410923"/>
                      <a:gd name="connsiteX52" fmla="*/ 3274772 w 4551948"/>
                      <a:gd name="connsiteY52" fmla="*/ 234179 h 1410923"/>
                      <a:gd name="connsiteX53" fmla="*/ 3439963 w 4551948"/>
                      <a:gd name="connsiteY53" fmla="*/ 227934 h 1410923"/>
                      <a:gd name="connsiteX54" fmla="*/ 3490439 w 4551948"/>
                      <a:gd name="connsiteY54" fmla="*/ 249790 h 1410923"/>
                      <a:gd name="connsiteX55" fmla="*/ 3514911 w 4551948"/>
                      <a:gd name="connsiteY55" fmla="*/ 274769 h 1410923"/>
                      <a:gd name="connsiteX56" fmla="*/ 3573035 w 4551948"/>
                      <a:gd name="connsiteY56" fmla="*/ 287259 h 1410923"/>
                      <a:gd name="connsiteX57" fmla="*/ 3631157 w 4551948"/>
                      <a:gd name="connsiteY57" fmla="*/ 274769 h 1410923"/>
                      <a:gd name="connsiteX58" fmla="*/ 3667867 w 4551948"/>
                      <a:gd name="connsiteY58" fmla="*/ 281014 h 1410923"/>
                      <a:gd name="connsiteX59" fmla="*/ 3732108 w 4551948"/>
                      <a:gd name="connsiteY59" fmla="*/ 274769 h 1410923"/>
                      <a:gd name="connsiteX60" fmla="*/ 3771876 w 4551948"/>
                      <a:gd name="connsiteY60" fmla="*/ 293504 h 1410923"/>
                      <a:gd name="connsiteX61" fmla="*/ 3840706 w 4551948"/>
                      <a:gd name="connsiteY61" fmla="*/ 312238 h 1410923"/>
                      <a:gd name="connsiteX62" fmla="*/ 3852943 w 4551948"/>
                      <a:gd name="connsiteY62" fmla="*/ 299749 h 1410923"/>
                      <a:gd name="connsiteX63" fmla="*/ 3802467 w 4551948"/>
                      <a:gd name="connsiteY63" fmla="*/ 274769 h 1410923"/>
                      <a:gd name="connsiteX64" fmla="*/ 3802467 w 4551948"/>
                      <a:gd name="connsiteY64" fmla="*/ 262280 h 1410923"/>
                      <a:gd name="connsiteX65" fmla="*/ 3953893 w 4551948"/>
                      <a:gd name="connsiteY65" fmla="*/ 268525 h 1410923"/>
                      <a:gd name="connsiteX66" fmla="*/ 4106848 w 4551948"/>
                      <a:gd name="connsiteY66" fmla="*/ 305993 h 1410923"/>
                      <a:gd name="connsiteX67" fmla="*/ 4119085 w 4551948"/>
                      <a:gd name="connsiteY67" fmla="*/ 305993 h 1410923"/>
                      <a:gd name="connsiteX68" fmla="*/ 4267451 w 4551948"/>
                      <a:gd name="connsiteY68" fmla="*/ 340339 h 1410923"/>
                      <a:gd name="connsiteX69" fmla="*/ 4298043 w 4551948"/>
                      <a:gd name="connsiteY69" fmla="*/ 346584 h 1410923"/>
                      <a:gd name="connsiteX70" fmla="*/ 4350047 w 4551948"/>
                      <a:gd name="connsiteY70" fmla="*/ 370002 h 1410923"/>
                      <a:gd name="connsiteX71" fmla="*/ 4368401 w 4551948"/>
                      <a:gd name="connsiteY71" fmla="*/ 370002 h 1410923"/>
                      <a:gd name="connsiteX72" fmla="*/ 4398993 w 4551948"/>
                      <a:gd name="connsiteY72" fmla="*/ 376247 h 1410923"/>
                      <a:gd name="connsiteX73" fmla="*/ 4432643 w 4551948"/>
                      <a:gd name="connsiteY73" fmla="*/ 376247 h 1410923"/>
                      <a:gd name="connsiteX74" fmla="*/ 4509121 w 4551948"/>
                      <a:gd name="connsiteY74" fmla="*/ 404348 h 1410923"/>
                      <a:gd name="connsiteX75" fmla="*/ 4539711 w 4551948"/>
                      <a:gd name="connsiteY75" fmla="*/ 404348 h 1410923"/>
                      <a:gd name="connsiteX76" fmla="*/ 4503003 w 4551948"/>
                      <a:gd name="connsiteY76" fmla="*/ 435572 h 1410923"/>
                      <a:gd name="connsiteX77" fmla="*/ 4527475 w 4551948"/>
                      <a:gd name="connsiteY77" fmla="*/ 448062 h 1410923"/>
                      <a:gd name="connsiteX78" fmla="*/ 4515239 w 4551948"/>
                      <a:gd name="connsiteY78" fmla="*/ 454306 h 1410923"/>
                      <a:gd name="connsiteX79" fmla="*/ 4551948 w 4551948"/>
                      <a:gd name="connsiteY79" fmla="*/ 469918 h 1410923"/>
                      <a:gd name="connsiteX80" fmla="*/ 4545830 w 4551948"/>
                      <a:gd name="connsiteY80" fmla="*/ 476163 h 1410923"/>
                      <a:gd name="connsiteX81" fmla="*/ 4509121 w 4551948"/>
                      <a:gd name="connsiteY81" fmla="*/ 469918 h 1410923"/>
                      <a:gd name="connsiteX82" fmla="*/ 4463234 w 4551948"/>
                      <a:gd name="connsiteY82" fmla="*/ 454306 h 1410923"/>
                      <a:gd name="connsiteX83" fmla="*/ 4450997 w 4551948"/>
                      <a:gd name="connsiteY83" fmla="*/ 454306 h 1410923"/>
                      <a:gd name="connsiteX84" fmla="*/ 4374520 w 4551948"/>
                      <a:gd name="connsiteY84" fmla="*/ 423083 h 1410923"/>
                      <a:gd name="connsiteX85" fmla="*/ 4322515 w 4551948"/>
                      <a:gd name="connsiteY85" fmla="*/ 423083 h 1410923"/>
                      <a:gd name="connsiteX86" fmla="*/ 4279687 w 4551948"/>
                      <a:gd name="connsiteY86" fmla="*/ 404348 h 1410923"/>
                      <a:gd name="connsiteX87" fmla="*/ 4279687 w 4551948"/>
                      <a:gd name="connsiteY87" fmla="*/ 391859 h 1410923"/>
                      <a:gd name="connsiteX88" fmla="*/ 4252155 w 4551948"/>
                      <a:gd name="connsiteY88" fmla="*/ 404348 h 1410923"/>
                      <a:gd name="connsiteX89" fmla="*/ 4298043 w 4551948"/>
                      <a:gd name="connsiteY89" fmla="*/ 429327 h 1410923"/>
                      <a:gd name="connsiteX90" fmla="*/ 4304161 w 4551948"/>
                      <a:gd name="connsiteY90" fmla="*/ 448062 h 1410923"/>
                      <a:gd name="connsiteX91" fmla="*/ 4285806 w 4551948"/>
                      <a:gd name="connsiteY91" fmla="*/ 463674 h 1410923"/>
                      <a:gd name="connsiteX92" fmla="*/ 4246037 w 4551948"/>
                      <a:gd name="connsiteY92" fmla="*/ 457429 h 1410923"/>
                      <a:gd name="connsiteX93" fmla="*/ 4267451 w 4551948"/>
                      <a:gd name="connsiteY93" fmla="*/ 469918 h 1410923"/>
                      <a:gd name="connsiteX94" fmla="*/ 4291924 w 4551948"/>
                      <a:gd name="connsiteY94" fmla="*/ 469918 h 1410923"/>
                      <a:gd name="connsiteX95" fmla="*/ 4304161 w 4551948"/>
                      <a:gd name="connsiteY95" fmla="*/ 482408 h 1410923"/>
                      <a:gd name="connsiteX96" fmla="*/ 4386757 w 4551948"/>
                      <a:gd name="connsiteY96" fmla="*/ 526121 h 1410923"/>
                      <a:gd name="connsiteX97" fmla="*/ 4405111 w 4551948"/>
                      <a:gd name="connsiteY97" fmla="*/ 535488 h 1410923"/>
                      <a:gd name="connsiteX98" fmla="*/ 4411229 w 4551948"/>
                      <a:gd name="connsiteY98" fmla="*/ 547978 h 1410923"/>
                      <a:gd name="connsiteX99" fmla="*/ 4328633 w 4551948"/>
                      <a:gd name="connsiteY99" fmla="*/ 532366 h 1410923"/>
                      <a:gd name="connsiteX100" fmla="*/ 4343929 w 4551948"/>
                      <a:gd name="connsiteY100" fmla="*/ 541733 h 1410923"/>
                      <a:gd name="connsiteX101" fmla="*/ 4273569 w 4551948"/>
                      <a:gd name="connsiteY101" fmla="*/ 572957 h 1410923"/>
                      <a:gd name="connsiteX102" fmla="*/ 4252155 w 4551948"/>
                      <a:gd name="connsiteY102" fmla="*/ 626037 h 1410923"/>
                      <a:gd name="connsiteX103" fmla="*/ 4264392 w 4551948"/>
                      <a:gd name="connsiteY103" fmla="*/ 644772 h 1410923"/>
                      <a:gd name="connsiteX104" fmla="*/ 4215447 w 4551948"/>
                      <a:gd name="connsiteY104" fmla="*/ 619792 h 1410923"/>
                      <a:gd name="connsiteX105" fmla="*/ 4171089 w 4551948"/>
                      <a:gd name="connsiteY105" fmla="*/ 613548 h 1410923"/>
                      <a:gd name="connsiteX106" fmla="*/ 4146617 w 4551948"/>
                      <a:gd name="connsiteY106" fmla="*/ 626037 h 1410923"/>
                      <a:gd name="connsiteX107" fmla="*/ 4146617 w 4551948"/>
                      <a:gd name="connsiteY107" fmla="*/ 651016 h 1410923"/>
                      <a:gd name="connsiteX108" fmla="*/ 4119085 w 4551948"/>
                      <a:gd name="connsiteY108" fmla="*/ 619792 h 1410923"/>
                      <a:gd name="connsiteX109" fmla="*/ 4112967 w 4551948"/>
                      <a:gd name="connsiteY109" fmla="*/ 651016 h 1410923"/>
                      <a:gd name="connsiteX110" fmla="*/ 4070139 w 4551948"/>
                      <a:gd name="connsiteY110" fmla="*/ 644772 h 1410923"/>
                      <a:gd name="connsiteX111" fmla="*/ 4094612 w 4551948"/>
                      <a:gd name="connsiteY111" fmla="*/ 710342 h 1410923"/>
                      <a:gd name="connsiteX112" fmla="*/ 4119085 w 4551948"/>
                      <a:gd name="connsiteY112" fmla="*/ 735321 h 1410923"/>
                      <a:gd name="connsiteX113" fmla="*/ 4146617 w 4551948"/>
                      <a:gd name="connsiteY113" fmla="*/ 729076 h 1410923"/>
                      <a:gd name="connsiteX114" fmla="*/ 4158853 w 4551948"/>
                      <a:gd name="connsiteY114" fmla="*/ 754055 h 1410923"/>
                      <a:gd name="connsiteX115" fmla="*/ 4209329 w 4551948"/>
                      <a:gd name="connsiteY115" fmla="*/ 794646 h 1410923"/>
                      <a:gd name="connsiteX116" fmla="*/ 4209329 w 4551948"/>
                      <a:gd name="connsiteY116" fmla="*/ 800891 h 1410923"/>
                      <a:gd name="connsiteX117" fmla="*/ 4195563 w 4551948"/>
                      <a:gd name="connsiteY117" fmla="*/ 794646 h 1410923"/>
                      <a:gd name="connsiteX118" fmla="*/ 4177208 w 4551948"/>
                      <a:gd name="connsiteY118" fmla="*/ 788401 h 1410923"/>
                      <a:gd name="connsiteX119" fmla="*/ 4195563 w 4551948"/>
                      <a:gd name="connsiteY119" fmla="*/ 824309 h 1410923"/>
                      <a:gd name="connsiteX120" fmla="*/ 4233801 w 4551948"/>
                      <a:gd name="connsiteY120" fmla="*/ 852410 h 1410923"/>
                      <a:gd name="connsiteX121" fmla="*/ 4195563 w 4551948"/>
                      <a:gd name="connsiteY121" fmla="*/ 883634 h 1410923"/>
                      <a:gd name="connsiteX122" fmla="*/ 4227683 w 4551948"/>
                      <a:gd name="connsiteY122" fmla="*/ 917980 h 1410923"/>
                      <a:gd name="connsiteX123" fmla="*/ 4195563 w 4551948"/>
                      <a:gd name="connsiteY123" fmla="*/ 924225 h 1410923"/>
                      <a:gd name="connsiteX124" fmla="*/ 4221565 w 4551948"/>
                      <a:gd name="connsiteY124" fmla="*/ 974183 h 1410923"/>
                      <a:gd name="connsiteX125" fmla="*/ 4209329 w 4551948"/>
                      <a:gd name="connsiteY125" fmla="*/ 1008529 h 1410923"/>
                      <a:gd name="connsiteX126" fmla="*/ 4005898 w 4551948"/>
                      <a:gd name="connsiteY126" fmla="*/ 824309 h 1410923"/>
                      <a:gd name="connsiteX127" fmla="*/ 3966129 w 4551948"/>
                      <a:gd name="connsiteY127" fmla="*/ 775912 h 1410923"/>
                      <a:gd name="connsiteX128" fmla="*/ 3981425 w 4551948"/>
                      <a:gd name="connsiteY128" fmla="*/ 757177 h 1410923"/>
                      <a:gd name="connsiteX129" fmla="*/ 3953893 w 4551948"/>
                      <a:gd name="connsiteY129" fmla="*/ 729076 h 1410923"/>
                      <a:gd name="connsiteX130" fmla="*/ 3987543 w 4551948"/>
                      <a:gd name="connsiteY130" fmla="*/ 722831 h 1410923"/>
                      <a:gd name="connsiteX131" fmla="*/ 3993661 w 4551948"/>
                      <a:gd name="connsiteY131" fmla="*/ 626037 h 1410923"/>
                      <a:gd name="connsiteX132" fmla="*/ 4030371 w 4551948"/>
                      <a:gd name="connsiteY132" fmla="*/ 607303 h 1410923"/>
                      <a:gd name="connsiteX133" fmla="*/ 3981425 w 4551948"/>
                      <a:gd name="connsiteY133" fmla="*/ 554222 h 1410923"/>
                      <a:gd name="connsiteX134" fmla="*/ 3993661 w 4551948"/>
                      <a:gd name="connsiteY134" fmla="*/ 547978 h 1410923"/>
                      <a:gd name="connsiteX135" fmla="*/ 3953893 w 4551948"/>
                      <a:gd name="connsiteY135" fmla="*/ 541733 h 1410923"/>
                      <a:gd name="connsiteX136" fmla="*/ 3953893 w 4551948"/>
                      <a:gd name="connsiteY136" fmla="*/ 554222 h 1410923"/>
                      <a:gd name="connsiteX137" fmla="*/ 3981425 w 4551948"/>
                      <a:gd name="connsiteY137" fmla="*/ 579202 h 1410923"/>
                      <a:gd name="connsiteX138" fmla="*/ 3960011 w 4551948"/>
                      <a:gd name="connsiteY138" fmla="*/ 579202 h 1410923"/>
                      <a:gd name="connsiteX139" fmla="*/ 3935539 w 4551948"/>
                      <a:gd name="connsiteY139" fmla="*/ 619792 h 1410923"/>
                      <a:gd name="connsiteX140" fmla="*/ 3923302 w 4551948"/>
                      <a:gd name="connsiteY140" fmla="*/ 604181 h 1410923"/>
                      <a:gd name="connsiteX141" fmla="*/ 3911065 w 4551948"/>
                      <a:gd name="connsiteY141" fmla="*/ 604181 h 1410923"/>
                      <a:gd name="connsiteX142" fmla="*/ 3901888 w 4551948"/>
                      <a:gd name="connsiteY142" fmla="*/ 591691 h 1410923"/>
                      <a:gd name="connsiteX143" fmla="*/ 3883533 w 4551948"/>
                      <a:gd name="connsiteY143" fmla="*/ 566712 h 1410923"/>
                      <a:gd name="connsiteX144" fmla="*/ 3808585 w 4551948"/>
                      <a:gd name="connsiteY144" fmla="*/ 572957 h 1410923"/>
                      <a:gd name="connsiteX145" fmla="*/ 3796857 w 4551948"/>
                      <a:gd name="connsiteY145" fmla="*/ 641792 h 1410923"/>
                      <a:gd name="connsiteX146" fmla="*/ 3799982 w 4551948"/>
                      <a:gd name="connsiteY146" fmla="*/ 641792 h 1410923"/>
                      <a:gd name="connsiteX147" fmla="*/ 3793861 w 4551948"/>
                      <a:gd name="connsiteY147" fmla="*/ 648071 h 1410923"/>
                      <a:gd name="connsiteX148" fmla="*/ 3812226 w 4551948"/>
                      <a:gd name="connsiteY148" fmla="*/ 660628 h 1410923"/>
                      <a:gd name="connsiteX149" fmla="*/ 3838244 w 4551948"/>
                      <a:gd name="connsiteY149" fmla="*/ 666907 h 1410923"/>
                      <a:gd name="connsiteX150" fmla="*/ 3844366 w 4551948"/>
                      <a:gd name="connsiteY150" fmla="*/ 673185 h 1410923"/>
                      <a:gd name="connsiteX151" fmla="*/ 3754068 w 4551948"/>
                      <a:gd name="connsiteY151" fmla="*/ 682603 h 1410923"/>
                      <a:gd name="connsiteX152" fmla="*/ 3735703 w 4551948"/>
                      <a:gd name="connsiteY152" fmla="*/ 673185 h 1410923"/>
                      <a:gd name="connsiteX153" fmla="*/ 3760190 w 4551948"/>
                      <a:gd name="connsiteY153" fmla="*/ 673185 h 1410923"/>
                      <a:gd name="connsiteX154" fmla="*/ 3653057 w 4551948"/>
                      <a:gd name="connsiteY154" fmla="*/ 648071 h 1410923"/>
                      <a:gd name="connsiteX155" fmla="*/ 3653057 w 4551948"/>
                      <a:gd name="connsiteY155" fmla="*/ 673185 h 1410923"/>
                      <a:gd name="connsiteX156" fmla="*/ 3481645 w 4551948"/>
                      <a:gd name="connsiteY156" fmla="*/ 666907 h 1410923"/>
                      <a:gd name="connsiteX157" fmla="*/ 3455627 w 4551948"/>
                      <a:gd name="connsiteY157" fmla="*/ 707718 h 1410923"/>
                      <a:gd name="connsiteX158" fmla="*/ 3400529 w 4551948"/>
                      <a:gd name="connsiteY158" fmla="*/ 850556 h 1410923"/>
                      <a:gd name="connsiteX159" fmla="*/ 3455627 w 4551948"/>
                      <a:gd name="connsiteY159" fmla="*/ 856835 h 1410923"/>
                      <a:gd name="connsiteX160" fmla="*/ 3481645 w 4551948"/>
                      <a:gd name="connsiteY160" fmla="*/ 894507 h 1410923"/>
                      <a:gd name="connsiteX161" fmla="*/ 3487766 w 4551948"/>
                      <a:gd name="connsiteY161" fmla="*/ 869392 h 1410923"/>
                      <a:gd name="connsiteX162" fmla="*/ 3500010 w 4551948"/>
                      <a:gd name="connsiteY162" fmla="*/ 900785 h 1410923"/>
                      <a:gd name="connsiteX163" fmla="*/ 3530619 w 4551948"/>
                      <a:gd name="connsiteY163" fmla="*/ 881949 h 1410923"/>
                      <a:gd name="connsiteX164" fmla="*/ 3524498 w 4551948"/>
                      <a:gd name="connsiteY164" fmla="*/ 869392 h 1410923"/>
                      <a:gd name="connsiteX165" fmla="*/ 3558168 w 4551948"/>
                      <a:gd name="connsiteY165" fmla="*/ 869392 h 1410923"/>
                      <a:gd name="connsiteX166" fmla="*/ 3640813 w 4551948"/>
                      <a:gd name="connsiteY166" fmla="*/ 910203 h 1410923"/>
                      <a:gd name="connsiteX167" fmla="*/ 3646935 w 4551948"/>
                      <a:gd name="connsiteY167" fmla="*/ 929039 h 1410923"/>
                      <a:gd name="connsiteX168" fmla="*/ 3683667 w 4551948"/>
                      <a:gd name="connsiteY168" fmla="*/ 960432 h 1410923"/>
                      <a:gd name="connsiteX169" fmla="*/ 3692849 w 4551948"/>
                      <a:gd name="connsiteY169" fmla="*/ 1020079 h 1410923"/>
                      <a:gd name="connsiteX170" fmla="*/ 3723459 w 4551948"/>
                      <a:gd name="connsiteY170" fmla="*/ 1045193 h 1410923"/>
                      <a:gd name="connsiteX171" fmla="*/ 3754068 w 4551948"/>
                      <a:gd name="connsiteY171" fmla="*/ 1111119 h 1410923"/>
                      <a:gd name="connsiteX172" fmla="*/ 3711215 w 4551948"/>
                      <a:gd name="connsiteY172" fmla="*/ 1326162 h 1410923"/>
                      <a:gd name="connsiteX173" fmla="*/ 3665301 w 4551948"/>
                      <a:gd name="connsiteY173" fmla="*/ 1354416 h 1410923"/>
                      <a:gd name="connsiteX174" fmla="*/ 3634691 w 4551948"/>
                      <a:gd name="connsiteY174" fmla="*/ 1348137 h 1410923"/>
                      <a:gd name="connsiteX175" fmla="*/ 3622448 w 4551948"/>
                      <a:gd name="connsiteY175" fmla="*/ 1332440 h 1410923"/>
                      <a:gd name="connsiteX176" fmla="*/ 3619387 w 4551948"/>
                      <a:gd name="connsiteY176" fmla="*/ 1338719 h 1410923"/>
                      <a:gd name="connsiteX177" fmla="*/ 3607143 w 4551948"/>
                      <a:gd name="connsiteY177" fmla="*/ 1326162 h 1410923"/>
                      <a:gd name="connsiteX178" fmla="*/ 3588777 w 4551948"/>
                      <a:gd name="connsiteY178" fmla="*/ 1366973 h 1410923"/>
                      <a:gd name="connsiteX179" fmla="*/ 3576534 w 4551948"/>
                      <a:gd name="connsiteY179" fmla="*/ 1360694 h 1410923"/>
                      <a:gd name="connsiteX180" fmla="*/ 3582655 w 4551948"/>
                      <a:gd name="connsiteY180" fmla="*/ 1326162 h 1410923"/>
                      <a:gd name="connsiteX181" fmla="*/ 3542863 w 4551948"/>
                      <a:gd name="connsiteY181" fmla="*/ 1269654 h 1410923"/>
                      <a:gd name="connsiteX182" fmla="*/ 3558168 w 4551948"/>
                      <a:gd name="connsiteY182" fmla="*/ 1247679 h 1410923"/>
                      <a:gd name="connsiteX183" fmla="*/ 3607143 w 4551948"/>
                      <a:gd name="connsiteY183" fmla="*/ 1253958 h 1410923"/>
                      <a:gd name="connsiteX184" fmla="*/ 3582655 w 4551948"/>
                      <a:gd name="connsiteY184" fmla="*/ 1158209 h 1410923"/>
                      <a:gd name="connsiteX185" fmla="*/ 3594899 w 4551948"/>
                      <a:gd name="connsiteY185" fmla="*/ 1145651 h 1410923"/>
                      <a:gd name="connsiteX186" fmla="*/ 3570412 w 4551948"/>
                      <a:gd name="connsiteY186" fmla="*/ 1111119 h 1410923"/>
                      <a:gd name="connsiteX187" fmla="*/ 3472461 w 4551948"/>
                      <a:gd name="connsiteY187" fmla="*/ 1139373 h 1410923"/>
                      <a:gd name="connsiteX188" fmla="*/ 3418895 w 4551948"/>
                      <a:gd name="connsiteY188" fmla="*/ 1092283 h 1410923"/>
                      <a:gd name="connsiteX189" fmla="*/ 3302579 w 4551948"/>
                      <a:gd name="connsiteY189" fmla="*/ 1060890 h 1410923"/>
                      <a:gd name="connsiteX190" fmla="*/ 3259726 w 4551948"/>
                      <a:gd name="connsiteY190" fmla="*/ 1007522 h 1410923"/>
                      <a:gd name="connsiteX191" fmla="*/ 3149532 w 4551948"/>
                      <a:gd name="connsiteY191" fmla="*/ 922760 h 1410923"/>
                      <a:gd name="connsiteX192" fmla="*/ 3074539 w 4551948"/>
                      <a:gd name="connsiteY192" fmla="*/ 903924 h 1410923"/>
                      <a:gd name="connsiteX193" fmla="*/ 2998016 w 4551948"/>
                      <a:gd name="connsiteY193" fmla="*/ 910203 h 1410923"/>
                      <a:gd name="connsiteX194" fmla="*/ 2985772 w 4551948"/>
                      <a:gd name="connsiteY194" fmla="*/ 935318 h 1410923"/>
                      <a:gd name="connsiteX195" fmla="*/ 3010259 w 4551948"/>
                      <a:gd name="connsiteY195" fmla="*/ 941596 h 1410923"/>
                      <a:gd name="connsiteX196" fmla="*/ 3028625 w 4551948"/>
                      <a:gd name="connsiteY196" fmla="*/ 966711 h 1410923"/>
                      <a:gd name="connsiteX197" fmla="*/ 3010259 w 4551948"/>
                      <a:gd name="connsiteY197" fmla="*/ 982407 h 1410923"/>
                      <a:gd name="connsiteX198" fmla="*/ 3022503 w 4551948"/>
                      <a:gd name="connsiteY198" fmla="*/ 1045193 h 1410923"/>
                      <a:gd name="connsiteX199" fmla="*/ 2991894 w 4551948"/>
                      <a:gd name="connsiteY199" fmla="*/ 1060890 h 1410923"/>
                      <a:gd name="connsiteX200" fmla="*/ 2933736 w 4551948"/>
                      <a:gd name="connsiteY200" fmla="*/ 1048333 h 1410923"/>
                      <a:gd name="connsiteX201" fmla="*/ 2869456 w 4551948"/>
                      <a:gd name="connsiteY201" fmla="*/ 1038915 h 1410923"/>
                      <a:gd name="connsiteX202" fmla="*/ 2832725 w 4551948"/>
                      <a:gd name="connsiteY202" fmla="*/ 1060890 h 1410923"/>
                      <a:gd name="connsiteX203" fmla="*/ 2747019 w 4551948"/>
                      <a:gd name="connsiteY203" fmla="*/ 1079726 h 1410923"/>
                      <a:gd name="connsiteX204" fmla="*/ 2571015 w 4551948"/>
                      <a:gd name="connsiteY204" fmla="*/ 1020079 h 1410923"/>
                      <a:gd name="connsiteX205" fmla="*/ 2488369 w 4551948"/>
                      <a:gd name="connsiteY205" fmla="*/ 1032636 h 1410923"/>
                      <a:gd name="connsiteX206" fmla="*/ 2457760 w 4551948"/>
                      <a:gd name="connsiteY206" fmla="*/ 1013800 h 1410923"/>
                      <a:gd name="connsiteX207" fmla="*/ 2436333 w 4551948"/>
                      <a:gd name="connsiteY207" fmla="*/ 982407 h 1410923"/>
                      <a:gd name="connsiteX208" fmla="*/ 2336853 w 4551948"/>
                      <a:gd name="connsiteY208" fmla="*/ 960432 h 1410923"/>
                      <a:gd name="connsiteX209" fmla="*/ 2309304 w 4551948"/>
                      <a:gd name="connsiteY209" fmla="*/ 988686 h 1410923"/>
                      <a:gd name="connsiteX210" fmla="*/ 2330731 w 4551948"/>
                      <a:gd name="connsiteY210" fmla="*/ 1020079 h 1410923"/>
                      <a:gd name="connsiteX211" fmla="*/ 2330731 w 4551948"/>
                      <a:gd name="connsiteY211" fmla="*/ 1045193 h 1410923"/>
                      <a:gd name="connsiteX212" fmla="*/ 2238902 w 4551948"/>
                      <a:gd name="connsiteY212" fmla="*/ 1048333 h 1410923"/>
                      <a:gd name="connsiteX213" fmla="*/ 2208293 w 4551948"/>
                      <a:gd name="connsiteY213" fmla="*/ 1032636 h 1410923"/>
                      <a:gd name="connsiteX214" fmla="*/ 2125648 w 4551948"/>
                      <a:gd name="connsiteY214" fmla="*/ 1020079 h 1410923"/>
                      <a:gd name="connsiteX215" fmla="*/ 2030758 w 4551948"/>
                      <a:gd name="connsiteY215" fmla="*/ 1067169 h 1410923"/>
                      <a:gd name="connsiteX216" fmla="*/ 2024637 w 4551948"/>
                      <a:gd name="connsiteY216" fmla="*/ 1092283 h 1410923"/>
                      <a:gd name="connsiteX217" fmla="*/ 1990966 w 4551948"/>
                      <a:gd name="connsiteY217" fmla="*/ 1104840 h 1410923"/>
                      <a:gd name="connsiteX218" fmla="*/ 1990966 w 4551948"/>
                      <a:gd name="connsiteY218" fmla="*/ 1086004 h 1410923"/>
                      <a:gd name="connsiteX219" fmla="*/ 1997088 w 4551948"/>
                      <a:gd name="connsiteY219" fmla="*/ 1073447 h 1410923"/>
                      <a:gd name="connsiteX220" fmla="*/ 1972601 w 4551948"/>
                      <a:gd name="connsiteY220" fmla="*/ 1048333 h 1410923"/>
                      <a:gd name="connsiteX221" fmla="*/ 1961887 w 4551948"/>
                      <a:gd name="connsiteY221" fmla="*/ 1054611 h 1410923"/>
                      <a:gd name="connsiteX222" fmla="*/ 1961887 w 4551948"/>
                      <a:gd name="connsiteY222" fmla="*/ 1060890 h 1410923"/>
                      <a:gd name="connsiteX223" fmla="*/ 1928217 w 4551948"/>
                      <a:gd name="connsiteY223" fmla="*/ 1054611 h 1410923"/>
                      <a:gd name="connsiteX224" fmla="*/ 1903729 w 4551948"/>
                      <a:gd name="connsiteY224" fmla="*/ 1032636 h 1410923"/>
                      <a:gd name="connsiteX225" fmla="*/ 1885364 w 4551948"/>
                      <a:gd name="connsiteY225" fmla="*/ 1026358 h 1410923"/>
                      <a:gd name="connsiteX226" fmla="*/ 1876181 w 4551948"/>
                      <a:gd name="connsiteY226" fmla="*/ 1013800 h 1410923"/>
                      <a:gd name="connsiteX227" fmla="*/ 1851693 w 4551948"/>
                      <a:gd name="connsiteY227" fmla="*/ 994964 h 1410923"/>
                      <a:gd name="connsiteX228" fmla="*/ 1839450 w 4551948"/>
                      <a:gd name="connsiteY228" fmla="*/ 994964 h 1410923"/>
                      <a:gd name="connsiteX229" fmla="*/ 1833328 w 4551948"/>
                      <a:gd name="connsiteY229" fmla="*/ 1001243 h 1410923"/>
                      <a:gd name="connsiteX230" fmla="*/ 1827206 w 4551948"/>
                      <a:gd name="connsiteY230" fmla="*/ 1001243 h 1410923"/>
                      <a:gd name="connsiteX231" fmla="*/ 1827206 w 4551948"/>
                      <a:gd name="connsiteY231" fmla="*/ 1007522 h 1410923"/>
                      <a:gd name="connsiteX232" fmla="*/ 1787414 w 4551948"/>
                      <a:gd name="connsiteY232" fmla="*/ 1007522 h 1410923"/>
                      <a:gd name="connsiteX233" fmla="*/ 1775170 w 4551948"/>
                      <a:gd name="connsiteY233" fmla="*/ 994964 h 1410923"/>
                      <a:gd name="connsiteX234" fmla="*/ 1756804 w 4551948"/>
                      <a:gd name="connsiteY234" fmla="*/ 982407 h 1410923"/>
                      <a:gd name="connsiteX235" fmla="*/ 1750682 w 4551948"/>
                      <a:gd name="connsiteY235" fmla="*/ 988686 h 1410923"/>
                      <a:gd name="connsiteX236" fmla="*/ 1750682 w 4551948"/>
                      <a:gd name="connsiteY236" fmla="*/ 1001243 h 1410923"/>
                      <a:gd name="connsiteX237" fmla="*/ 1744560 w 4551948"/>
                      <a:gd name="connsiteY237" fmla="*/ 1007522 h 1410923"/>
                      <a:gd name="connsiteX238" fmla="*/ 1634367 w 4551948"/>
                      <a:gd name="connsiteY238" fmla="*/ 903924 h 1410923"/>
                      <a:gd name="connsiteX239" fmla="*/ 1577739 w 4551948"/>
                      <a:gd name="connsiteY239" fmla="*/ 875671 h 1410923"/>
                      <a:gd name="connsiteX240" fmla="*/ 1577739 w 4551948"/>
                      <a:gd name="connsiteY240" fmla="*/ 869392 h 1410923"/>
                      <a:gd name="connsiteX241" fmla="*/ 1583861 w 4551948"/>
                      <a:gd name="connsiteY241" fmla="*/ 863113 h 1410923"/>
                      <a:gd name="connsiteX242" fmla="*/ 1577739 w 4551948"/>
                      <a:gd name="connsiteY242" fmla="*/ 856835 h 1410923"/>
                      <a:gd name="connsiteX243" fmla="*/ 1547130 w 4551948"/>
                      <a:gd name="connsiteY243" fmla="*/ 863113 h 1410923"/>
                      <a:gd name="connsiteX244" fmla="*/ 1534886 w 4551948"/>
                      <a:gd name="connsiteY244" fmla="*/ 881949 h 1410923"/>
                      <a:gd name="connsiteX245" fmla="*/ 1516520 w 4551948"/>
                      <a:gd name="connsiteY245" fmla="*/ 888228 h 1410923"/>
                      <a:gd name="connsiteX246" fmla="*/ 1516520 w 4551948"/>
                      <a:gd name="connsiteY246" fmla="*/ 894507 h 1410923"/>
                      <a:gd name="connsiteX247" fmla="*/ 1501216 w 4551948"/>
                      <a:gd name="connsiteY247" fmla="*/ 888228 h 1410923"/>
                      <a:gd name="connsiteX248" fmla="*/ 1488972 w 4551948"/>
                      <a:gd name="connsiteY248" fmla="*/ 894507 h 1410923"/>
                      <a:gd name="connsiteX249" fmla="*/ 1482850 w 4551948"/>
                      <a:gd name="connsiteY249" fmla="*/ 888228 h 1410923"/>
                      <a:gd name="connsiteX250" fmla="*/ 1488972 w 4551948"/>
                      <a:gd name="connsiteY250" fmla="*/ 875671 h 1410923"/>
                      <a:gd name="connsiteX251" fmla="*/ 1488972 w 4551948"/>
                      <a:gd name="connsiteY251" fmla="*/ 869392 h 1410923"/>
                      <a:gd name="connsiteX252" fmla="*/ 1476728 w 4551948"/>
                      <a:gd name="connsiteY252" fmla="*/ 875671 h 1410923"/>
                      <a:gd name="connsiteX253" fmla="*/ 1452241 w 4551948"/>
                      <a:gd name="connsiteY253" fmla="*/ 869392 h 1410923"/>
                      <a:gd name="connsiteX254" fmla="*/ 1458362 w 4551948"/>
                      <a:gd name="connsiteY254" fmla="*/ 875671 h 1410923"/>
                      <a:gd name="connsiteX255" fmla="*/ 1446119 w 4551948"/>
                      <a:gd name="connsiteY255" fmla="*/ 875671 h 1410923"/>
                      <a:gd name="connsiteX256" fmla="*/ 1446119 w 4551948"/>
                      <a:gd name="connsiteY256" fmla="*/ 869392 h 1410923"/>
                      <a:gd name="connsiteX257" fmla="*/ 1436936 w 4551948"/>
                      <a:gd name="connsiteY257" fmla="*/ 856835 h 1410923"/>
                      <a:gd name="connsiteX258" fmla="*/ 1436936 w 4551948"/>
                      <a:gd name="connsiteY258" fmla="*/ 863113 h 1410923"/>
                      <a:gd name="connsiteX259" fmla="*/ 1406326 w 4551948"/>
                      <a:gd name="connsiteY259" fmla="*/ 869392 h 1410923"/>
                      <a:gd name="connsiteX260" fmla="*/ 1400205 w 4551948"/>
                      <a:gd name="connsiteY260" fmla="*/ 863113 h 1410923"/>
                      <a:gd name="connsiteX261" fmla="*/ 1400205 w 4551948"/>
                      <a:gd name="connsiteY261" fmla="*/ 844278 h 1410923"/>
                      <a:gd name="connsiteX262" fmla="*/ 1394083 w 4551948"/>
                      <a:gd name="connsiteY262" fmla="*/ 837999 h 1410923"/>
                      <a:gd name="connsiteX263" fmla="*/ 1381839 w 4551948"/>
                      <a:gd name="connsiteY263" fmla="*/ 822302 h 1410923"/>
                      <a:gd name="connsiteX264" fmla="*/ 1375717 w 4551948"/>
                      <a:gd name="connsiteY264" fmla="*/ 822302 h 1410923"/>
                      <a:gd name="connsiteX265" fmla="*/ 1360412 w 4551948"/>
                      <a:gd name="connsiteY265" fmla="*/ 825442 h 1410923"/>
                      <a:gd name="connsiteX266" fmla="*/ 1342047 w 4551948"/>
                      <a:gd name="connsiteY266" fmla="*/ 816024 h 1410923"/>
                      <a:gd name="connsiteX267" fmla="*/ 1317559 w 4551948"/>
                      <a:gd name="connsiteY267" fmla="*/ 816024 h 1410923"/>
                      <a:gd name="connsiteX268" fmla="*/ 1299193 w 4551948"/>
                      <a:gd name="connsiteY268" fmla="*/ 822302 h 1410923"/>
                      <a:gd name="connsiteX269" fmla="*/ 1299193 w 4551948"/>
                      <a:gd name="connsiteY269" fmla="*/ 831720 h 1410923"/>
                      <a:gd name="connsiteX270" fmla="*/ 1234914 w 4551948"/>
                      <a:gd name="connsiteY270" fmla="*/ 844278 h 1410923"/>
                      <a:gd name="connsiteX271" fmla="*/ 1219609 w 4551948"/>
                      <a:gd name="connsiteY271" fmla="*/ 850556 h 1410923"/>
                      <a:gd name="connsiteX272" fmla="*/ 1215018 w 4551948"/>
                      <a:gd name="connsiteY272" fmla="*/ 856835 h 1410923"/>
                      <a:gd name="connsiteX273" fmla="*/ 1196652 w 4551948"/>
                      <a:gd name="connsiteY273" fmla="*/ 856835 h 1410923"/>
                      <a:gd name="connsiteX274" fmla="*/ 1184408 w 4551948"/>
                      <a:gd name="connsiteY274" fmla="*/ 863113 h 1410923"/>
                      <a:gd name="connsiteX275" fmla="*/ 1172164 w 4551948"/>
                      <a:gd name="connsiteY275" fmla="*/ 863113 h 1410923"/>
                      <a:gd name="connsiteX276" fmla="*/ 1159921 w 4551948"/>
                      <a:gd name="connsiteY276" fmla="*/ 869392 h 1410923"/>
                      <a:gd name="connsiteX277" fmla="*/ 1144616 w 4551948"/>
                      <a:gd name="connsiteY277" fmla="*/ 869392 h 1410923"/>
                      <a:gd name="connsiteX278" fmla="*/ 1144616 w 4551948"/>
                      <a:gd name="connsiteY278" fmla="*/ 875671 h 1410923"/>
                      <a:gd name="connsiteX279" fmla="*/ 1107885 w 4551948"/>
                      <a:gd name="connsiteY279" fmla="*/ 869392 h 1410923"/>
                      <a:gd name="connsiteX280" fmla="*/ 1089519 w 4551948"/>
                      <a:gd name="connsiteY280" fmla="*/ 875671 h 1410923"/>
                      <a:gd name="connsiteX281" fmla="*/ 1095641 w 4551948"/>
                      <a:gd name="connsiteY281" fmla="*/ 881949 h 1410923"/>
                      <a:gd name="connsiteX282" fmla="*/ 1095641 w 4551948"/>
                      <a:gd name="connsiteY282" fmla="*/ 888228 h 1410923"/>
                      <a:gd name="connsiteX283" fmla="*/ 1114006 w 4551948"/>
                      <a:gd name="connsiteY283" fmla="*/ 894507 h 1410923"/>
                      <a:gd name="connsiteX284" fmla="*/ 1101763 w 4551948"/>
                      <a:gd name="connsiteY284" fmla="*/ 894507 h 1410923"/>
                      <a:gd name="connsiteX285" fmla="*/ 1107885 w 4551948"/>
                      <a:gd name="connsiteY285" fmla="*/ 900785 h 1410923"/>
                      <a:gd name="connsiteX286" fmla="*/ 1138494 w 4551948"/>
                      <a:gd name="connsiteY286" fmla="*/ 910203 h 1410923"/>
                      <a:gd name="connsiteX287" fmla="*/ 1138494 w 4551948"/>
                      <a:gd name="connsiteY287" fmla="*/ 916482 h 1410923"/>
                      <a:gd name="connsiteX288" fmla="*/ 1107885 w 4551948"/>
                      <a:gd name="connsiteY288" fmla="*/ 916482 h 1410923"/>
                      <a:gd name="connsiteX289" fmla="*/ 1095641 w 4551948"/>
                      <a:gd name="connsiteY289" fmla="*/ 922760 h 1410923"/>
                      <a:gd name="connsiteX290" fmla="*/ 1114006 w 4551948"/>
                      <a:gd name="connsiteY290" fmla="*/ 935318 h 1410923"/>
                      <a:gd name="connsiteX291" fmla="*/ 1114006 w 4551948"/>
                      <a:gd name="connsiteY291" fmla="*/ 941596 h 1410923"/>
                      <a:gd name="connsiteX292" fmla="*/ 1083397 w 4551948"/>
                      <a:gd name="connsiteY292" fmla="*/ 960432 h 1410923"/>
                      <a:gd name="connsiteX293" fmla="*/ 1144616 w 4551948"/>
                      <a:gd name="connsiteY293" fmla="*/ 982407 h 1410923"/>
                      <a:gd name="connsiteX294" fmla="*/ 1144616 w 4551948"/>
                      <a:gd name="connsiteY294" fmla="*/ 1007522 h 1410923"/>
                      <a:gd name="connsiteX295" fmla="*/ 1132372 w 4551948"/>
                      <a:gd name="connsiteY295" fmla="*/ 1007522 h 1410923"/>
                      <a:gd name="connsiteX296" fmla="*/ 1114006 w 4551948"/>
                      <a:gd name="connsiteY296" fmla="*/ 1013800 h 1410923"/>
                      <a:gd name="connsiteX297" fmla="*/ 1101763 w 4551948"/>
                      <a:gd name="connsiteY297" fmla="*/ 1001243 h 1410923"/>
                      <a:gd name="connsiteX298" fmla="*/ 1089519 w 4551948"/>
                      <a:gd name="connsiteY298" fmla="*/ 1013800 h 1410923"/>
                      <a:gd name="connsiteX299" fmla="*/ 1083397 w 4551948"/>
                      <a:gd name="connsiteY299" fmla="*/ 1020079 h 1410923"/>
                      <a:gd name="connsiteX300" fmla="*/ 1080336 w 4551948"/>
                      <a:gd name="connsiteY300" fmla="*/ 1013800 h 1410923"/>
                      <a:gd name="connsiteX301" fmla="*/ 1061970 w 4551948"/>
                      <a:gd name="connsiteY301" fmla="*/ 1013800 h 1410923"/>
                      <a:gd name="connsiteX302" fmla="*/ 1049727 w 4551948"/>
                      <a:gd name="connsiteY302" fmla="*/ 994964 h 1410923"/>
                      <a:gd name="connsiteX303" fmla="*/ 1037483 w 4551948"/>
                      <a:gd name="connsiteY303" fmla="*/ 988686 h 1410923"/>
                      <a:gd name="connsiteX304" fmla="*/ 1025239 w 4551948"/>
                      <a:gd name="connsiteY304" fmla="*/ 994964 h 1410923"/>
                      <a:gd name="connsiteX305" fmla="*/ 1012995 w 4551948"/>
                      <a:gd name="connsiteY305" fmla="*/ 1001243 h 1410923"/>
                      <a:gd name="connsiteX306" fmla="*/ 1003813 w 4551948"/>
                      <a:gd name="connsiteY306" fmla="*/ 994964 h 1410923"/>
                      <a:gd name="connsiteX307" fmla="*/ 991569 w 4551948"/>
                      <a:gd name="connsiteY307" fmla="*/ 994964 h 1410923"/>
                      <a:gd name="connsiteX308" fmla="*/ 991569 w 4551948"/>
                      <a:gd name="connsiteY308" fmla="*/ 1001243 h 1410923"/>
                      <a:gd name="connsiteX309" fmla="*/ 985447 w 4551948"/>
                      <a:gd name="connsiteY309" fmla="*/ 994964 h 1410923"/>
                      <a:gd name="connsiteX310" fmla="*/ 960959 w 4551948"/>
                      <a:gd name="connsiteY310" fmla="*/ 1013800 h 1410923"/>
                      <a:gd name="connsiteX311" fmla="*/ 927289 w 4551948"/>
                      <a:gd name="connsiteY311" fmla="*/ 994964 h 1410923"/>
                      <a:gd name="connsiteX312" fmla="*/ 933411 w 4551948"/>
                      <a:gd name="connsiteY312" fmla="*/ 1013800 h 1410923"/>
                      <a:gd name="connsiteX313" fmla="*/ 927289 w 4551948"/>
                      <a:gd name="connsiteY313" fmla="*/ 1013800 h 1410923"/>
                      <a:gd name="connsiteX314" fmla="*/ 921167 w 4551948"/>
                      <a:gd name="connsiteY314" fmla="*/ 1001243 h 1410923"/>
                      <a:gd name="connsiteX315" fmla="*/ 884436 w 4551948"/>
                      <a:gd name="connsiteY315" fmla="*/ 976129 h 1410923"/>
                      <a:gd name="connsiteX316" fmla="*/ 850766 w 4551948"/>
                      <a:gd name="connsiteY316" fmla="*/ 976129 h 1410923"/>
                      <a:gd name="connsiteX317" fmla="*/ 840052 w 4551948"/>
                      <a:gd name="connsiteY317" fmla="*/ 966711 h 1410923"/>
                      <a:gd name="connsiteX318" fmla="*/ 833930 w 4551948"/>
                      <a:gd name="connsiteY318" fmla="*/ 966711 h 1410923"/>
                      <a:gd name="connsiteX319" fmla="*/ 827809 w 4551948"/>
                      <a:gd name="connsiteY319" fmla="*/ 976129 h 1410923"/>
                      <a:gd name="connsiteX320" fmla="*/ 815565 w 4551948"/>
                      <a:gd name="connsiteY320" fmla="*/ 976129 h 1410923"/>
                      <a:gd name="connsiteX321" fmla="*/ 809443 w 4551948"/>
                      <a:gd name="connsiteY321" fmla="*/ 966711 h 1410923"/>
                      <a:gd name="connsiteX322" fmla="*/ 794138 w 4551948"/>
                      <a:gd name="connsiteY322" fmla="*/ 972989 h 1410923"/>
                      <a:gd name="connsiteX323" fmla="*/ 781894 w 4551948"/>
                      <a:gd name="connsiteY323" fmla="*/ 982407 h 1410923"/>
                      <a:gd name="connsiteX324" fmla="*/ 757407 w 4551948"/>
                      <a:gd name="connsiteY324" fmla="*/ 988686 h 1410923"/>
                      <a:gd name="connsiteX325" fmla="*/ 757407 w 4551948"/>
                      <a:gd name="connsiteY325" fmla="*/ 1001243 h 1410923"/>
                      <a:gd name="connsiteX326" fmla="*/ 732919 w 4551948"/>
                      <a:gd name="connsiteY326" fmla="*/ 1013800 h 1410923"/>
                      <a:gd name="connsiteX327" fmla="*/ 751285 w 4551948"/>
                      <a:gd name="connsiteY327" fmla="*/ 1038915 h 1410923"/>
                      <a:gd name="connsiteX328" fmla="*/ 732919 w 4551948"/>
                      <a:gd name="connsiteY328" fmla="*/ 1048333 h 1410923"/>
                      <a:gd name="connsiteX329" fmla="*/ 699249 w 4551948"/>
                      <a:gd name="connsiteY329" fmla="*/ 1020079 h 1410923"/>
                      <a:gd name="connsiteX330" fmla="*/ 699249 w 4551948"/>
                      <a:gd name="connsiteY330" fmla="*/ 1038915 h 1410923"/>
                      <a:gd name="connsiteX331" fmla="*/ 687005 w 4551948"/>
                      <a:gd name="connsiteY331" fmla="*/ 1045193 h 1410923"/>
                      <a:gd name="connsiteX332" fmla="*/ 687005 w 4551948"/>
                      <a:gd name="connsiteY332" fmla="*/ 1067169 h 1410923"/>
                      <a:gd name="connsiteX333" fmla="*/ 699249 w 4551948"/>
                      <a:gd name="connsiteY333" fmla="*/ 1073447 h 1410923"/>
                      <a:gd name="connsiteX334" fmla="*/ 687005 w 4551948"/>
                      <a:gd name="connsiteY334" fmla="*/ 1079726 h 1410923"/>
                      <a:gd name="connsiteX335" fmla="*/ 687005 w 4551948"/>
                      <a:gd name="connsiteY335" fmla="*/ 1104840 h 1410923"/>
                      <a:gd name="connsiteX336" fmla="*/ 705371 w 4551948"/>
                      <a:gd name="connsiteY336" fmla="*/ 1111119 h 1410923"/>
                      <a:gd name="connsiteX337" fmla="*/ 711493 w 4551948"/>
                      <a:gd name="connsiteY337" fmla="*/ 1126816 h 1410923"/>
                      <a:gd name="connsiteX338" fmla="*/ 717615 w 4551948"/>
                      <a:gd name="connsiteY338" fmla="*/ 1133094 h 1410923"/>
                      <a:gd name="connsiteX339" fmla="*/ 717615 w 4551948"/>
                      <a:gd name="connsiteY339" fmla="*/ 1126816 h 1410923"/>
                      <a:gd name="connsiteX340" fmla="*/ 745163 w 4551948"/>
                      <a:gd name="connsiteY340" fmla="*/ 1133094 h 1410923"/>
                      <a:gd name="connsiteX341" fmla="*/ 757407 w 4551948"/>
                      <a:gd name="connsiteY341" fmla="*/ 1145651 h 1410923"/>
                      <a:gd name="connsiteX342" fmla="*/ 775773 w 4551948"/>
                      <a:gd name="connsiteY342" fmla="*/ 1177044 h 1410923"/>
                      <a:gd name="connsiteX343" fmla="*/ 763529 w 4551948"/>
                      <a:gd name="connsiteY343" fmla="*/ 1177044 h 1410923"/>
                      <a:gd name="connsiteX344" fmla="*/ 757407 w 4551948"/>
                      <a:gd name="connsiteY344" fmla="*/ 1183323 h 1410923"/>
                      <a:gd name="connsiteX345" fmla="*/ 769651 w 4551948"/>
                      <a:gd name="connsiteY345" fmla="*/ 1189602 h 1410923"/>
                      <a:gd name="connsiteX346" fmla="*/ 788016 w 4551948"/>
                      <a:gd name="connsiteY346" fmla="*/ 1199020 h 1410923"/>
                      <a:gd name="connsiteX347" fmla="*/ 757407 w 4551948"/>
                      <a:gd name="connsiteY347" fmla="*/ 1217856 h 1410923"/>
                      <a:gd name="connsiteX348" fmla="*/ 732919 w 4551948"/>
                      <a:gd name="connsiteY348" fmla="*/ 1199020 h 1410923"/>
                      <a:gd name="connsiteX349" fmla="*/ 739041 w 4551948"/>
                      <a:gd name="connsiteY349" fmla="*/ 1224134 h 1410923"/>
                      <a:gd name="connsiteX350" fmla="*/ 717615 w 4551948"/>
                      <a:gd name="connsiteY350" fmla="*/ 1275933 h 1410923"/>
                      <a:gd name="connsiteX351" fmla="*/ 751285 w 4551948"/>
                      <a:gd name="connsiteY351" fmla="*/ 1313604 h 1410923"/>
                      <a:gd name="connsiteX352" fmla="*/ 757407 w 4551948"/>
                      <a:gd name="connsiteY352" fmla="*/ 1301047 h 1410923"/>
                      <a:gd name="connsiteX353" fmla="*/ 757407 w 4551948"/>
                      <a:gd name="connsiteY353" fmla="*/ 1338719 h 1410923"/>
                      <a:gd name="connsiteX354" fmla="*/ 797199 w 4551948"/>
                      <a:gd name="connsiteY354" fmla="*/ 1385809 h 1410923"/>
                      <a:gd name="connsiteX355" fmla="*/ 781894 w 4551948"/>
                      <a:gd name="connsiteY355" fmla="*/ 1410923 h 1410923"/>
                      <a:gd name="connsiteX356" fmla="*/ 763529 w 4551948"/>
                      <a:gd name="connsiteY356" fmla="*/ 1410923 h 1410923"/>
                      <a:gd name="connsiteX357" fmla="*/ 751285 w 4551948"/>
                      <a:gd name="connsiteY357" fmla="*/ 1392087 h 1410923"/>
                      <a:gd name="connsiteX358" fmla="*/ 726797 w 4551948"/>
                      <a:gd name="connsiteY358" fmla="*/ 1379530 h 1410923"/>
                      <a:gd name="connsiteX359" fmla="*/ 699249 w 4551948"/>
                      <a:gd name="connsiteY359" fmla="*/ 1366973 h 1410923"/>
                      <a:gd name="connsiteX360" fmla="*/ 699249 w 4551948"/>
                      <a:gd name="connsiteY360" fmla="*/ 1354416 h 1410923"/>
                      <a:gd name="connsiteX361" fmla="*/ 680883 w 4551948"/>
                      <a:gd name="connsiteY361" fmla="*/ 1344998 h 1410923"/>
                      <a:gd name="connsiteX362" fmla="*/ 662518 w 4551948"/>
                      <a:gd name="connsiteY362" fmla="*/ 1344998 h 1410923"/>
                      <a:gd name="connsiteX363" fmla="*/ 641091 w 4551948"/>
                      <a:gd name="connsiteY363" fmla="*/ 1348137 h 1410923"/>
                      <a:gd name="connsiteX364" fmla="*/ 598238 w 4551948"/>
                      <a:gd name="connsiteY364" fmla="*/ 1326162 h 1410923"/>
                      <a:gd name="connsiteX365" fmla="*/ 558446 w 4551948"/>
                      <a:gd name="connsiteY365" fmla="*/ 1326162 h 1410923"/>
                      <a:gd name="connsiteX366" fmla="*/ 521714 w 4551948"/>
                      <a:gd name="connsiteY366" fmla="*/ 1307326 h 1410923"/>
                      <a:gd name="connsiteX367" fmla="*/ 494166 w 4551948"/>
                      <a:gd name="connsiteY367" fmla="*/ 1313604 h 1410923"/>
                      <a:gd name="connsiteX368" fmla="*/ 382442 w 4551948"/>
                      <a:gd name="connsiteY368" fmla="*/ 1247679 h 1410923"/>
                      <a:gd name="connsiteX369" fmla="*/ 434478 w 4551948"/>
                      <a:gd name="connsiteY369" fmla="*/ 1211577 h 1410923"/>
                      <a:gd name="connsiteX370" fmla="*/ 413051 w 4551948"/>
                      <a:gd name="connsiteY370" fmla="*/ 1189602 h 1410923"/>
                      <a:gd name="connsiteX371" fmla="*/ 434478 w 4551948"/>
                      <a:gd name="connsiteY371" fmla="*/ 1189602 h 1410923"/>
                      <a:gd name="connsiteX372" fmla="*/ 458965 w 4551948"/>
                      <a:gd name="connsiteY372" fmla="*/ 1170766 h 1410923"/>
                      <a:gd name="connsiteX373" fmla="*/ 452843 w 4551948"/>
                      <a:gd name="connsiteY373" fmla="*/ 1158209 h 1410923"/>
                      <a:gd name="connsiteX374" fmla="*/ 425295 w 4551948"/>
                      <a:gd name="connsiteY374" fmla="*/ 1170766 h 1410923"/>
                      <a:gd name="connsiteX375" fmla="*/ 425295 w 4551948"/>
                      <a:gd name="connsiteY375" fmla="*/ 1145651 h 1410923"/>
                      <a:gd name="connsiteX376" fmla="*/ 425295 w 4551948"/>
                      <a:gd name="connsiteY376" fmla="*/ 1139373 h 1410923"/>
                      <a:gd name="connsiteX377" fmla="*/ 440599 w 4551948"/>
                      <a:gd name="connsiteY377" fmla="*/ 1126816 h 1410923"/>
                      <a:gd name="connsiteX378" fmla="*/ 471209 w 4551948"/>
                      <a:gd name="connsiteY378" fmla="*/ 1126816 h 1410923"/>
                      <a:gd name="connsiteX379" fmla="*/ 471209 w 4551948"/>
                      <a:gd name="connsiteY379" fmla="*/ 1111119 h 1410923"/>
                      <a:gd name="connsiteX380" fmla="*/ 458965 w 4551948"/>
                      <a:gd name="connsiteY380" fmla="*/ 1092283 h 1410923"/>
                      <a:gd name="connsiteX381" fmla="*/ 471209 w 4551948"/>
                      <a:gd name="connsiteY381" fmla="*/ 1086004 h 1410923"/>
                      <a:gd name="connsiteX382" fmla="*/ 458965 w 4551948"/>
                      <a:gd name="connsiteY382" fmla="*/ 1079726 h 1410923"/>
                      <a:gd name="connsiteX383" fmla="*/ 471209 w 4551948"/>
                      <a:gd name="connsiteY383" fmla="*/ 1073447 h 1410923"/>
                      <a:gd name="connsiteX384" fmla="*/ 471209 w 4551948"/>
                      <a:gd name="connsiteY384" fmla="*/ 1067169 h 1410923"/>
                      <a:gd name="connsiteX385" fmla="*/ 465087 w 4551948"/>
                      <a:gd name="connsiteY385" fmla="*/ 1054611 h 1410923"/>
                      <a:gd name="connsiteX386" fmla="*/ 471209 w 4551948"/>
                      <a:gd name="connsiteY386" fmla="*/ 1054611 h 1410923"/>
                      <a:gd name="connsiteX387" fmla="*/ 413051 w 4551948"/>
                      <a:gd name="connsiteY387" fmla="*/ 1038915 h 1410923"/>
                      <a:gd name="connsiteX388" fmla="*/ 400807 w 4551948"/>
                      <a:gd name="connsiteY388" fmla="*/ 1038915 h 1410923"/>
                      <a:gd name="connsiteX389" fmla="*/ 376320 w 4551948"/>
                      <a:gd name="connsiteY389" fmla="*/ 1020079 h 1410923"/>
                      <a:gd name="connsiteX390" fmla="*/ 354893 w 4551948"/>
                      <a:gd name="connsiteY390" fmla="*/ 1026358 h 1410923"/>
                      <a:gd name="connsiteX391" fmla="*/ 318162 w 4551948"/>
                      <a:gd name="connsiteY391" fmla="*/ 1020079 h 1410923"/>
                      <a:gd name="connsiteX392" fmla="*/ 299796 w 4551948"/>
                      <a:gd name="connsiteY392" fmla="*/ 982407 h 1410923"/>
                      <a:gd name="connsiteX393" fmla="*/ 272248 w 4551948"/>
                      <a:gd name="connsiteY393" fmla="*/ 982407 h 1410923"/>
                      <a:gd name="connsiteX394" fmla="*/ 266126 w 4551948"/>
                      <a:gd name="connsiteY394" fmla="*/ 966711 h 1410923"/>
                      <a:gd name="connsiteX395" fmla="*/ 272248 w 4551948"/>
                      <a:gd name="connsiteY395" fmla="*/ 966711 h 1410923"/>
                      <a:gd name="connsiteX396" fmla="*/ 272248 w 4551948"/>
                      <a:gd name="connsiteY396" fmla="*/ 960432 h 1410923"/>
                      <a:gd name="connsiteX397" fmla="*/ 247760 w 4551948"/>
                      <a:gd name="connsiteY397" fmla="*/ 941596 h 1410923"/>
                      <a:gd name="connsiteX398" fmla="*/ 207968 w 4551948"/>
                      <a:gd name="connsiteY398" fmla="*/ 941596 h 1410923"/>
                      <a:gd name="connsiteX399" fmla="*/ 195724 w 4551948"/>
                      <a:gd name="connsiteY399" fmla="*/ 954153 h 1410923"/>
                      <a:gd name="connsiteX400" fmla="*/ 189602 w 4551948"/>
                      <a:gd name="connsiteY400" fmla="*/ 947875 h 1410923"/>
                      <a:gd name="connsiteX401" fmla="*/ 165115 w 4551948"/>
                      <a:gd name="connsiteY401" fmla="*/ 903924 h 1410923"/>
                      <a:gd name="connsiteX402" fmla="*/ 177358 w 4551948"/>
                      <a:gd name="connsiteY402" fmla="*/ 900785 h 1410923"/>
                      <a:gd name="connsiteX403" fmla="*/ 195724 w 4551948"/>
                      <a:gd name="connsiteY403" fmla="*/ 903924 h 1410923"/>
                      <a:gd name="connsiteX404" fmla="*/ 214090 w 4551948"/>
                      <a:gd name="connsiteY404" fmla="*/ 894507 h 1410923"/>
                      <a:gd name="connsiteX405" fmla="*/ 214090 w 4551948"/>
                      <a:gd name="connsiteY405" fmla="*/ 888228 h 1410923"/>
                      <a:gd name="connsiteX406" fmla="*/ 195724 w 4551948"/>
                      <a:gd name="connsiteY406" fmla="*/ 881949 h 1410923"/>
                      <a:gd name="connsiteX407" fmla="*/ 183480 w 4551948"/>
                      <a:gd name="connsiteY407" fmla="*/ 881949 h 1410923"/>
                      <a:gd name="connsiteX408" fmla="*/ 177358 w 4551948"/>
                      <a:gd name="connsiteY408" fmla="*/ 869392 h 1410923"/>
                      <a:gd name="connsiteX409" fmla="*/ 165115 w 4551948"/>
                      <a:gd name="connsiteY409" fmla="*/ 863113 h 1410923"/>
                      <a:gd name="connsiteX410" fmla="*/ 146749 w 4551948"/>
                      <a:gd name="connsiteY410" fmla="*/ 837999 h 1410923"/>
                      <a:gd name="connsiteX411" fmla="*/ 146749 w 4551948"/>
                      <a:gd name="connsiteY411" fmla="*/ 825442 h 1410923"/>
                      <a:gd name="connsiteX412" fmla="*/ 140627 w 4551948"/>
                      <a:gd name="connsiteY412" fmla="*/ 809745 h 1410923"/>
                      <a:gd name="connsiteX413" fmla="*/ 119201 w 4551948"/>
                      <a:gd name="connsiteY413" fmla="*/ 798758 h 1410923"/>
                      <a:gd name="connsiteX414" fmla="*/ 96244 w 4551948"/>
                      <a:gd name="connsiteY414" fmla="*/ 803467 h 1410923"/>
                      <a:gd name="connsiteX415" fmla="*/ 96244 w 4551948"/>
                      <a:gd name="connsiteY415" fmla="*/ 798758 h 1410923"/>
                      <a:gd name="connsiteX416" fmla="*/ 90122 w 4551948"/>
                      <a:gd name="connsiteY416" fmla="*/ 792479 h 1410923"/>
                      <a:gd name="connsiteX417" fmla="*/ 62573 w 4551948"/>
                      <a:gd name="connsiteY417" fmla="*/ 786200 h 1410923"/>
                      <a:gd name="connsiteX418" fmla="*/ 56451 w 4551948"/>
                      <a:gd name="connsiteY418" fmla="*/ 767364 h 1410923"/>
                      <a:gd name="connsiteX419" fmla="*/ 44208 w 4551948"/>
                      <a:gd name="connsiteY419" fmla="*/ 754807 h 1410923"/>
                      <a:gd name="connsiteX420" fmla="*/ 38086 w 4551948"/>
                      <a:gd name="connsiteY420" fmla="*/ 754807 h 1410923"/>
                      <a:gd name="connsiteX421" fmla="*/ 38086 w 4551948"/>
                      <a:gd name="connsiteY421" fmla="*/ 739111 h 1410923"/>
                      <a:gd name="connsiteX422" fmla="*/ 25842 w 4551948"/>
                      <a:gd name="connsiteY422" fmla="*/ 726553 h 1410923"/>
                      <a:gd name="connsiteX423" fmla="*/ 38086 w 4551948"/>
                      <a:gd name="connsiteY423" fmla="*/ 713996 h 1410923"/>
                      <a:gd name="connsiteX424" fmla="*/ 31964 w 4551948"/>
                      <a:gd name="connsiteY424" fmla="*/ 707718 h 1410923"/>
                      <a:gd name="connsiteX425" fmla="*/ 19720 w 4551948"/>
                      <a:gd name="connsiteY425" fmla="*/ 695160 h 1410923"/>
                      <a:gd name="connsiteX426" fmla="*/ 7476 w 4551948"/>
                      <a:gd name="connsiteY426" fmla="*/ 676324 h 1410923"/>
                      <a:gd name="connsiteX427" fmla="*/ 31964 w 4551948"/>
                      <a:gd name="connsiteY427" fmla="*/ 673185 h 1410923"/>
                      <a:gd name="connsiteX428" fmla="*/ 44208 w 4551948"/>
                      <a:gd name="connsiteY428" fmla="*/ 654349 h 1410923"/>
                      <a:gd name="connsiteX429" fmla="*/ 44208 w 4551948"/>
                      <a:gd name="connsiteY429" fmla="*/ 648071 h 1410923"/>
                      <a:gd name="connsiteX430" fmla="*/ 88991 w 4551948"/>
                      <a:gd name="connsiteY430" fmla="*/ 642667 h 1410923"/>
                      <a:gd name="connsiteX431" fmla="*/ 42828 w 4551948"/>
                      <a:gd name="connsiteY431" fmla="*/ 626037 h 1410923"/>
                      <a:gd name="connsiteX432" fmla="*/ 42828 w 4551948"/>
                      <a:gd name="connsiteY432" fmla="*/ 613548 h 1410923"/>
                      <a:gd name="connsiteX433" fmla="*/ 12237 w 4551948"/>
                      <a:gd name="connsiteY433" fmla="*/ 613548 h 1410923"/>
                      <a:gd name="connsiteX434" fmla="*/ 111658 w 4551948"/>
                      <a:gd name="connsiteY434" fmla="*/ 535488 h 1410923"/>
                      <a:gd name="connsiteX435" fmla="*/ 111658 w 4551948"/>
                      <a:gd name="connsiteY435" fmla="*/ 526121 h 1410923"/>
                      <a:gd name="connsiteX436" fmla="*/ 76478 w 4551948"/>
                      <a:gd name="connsiteY436" fmla="*/ 494897 h 1410923"/>
                      <a:gd name="connsiteX437" fmla="*/ 82596 w 4551948"/>
                      <a:gd name="connsiteY437" fmla="*/ 476163 h 1410923"/>
                      <a:gd name="connsiteX438" fmla="*/ 55064 w 4551948"/>
                      <a:gd name="connsiteY438" fmla="*/ 454306 h 1410923"/>
                      <a:gd name="connsiteX439" fmla="*/ 61182 w 4551948"/>
                      <a:gd name="connsiteY439" fmla="*/ 416838 h 1410923"/>
                      <a:gd name="connsiteX440" fmla="*/ 30591 w 4551948"/>
                      <a:gd name="connsiteY440" fmla="*/ 376247 h 1410923"/>
                      <a:gd name="connsiteX441" fmla="*/ 48946 w 4551948"/>
                      <a:gd name="connsiteY441" fmla="*/ 352829 h 1410923"/>
                      <a:gd name="connsiteX442" fmla="*/ 0 w 4551948"/>
                      <a:gd name="connsiteY442" fmla="*/ 321605 h 1410923"/>
                      <a:gd name="connsiteX443" fmla="*/ 0 w 4551948"/>
                      <a:gd name="connsiteY443" fmla="*/ 305993 h 1410923"/>
                      <a:gd name="connsiteX444" fmla="*/ 12237 w 4551948"/>
                      <a:gd name="connsiteY444" fmla="*/ 299749 h 1410923"/>
                      <a:gd name="connsiteX445" fmla="*/ 61182 w 4551948"/>
                      <a:gd name="connsiteY445" fmla="*/ 274769 h 1410923"/>
                      <a:gd name="connsiteX446" fmla="*/ 76478 w 4551948"/>
                      <a:gd name="connsiteY446" fmla="*/ 274769 h 1410923"/>
                      <a:gd name="connsiteX447" fmla="*/ 82596 w 4551948"/>
                      <a:gd name="connsiteY447" fmla="*/ 268525 h 1410923"/>
                      <a:gd name="connsiteX448" fmla="*/ 117776 w 4551948"/>
                      <a:gd name="connsiteY448" fmla="*/ 274769 h 1410923"/>
                      <a:gd name="connsiteX449" fmla="*/ 88714 w 4551948"/>
                      <a:gd name="connsiteY449" fmla="*/ 281014 h 1410923"/>
                      <a:gd name="connsiteX450" fmla="*/ 111658 w 4551948"/>
                      <a:gd name="connsiteY450" fmla="*/ 287259 h 1410923"/>
                      <a:gd name="connsiteX451" fmla="*/ 194253 w 4551948"/>
                      <a:gd name="connsiteY451" fmla="*/ 293504 h 1410923"/>
                      <a:gd name="connsiteX452" fmla="*/ 353327 w 4551948"/>
                      <a:gd name="connsiteY452" fmla="*/ 346584 h 1410923"/>
                      <a:gd name="connsiteX453" fmla="*/ 362504 w 4551948"/>
                      <a:gd name="connsiteY453" fmla="*/ 370002 h 1410923"/>
                      <a:gd name="connsiteX454" fmla="*/ 356386 w 4551948"/>
                      <a:gd name="connsiteY454" fmla="*/ 382492 h 1410923"/>
                      <a:gd name="connsiteX455" fmla="*/ 298263 w 4551948"/>
                      <a:gd name="connsiteY455" fmla="*/ 404348 h 1410923"/>
                      <a:gd name="connsiteX456" fmla="*/ 105539 w 4551948"/>
                      <a:gd name="connsiteY456" fmla="*/ 370002 h 1410923"/>
                      <a:gd name="connsiteX457" fmla="*/ 188135 w 4551948"/>
                      <a:gd name="connsiteY457" fmla="*/ 416838 h 1410923"/>
                      <a:gd name="connsiteX458" fmla="*/ 182017 w 4551948"/>
                      <a:gd name="connsiteY458" fmla="*/ 435572 h 1410923"/>
                      <a:gd name="connsiteX459" fmla="*/ 200372 w 4551948"/>
                      <a:gd name="connsiteY459" fmla="*/ 454306 h 1410923"/>
                      <a:gd name="connsiteX460" fmla="*/ 200372 w 4551948"/>
                      <a:gd name="connsiteY460" fmla="*/ 463674 h 1410923"/>
                      <a:gd name="connsiteX461" fmla="*/ 286027 w 4551948"/>
                      <a:gd name="connsiteY461" fmla="*/ 494897 h 1410923"/>
                      <a:gd name="connsiteX462" fmla="*/ 304381 w 4551948"/>
                      <a:gd name="connsiteY462" fmla="*/ 488653 h 1410923"/>
                      <a:gd name="connsiteX463" fmla="*/ 286027 w 4551948"/>
                      <a:gd name="connsiteY463" fmla="*/ 463674 h 1410923"/>
                      <a:gd name="connsiteX464" fmla="*/ 252376 w 4551948"/>
                      <a:gd name="connsiteY464" fmla="*/ 457429 h 1410923"/>
                      <a:gd name="connsiteX465" fmla="*/ 258495 w 4551948"/>
                      <a:gd name="connsiteY465" fmla="*/ 441817 h 1410923"/>
                      <a:gd name="connsiteX466" fmla="*/ 298263 w 4551948"/>
                      <a:gd name="connsiteY466" fmla="*/ 454306 h 1410923"/>
                      <a:gd name="connsiteX467" fmla="*/ 292145 w 4551948"/>
                      <a:gd name="connsiteY467" fmla="*/ 463674 h 1410923"/>
                      <a:gd name="connsiteX468" fmla="*/ 374741 w 4551948"/>
                      <a:gd name="connsiteY468" fmla="*/ 463674 h 1410923"/>
                      <a:gd name="connsiteX469" fmla="*/ 334972 w 4551948"/>
                      <a:gd name="connsiteY469" fmla="*/ 423083 h 1410923"/>
                      <a:gd name="connsiteX470" fmla="*/ 399213 w 4551948"/>
                      <a:gd name="connsiteY470" fmla="*/ 391859 h 1410923"/>
                      <a:gd name="connsiteX471" fmla="*/ 457336 w 4551948"/>
                      <a:gd name="connsiteY471" fmla="*/ 416838 h 1410923"/>
                      <a:gd name="connsiteX472" fmla="*/ 451218 w 4551948"/>
                      <a:gd name="connsiteY472" fmla="*/ 376247 h 1410923"/>
                      <a:gd name="connsiteX473" fmla="*/ 432864 w 4551948"/>
                      <a:gd name="connsiteY473" fmla="*/ 365319 h 1410923"/>
                      <a:gd name="connsiteX474" fmla="*/ 429804 w 4551948"/>
                      <a:gd name="connsiteY474" fmla="*/ 321605 h 1410923"/>
                      <a:gd name="connsiteX475" fmla="*/ 405332 w 4551948"/>
                      <a:gd name="connsiteY475" fmla="*/ 312238 h 1410923"/>
                      <a:gd name="connsiteX476" fmla="*/ 492516 w 4551948"/>
                      <a:gd name="connsiteY476" fmla="*/ 327850 h 1410923"/>
                      <a:gd name="connsiteX477" fmla="*/ 501693 w 4551948"/>
                      <a:gd name="connsiteY477" fmla="*/ 346584 h 1410923"/>
                      <a:gd name="connsiteX478" fmla="*/ 463455 w 4551948"/>
                      <a:gd name="connsiteY478" fmla="*/ 359074 h 1410923"/>
                      <a:gd name="connsiteX479" fmla="*/ 513930 w 4551948"/>
                      <a:gd name="connsiteY479" fmla="*/ 385614 h 1410923"/>
                      <a:gd name="connsiteX480" fmla="*/ 538403 w 4551948"/>
                      <a:gd name="connsiteY480" fmla="*/ 376247 h 1410923"/>
                      <a:gd name="connsiteX481" fmla="*/ 544521 w 4551948"/>
                      <a:gd name="connsiteY481" fmla="*/ 352829 h 1410923"/>
                      <a:gd name="connsiteX482" fmla="*/ 691358 w 4551948"/>
                      <a:gd name="connsiteY482" fmla="*/ 305993 h 1410923"/>
                      <a:gd name="connsiteX483" fmla="*/ 697476 w 4551948"/>
                      <a:gd name="connsiteY483" fmla="*/ 321605 h 1410923"/>
                      <a:gd name="connsiteX484" fmla="*/ 718890 w 4551948"/>
                      <a:gd name="connsiteY484" fmla="*/ 334095 h 1410923"/>
                      <a:gd name="connsiteX485" fmla="*/ 731126 w 4551948"/>
                      <a:gd name="connsiteY485" fmla="*/ 315360 h 1410923"/>
                      <a:gd name="connsiteX486" fmla="*/ 786190 w 4551948"/>
                      <a:gd name="connsiteY486" fmla="*/ 315360 h 1410923"/>
                      <a:gd name="connsiteX487" fmla="*/ 819840 w 4551948"/>
                      <a:gd name="connsiteY487" fmla="*/ 299749 h 1410923"/>
                      <a:gd name="connsiteX488" fmla="*/ 844313 w 4551948"/>
                      <a:gd name="connsiteY488" fmla="*/ 312238 h 1410923"/>
                      <a:gd name="connsiteX489" fmla="*/ 838195 w 4551948"/>
                      <a:gd name="connsiteY489" fmla="*/ 315360 h 1410923"/>
                      <a:gd name="connsiteX490" fmla="*/ 848902 w 4551948"/>
                      <a:gd name="connsiteY490" fmla="*/ 321605 h 1410923"/>
                      <a:gd name="connsiteX491" fmla="*/ 870316 w 4551948"/>
                      <a:gd name="connsiteY491" fmla="*/ 305993 h 1410923"/>
                      <a:gd name="connsiteX492" fmla="*/ 848902 w 4551948"/>
                      <a:gd name="connsiteY492" fmla="*/ 274769 h 1410923"/>
                      <a:gd name="connsiteX493" fmla="*/ 870316 w 4551948"/>
                      <a:gd name="connsiteY493" fmla="*/ 268525 h 1410923"/>
                      <a:gd name="connsiteX494" fmla="*/ 952911 w 4551948"/>
                      <a:gd name="connsiteY494" fmla="*/ 281014 h 1410923"/>
                      <a:gd name="connsiteX495" fmla="*/ 1087512 w 4551948"/>
                      <a:gd name="connsiteY495" fmla="*/ 327850 h 1410923"/>
                      <a:gd name="connsiteX496" fmla="*/ 1099748 w 4551948"/>
                      <a:gd name="connsiteY496" fmla="*/ 305993 h 1410923"/>
                      <a:gd name="connsiteX497" fmla="*/ 1066098 w 4551948"/>
                      <a:gd name="connsiteY497" fmla="*/ 281014 h 1410923"/>
                      <a:gd name="connsiteX498" fmla="*/ 1023271 w 4551948"/>
                      <a:gd name="connsiteY498" fmla="*/ 274769 h 1410923"/>
                      <a:gd name="connsiteX499" fmla="*/ 1017153 w 4551948"/>
                      <a:gd name="connsiteY499" fmla="*/ 237301 h 1410923"/>
                      <a:gd name="connsiteX500" fmla="*/ 995739 w 4551948"/>
                      <a:gd name="connsiteY500" fmla="*/ 234179 h 1410923"/>
                      <a:gd name="connsiteX501" fmla="*/ 995739 w 4551948"/>
                      <a:gd name="connsiteY501" fmla="*/ 221689 h 1410923"/>
                      <a:gd name="connsiteX502" fmla="*/ 1023271 w 4551948"/>
                      <a:gd name="connsiteY502" fmla="*/ 196710 h 1410923"/>
                      <a:gd name="connsiteX503" fmla="*/ 1029389 w 4551948"/>
                      <a:gd name="connsiteY503" fmla="*/ 162364 h 1410923"/>
                      <a:gd name="connsiteX504" fmla="*/ 1118103 w 4551948"/>
                      <a:gd name="connsiteY504" fmla="*/ 165486 h 1410923"/>
                      <a:gd name="connsiteX505" fmla="*/ 1130339 w 4551948"/>
                      <a:gd name="connsiteY505" fmla="*/ 184220 h 1410923"/>
                      <a:gd name="connsiteX506" fmla="*/ 1124221 w 4551948"/>
                      <a:gd name="connsiteY506" fmla="*/ 209199 h 1410923"/>
                      <a:gd name="connsiteX507" fmla="*/ 1157871 w 4551948"/>
                      <a:gd name="connsiteY507" fmla="*/ 234179 h 1410923"/>
                      <a:gd name="connsiteX508" fmla="*/ 1163990 w 4551948"/>
                      <a:gd name="connsiteY508" fmla="*/ 256035 h 1410923"/>
                      <a:gd name="connsiteX509" fmla="*/ 1176226 w 4551948"/>
                      <a:gd name="connsiteY509" fmla="*/ 268525 h 1410923"/>
                      <a:gd name="connsiteX510" fmla="*/ 1188462 w 4551948"/>
                      <a:gd name="connsiteY510" fmla="*/ 299749 h 1410923"/>
                      <a:gd name="connsiteX511" fmla="*/ 1223642 w 4551948"/>
                      <a:gd name="connsiteY511" fmla="*/ 321605 h 1410923"/>
                      <a:gd name="connsiteX512" fmla="*/ 1226701 w 4551948"/>
                      <a:gd name="connsiteY512" fmla="*/ 346584 h 1410923"/>
                      <a:gd name="connsiteX513" fmla="*/ 1212935 w 4551948"/>
                      <a:gd name="connsiteY513" fmla="*/ 376247 h 1410923"/>
                      <a:gd name="connsiteX514" fmla="*/ 1154812 w 4551948"/>
                      <a:gd name="connsiteY514" fmla="*/ 382492 h 1410923"/>
                      <a:gd name="connsiteX515" fmla="*/ 1170108 w 4551948"/>
                      <a:gd name="connsiteY515" fmla="*/ 391859 h 1410923"/>
                      <a:gd name="connsiteX516" fmla="*/ 1226701 w 4551948"/>
                      <a:gd name="connsiteY516" fmla="*/ 398104 h 1410923"/>
                      <a:gd name="connsiteX517" fmla="*/ 1275647 w 4551948"/>
                      <a:gd name="connsiteY517" fmla="*/ 346584 h 1410923"/>
                      <a:gd name="connsiteX518" fmla="*/ 1251174 w 4551948"/>
                      <a:gd name="connsiteY518" fmla="*/ 321605 h 1410923"/>
                      <a:gd name="connsiteX519" fmla="*/ 1251174 w 4551948"/>
                      <a:gd name="connsiteY519" fmla="*/ 312238 h 1410923"/>
                      <a:gd name="connsiteX520" fmla="*/ 1297061 w 4551948"/>
                      <a:gd name="connsiteY520" fmla="*/ 305993 h 1410923"/>
                      <a:gd name="connsiteX521" fmla="*/ 1327652 w 4551948"/>
                      <a:gd name="connsiteY521" fmla="*/ 315360 h 1410923"/>
                      <a:gd name="connsiteX522" fmla="*/ 1339888 w 4551948"/>
                      <a:gd name="connsiteY522" fmla="*/ 346584 h 1410923"/>
                      <a:gd name="connsiteX523" fmla="*/ 1352125 w 4551948"/>
                      <a:gd name="connsiteY523" fmla="*/ 346584 h 1410923"/>
                      <a:gd name="connsiteX524" fmla="*/ 1346006 w 4551948"/>
                      <a:gd name="connsiteY524" fmla="*/ 334095 h 1410923"/>
                      <a:gd name="connsiteX525" fmla="*/ 1358243 w 4551948"/>
                      <a:gd name="connsiteY525" fmla="*/ 327850 h 1410923"/>
                      <a:gd name="connsiteX526" fmla="*/ 1333770 w 4551948"/>
                      <a:gd name="connsiteY526" fmla="*/ 305993 h 1410923"/>
                      <a:gd name="connsiteX527" fmla="*/ 1217524 w 4551948"/>
                      <a:gd name="connsiteY527" fmla="*/ 293504 h 1410923"/>
                      <a:gd name="connsiteX528" fmla="*/ 1217524 w 4551948"/>
                      <a:gd name="connsiteY528" fmla="*/ 287259 h 1410923"/>
                      <a:gd name="connsiteX529" fmla="*/ 1200699 w 4551948"/>
                      <a:gd name="connsiteY529" fmla="*/ 268525 h 1410923"/>
                      <a:gd name="connsiteX530" fmla="*/ 1206817 w 4551948"/>
                      <a:gd name="connsiteY530" fmla="*/ 237301 h 1410923"/>
                      <a:gd name="connsiteX531" fmla="*/ 1154812 w 4551948"/>
                      <a:gd name="connsiteY531" fmla="*/ 209199 h 1410923"/>
                      <a:gd name="connsiteX532" fmla="*/ 1188462 w 4551948"/>
                      <a:gd name="connsiteY532" fmla="*/ 177976 h 1410923"/>
                      <a:gd name="connsiteX533" fmla="*/ 1170108 w 4551948"/>
                      <a:gd name="connsiteY533" fmla="*/ 165486 h 1410923"/>
                      <a:gd name="connsiteX534" fmla="*/ 1200699 w 4551948"/>
                      <a:gd name="connsiteY534" fmla="*/ 171731 h 1410923"/>
                      <a:gd name="connsiteX535" fmla="*/ 1200699 w 4551948"/>
                      <a:gd name="connsiteY535" fmla="*/ 190465 h 1410923"/>
                      <a:gd name="connsiteX536" fmla="*/ 1217524 w 4551948"/>
                      <a:gd name="connsiteY536" fmla="*/ 215444 h 1410923"/>
                      <a:gd name="connsiteX537" fmla="*/ 1309297 w 4551948"/>
                      <a:gd name="connsiteY537" fmla="*/ 227934 h 1410923"/>
                      <a:gd name="connsiteX538" fmla="*/ 1223642 w 4551948"/>
                      <a:gd name="connsiteY538" fmla="*/ 196710 h 1410923"/>
                      <a:gd name="connsiteX539" fmla="*/ 1257292 w 4551948"/>
                      <a:gd name="connsiteY539" fmla="*/ 202955 h 1410923"/>
                      <a:gd name="connsiteX540" fmla="*/ 1275647 w 4551948"/>
                      <a:gd name="connsiteY540" fmla="*/ 190465 h 1410923"/>
                      <a:gd name="connsiteX541" fmla="*/ 1251174 w 4551948"/>
                      <a:gd name="connsiteY541" fmla="*/ 184220 h 1410923"/>
                      <a:gd name="connsiteX542" fmla="*/ 1297061 w 4551948"/>
                      <a:gd name="connsiteY542" fmla="*/ 177976 h 1410923"/>
                      <a:gd name="connsiteX543" fmla="*/ 1370479 w 4551948"/>
                      <a:gd name="connsiteY543" fmla="*/ 202955 h 1410923"/>
                      <a:gd name="connsiteX544" fmla="*/ 1416366 w 4551948"/>
                      <a:gd name="connsiteY544" fmla="*/ 209199 h 1410923"/>
                      <a:gd name="connsiteX545" fmla="*/ 1404129 w 4551948"/>
                      <a:gd name="connsiteY545" fmla="*/ 221689 h 1410923"/>
                      <a:gd name="connsiteX546" fmla="*/ 1428602 w 4551948"/>
                      <a:gd name="connsiteY546" fmla="*/ 256035 h 1410923"/>
                      <a:gd name="connsiteX547" fmla="*/ 1456134 w 4551948"/>
                      <a:gd name="connsiteY547" fmla="*/ 262280 h 1410923"/>
                      <a:gd name="connsiteX548" fmla="*/ 1462252 w 4551948"/>
                      <a:gd name="connsiteY548" fmla="*/ 249790 h 1410923"/>
                      <a:gd name="connsiteX549" fmla="*/ 1428602 w 4551948"/>
                      <a:gd name="connsiteY549" fmla="*/ 221689 h 1410923"/>
                      <a:gd name="connsiteX550" fmla="*/ 1434720 w 4551948"/>
                      <a:gd name="connsiteY550" fmla="*/ 209199 h 1410923"/>
                      <a:gd name="connsiteX551" fmla="*/ 1422484 w 4551948"/>
                      <a:gd name="connsiteY551" fmla="*/ 196710 h 1410923"/>
                      <a:gd name="connsiteX552" fmla="*/ 1339888 w 4551948"/>
                      <a:gd name="connsiteY552" fmla="*/ 177976 h 1410923"/>
                      <a:gd name="connsiteX553" fmla="*/ 1327652 w 4551948"/>
                      <a:gd name="connsiteY553" fmla="*/ 162364 h 1410923"/>
                      <a:gd name="connsiteX554" fmla="*/ 1309297 w 4551948"/>
                      <a:gd name="connsiteY554" fmla="*/ 149874 h 1410923"/>
                      <a:gd name="connsiteX555" fmla="*/ 1315415 w 4551948"/>
                      <a:gd name="connsiteY555" fmla="*/ 137385 h 1410923"/>
                      <a:gd name="connsiteX556" fmla="*/ 1450016 w 4551948"/>
                      <a:gd name="connsiteY556" fmla="*/ 124895 h 1410923"/>
                      <a:gd name="connsiteX557" fmla="*/ 1450016 w 4551948"/>
                      <a:gd name="connsiteY557" fmla="*/ 118650 h 1410923"/>
                      <a:gd name="connsiteX558" fmla="*/ 1443898 w 4551948"/>
                      <a:gd name="connsiteY558" fmla="*/ 112406 h 1410923"/>
                      <a:gd name="connsiteX559" fmla="*/ 1416366 w 4551948"/>
                      <a:gd name="connsiteY559" fmla="*/ 106161 h 1410923"/>
                      <a:gd name="connsiteX560" fmla="*/ 1443898 w 4551948"/>
                      <a:gd name="connsiteY560" fmla="*/ 90549 h 1410923"/>
                      <a:gd name="connsiteX561" fmla="*/ 1428602 w 4551948"/>
                      <a:gd name="connsiteY561" fmla="*/ 84304 h 1410923"/>
                      <a:gd name="connsiteX562" fmla="*/ 1563203 w 4551948"/>
                      <a:gd name="connsiteY562" fmla="*/ 59325 h 1410923"/>
                      <a:gd name="connsiteX563" fmla="*/ 1544848 w 4551948"/>
                      <a:gd name="connsiteY563" fmla="*/ 53080 h 1410923"/>
                      <a:gd name="connsiteX564" fmla="*/ 1619796 w 4551948"/>
                      <a:gd name="connsiteY564" fmla="*/ 53080 h 1410923"/>
                      <a:gd name="connsiteX565" fmla="*/ 1619796 w 4551948"/>
                      <a:gd name="connsiteY565" fmla="*/ 59325 h 1410923"/>
                      <a:gd name="connsiteX566" fmla="*/ 1638151 w 4551948"/>
                      <a:gd name="connsiteY566" fmla="*/ 59325 h 1410923"/>
                      <a:gd name="connsiteX567" fmla="*/ 1677919 w 4551948"/>
                      <a:gd name="connsiteY567" fmla="*/ 46836 h 1410923"/>
                      <a:gd name="connsiteX568" fmla="*/ 1714628 w 4551948"/>
                      <a:gd name="connsiteY568" fmla="*/ 53080 h 1410923"/>
                      <a:gd name="connsiteX569" fmla="*/ 1708510 w 4551948"/>
                      <a:gd name="connsiteY569" fmla="*/ 46836 h 1410923"/>
                      <a:gd name="connsiteX570" fmla="*/ 1677919 w 4551948"/>
                      <a:gd name="connsiteY570" fmla="*/ 40591 h 1410923"/>
                      <a:gd name="connsiteX571" fmla="*/ 1732983 w 4551948"/>
                      <a:gd name="connsiteY571" fmla="*/ 34346 h 1410923"/>
                      <a:gd name="connsiteX572" fmla="*/ 1714628 w 4551948"/>
                      <a:gd name="connsiteY572" fmla="*/ 28101 h 1410923"/>
                      <a:gd name="connsiteX573" fmla="*/ 1720747 w 4551948"/>
                      <a:gd name="connsiteY573" fmla="*/ 15612 h 141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Lst>
                    <a:rect l="l" t="t" r="r" b="b"/>
                    <a:pathLst>
                      <a:path w="4551948" h="1410923">
                        <a:moveTo>
                          <a:pt x="1760515" y="0"/>
                        </a:moveTo>
                        <a:lnTo>
                          <a:pt x="1824756" y="12489"/>
                        </a:lnTo>
                        <a:lnTo>
                          <a:pt x="1797224" y="21857"/>
                        </a:lnTo>
                        <a:lnTo>
                          <a:pt x="1867584" y="21857"/>
                        </a:lnTo>
                        <a:lnTo>
                          <a:pt x="1861465" y="40591"/>
                        </a:lnTo>
                        <a:lnTo>
                          <a:pt x="1970064" y="28101"/>
                        </a:lnTo>
                        <a:lnTo>
                          <a:pt x="2064896" y="59325"/>
                        </a:lnTo>
                        <a:lnTo>
                          <a:pt x="2071014" y="71815"/>
                        </a:lnTo>
                        <a:lnTo>
                          <a:pt x="2083251" y="71815"/>
                        </a:lnTo>
                        <a:lnTo>
                          <a:pt x="2083251" y="90549"/>
                        </a:lnTo>
                        <a:lnTo>
                          <a:pt x="1944061" y="171731"/>
                        </a:lnTo>
                        <a:lnTo>
                          <a:pt x="2000655" y="162364"/>
                        </a:lnTo>
                        <a:lnTo>
                          <a:pt x="1988418" y="156119"/>
                        </a:lnTo>
                        <a:lnTo>
                          <a:pt x="2046541" y="137385"/>
                        </a:lnTo>
                        <a:lnTo>
                          <a:pt x="2034305" y="131140"/>
                        </a:lnTo>
                        <a:lnTo>
                          <a:pt x="2040423" y="118650"/>
                        </a:lnTo>
                        <a:lnTo>
                          <a:pt x="2077132" y="118650"/>
                        </a:lnTo>
                        <a:lnTo>
                          <a:pt x="2083251" y="131140"/>
                        </a:lnTo>
                        <a:lnTo>
                          <a:pt x="2116901" y="137385"/>
                        </a:lnTo>
                        <a:lnTo>
                          <a:pt x="2110782" y="118650"/>
                        </a:lnTo>
                        <a:lnTo>
                          <a:pt x="2159728" y="149874"/>
                        </a:lnTo>
                        <a:lnTo>
                          <a:pt x="2193378" y="149874"/>
                        </a:lnTo>
                        <a:lnTo>
                          <a:pt x="2147492" y="137385"/>
                        </a:lnTo>
                        <a:lnTo>
                          <a:pt x="2199497" y="137385"/>
                        </a:lnTo>
                        <a:lnTo>
                          <a:pt x="2288211" y="143629"/>
                        </a:lnTo>
                        <a:lnTo>
                          <a:pt x="2294329" y="149874"/>
                        </a:lnTo>
                        <a:lnTo>
                          <a:pt x="2363159" y="162364"/>
                        </a:lnTo>
                        <a:lnTo>
                          <a:pt x="2415163" y="156119"/>
                        </a:lnTo>
                        <a:lnTo>
                          <a:pt x="2390691" y="131140"/>
                        </a:lnTo>
                        <a:lnTo>
                          <a:pt x="2396809" y="131140"/>
                        </a:lnTo>
                        <a:lnTo>
                          <a:pt x="2528350" y="143629"/>
                        </a:lnTo>
                        <a:lnTo>
                          <a:pt x="2580355" y="156119"/>
                        </a:lnTo>
                        <a:lnTo>
                          <a:pt x="2592591" y="171731"/>
                        </a:lnTo>
                        <a:lnTo>
                          <a:pt x="2614005" y="184220"/>
                        </a:lnTo>
                        <a:lnTo>
                          <a:pt x="2601769" y="196710"/>
                        </a:lnTo>
                        <a:lnTo>
                          <a:pt x="2614005" y="202955"/>
                        </a:lnTo>
                        <a:lnTo>
                          <a:pt x="2719544" y="237301"/>
                        </a:lnTo>
                        <a:lnTo>
                          <a:pt x="2708837" y="196710"/>
                        </a:lnTo>
                        <a:lnTo>
                          <a:pt x="2747076" y="215444"/>
                        </a:lnTo>
                        <a:lnTo>
                          <a:pt x="2796022" y="202955"/>
                        </a:lnTo>
                        <a:lnTo>
                          <a:pt x="2878618" y="221689"/>
                        </a:lnTo>
                        <a:lnTo>
                          <a:pt x="2918386" y="215444"/>
                        </a:lnTo>
                        <a:lnTo>
                          <a:pt x="2884736" y="190465"/>
                        </a:lnTo>
                        <a:lnTo>
                          <a:pt x="2893913" y="171731"/>
                        </a:lnTo>
                        <a:lnTo>
                          <a:pt x="2884736" y="165486"/>
                        </a:lnTo>
                        <a:lnTo>
                          <a:pt x="2884736" y="162364"/>
                        </a:lnTo>
                        <a:lnTo>
                          <a:pt x="3127935" y="184220"/>
                        </a:lnTo>
                        <a:lnTo>
                          <a:pt x="3164644" y="196710"/>
                        </a:lnTo>
                        <a:lnTo>
                          <a:pt x="3146289" y="202955"/>
                        </a:lnTo>
                        <a:lnTo>
                          <a:pt x="3222767" y="215444"/>
                        </a:lnTo>
                        <a:lnTo>
                          <a:pt x="3256417" y="221689"/>
                        </a:lnTo>
                        <a:lnTo>
                          <a:pt x="3247240" y="227934"/>
                        </a:lnTo>
                        <a:lnTo>
                          <a:pt x="3274772" y="234179"/>
                        </a:lnTo>
                        <a:lnTo>
                          <a:pt x="3439963" y="227934"/>
                        </a:lnTo>
                        <a:lnTo>
                          <a:pt x="3490439" y="249790"/>
                        </a:lnTo>
                        <a:lnTo>
                          <a:pt x="3514911" y="274769"/>
                        </a:lnTo>
                        <a:lnTo>
                          <a:pt x="3573035" y="287259"/>
                        </a:lnTo>
                        <a:lnTo>
                          <a:pt x="3631157" y="274769"/>
                        </a:lnTo>
                        <a:lnTo>
                          <a:pt x="3667867" y="281014"/>
                        </a:lnTo>
                        <a:lnTo>
                          <a:pt x="3732108" y="274769"/>
                        </a:lnTo>
                        <a:lnTo>
                          <a:pt x="3771876" y="293504"/>
                        </a:lnTo>
                        <a:lnTo>
                          <a:pt x="3840706" y="312238"/>
                        </a:lnTo>
                        <a:lnTo>
                          <a:pt x="3852943" y="299749"/>
                        </a:lnTo>
                        <a:lnTo>
                          <a:pt x="3802467" y="274769"/>
                        </a:lnTo>
                        <a:lnTo>
                          <a:pt x="3802467" y="262280"/>
                        </a:lnTo>
                        <a:lnTo>
                          <a:pt x="3953893" y="268525"/>
                        </a:lnTo>
                        <a:lnTo>
                          <a:pt x="4106848" y="305993"/>
                        </a:lnTo>
                        <a:lnTo>
                          <a:pt x="4119085" y="305993"/>
                        </a:lnTo>
                        <a:lnTo>
                          <a:pt x="4267451" y="340339"/>
                        </a:lnTo>
                        <a:lnTo>
                          <a:pt x="4298043" y="346584"/>
                        </a:lnTo>
                        <a:lnTo>
                          <a:pt x="4350047" y="370002"/>
                        </a:lnTo>
                        <a:lnTo>
                          <a:pt x="4368401" y="370002"/>
                        </a:lnTo>
                        <a:lnTo>
                          <a:pt x="4398993" y="376247"/>
                        </a:lnTo>
                        <a:lnTo>
                          <a:pt x="4432643" y="376247"/>
                        </a:lnTo>
                        <a:lnTo>
                          <a:pt x="4509121" y="404348"/>
                        </a:lnTo>
                        <a:lnTo>
                          <a:pt x="4539711" y="404348"/>
                        </a:lnTo>
                        <a:lnTo>
                          <a:pt x="4503003" y="435572"/>
                        </a:lnTo>
                        <a:lnTo>
                          <a:pt x="4527475" y="448062"/>
                        </a:lnTo>
                        <a:lnTo>
                          <a:pt x="4515239" y="454306"/>
                        </a:lnTo>
                        <a:lnTo>
                          <a:pt x="4551948" y="469918"/>
                        </a:lnTo>
                        <a:lnTo>
                          <a:pt x="4545830" y="476163"/>
                        </a:lnTo>
                        <a:lnTo>
                          <a:pt x="4509121" y="469918"/>
                        </a:lnTo>
                        <a:lnTo>
                          <a:pt x="4463234" y="454306"/>
                        </a:lnTo>
                        <a:lnTo>
                          <a:pt x="4450997" y="454306"/>
                        </a:lnTo>
                        <a:lnTo>
                          <a:pt x="4374520" y="423083"/>
                        </a:lnTo>
                        <a:lnTo>
                          <a:pt x="4322515" y="423083"/>
                        </a:lnTo>
                        <a:lnTo>
                          <a:pt x="4279687" y="404348"/>
                        </a:lnTo>
                        <a:lnTo>
                          <a:pt x="4279687" y="391859"/>
                        </a:lnTo>
                        <a:lnTo>
                          <a:pt x="4252155" y="404348"/>
                        </a:lnTo>
                        <a:lnTo>
                          <a:pt x="4298043" y="429327"/>
                        </a:lnTo>
                        <a:lnTo>
                          <a:pt x="4304161" y="448062"/>
                        </a:lnTo>
                        <a:lnTo>
                          <a:pt x="4285806" y="463674"/>
                        </a:lnTo>
                        <a:lnTo>
                          <a:pt x="4246037" y="457429"/>
                        </a:lnTo>
                        <a:lnTo>
                          <a:pt x="4267451" y="469918"/>
                        </a:lnTo>
                        <a:lnTo>
                          <a:pt x="4291924" y="469918"/>
                        </a:lnTo>
                        <a:lnTo>
                          <a:pt x="4304161" y="482408"/>
                        </a:lnTo>
                        <a:lnTo>
                          <a:pt x="4386757" y="526121"/>
                        </a:lnTo>
                        <a:lnTo>
                          <a:pt x="4405111" y="535488"/>
                        </a:lnTo>
                        <a:lnTo>
                          <a:pt x="4411229" y="547978"/>
                        </a:lnTo>
                        <a:lnTo>
                          <a:pt x="4328633" y="532366"/>
                        </a:lnTo>
                        <a:lnTo>
                          <a:pt x="4343929" y="541733"/>
                        </a:lnTo>
                        <a:lnTo>
                          <a:pt x="4273569" y="572957"/>
                        </a:lnTo>
                        <a:lnTo>
                          <a:pt x="4252155" y="626037"/>
                        </a:lnTo>
                        <a:lnTo>
                          <a:pt x="4264392" y="644772"/>
                        </a:lnTo>
                        <a:lnTo>
                          <a:pt x="4215447" y="619792"/>
                        </a:lnTo>
                        <a:lnTo>
                          <a:pt x="4171089" y="613548"/>
                        </a:lnTo>
                        <a:lnTo>
                          <a:pt x="4146617" y="626037"/>
                        </a:lnTo>
                        <a:lnTo>
                          <a:pt x="4146617" y="651016"/>
                        </a:lnTo>
                        <a:lnTo>
                          <a:pt x="4119085" y="619792"/>
                        </a:lnTo>
                        <a:lnTo>
                          <a:pt x="4112967" y="651016"/>
                        </a:lnTo>
                        <a:lnTo>
                          <a:pt x="4070139" y="644772"/>
                        </a:lnTo>
                        <a:lnTo>
                          <a:pt x="4094612" y="710342"/>
                        </a:lnTo>
                        <a:lnTo>
                          <a:pt x="4119085" y="735321"/>
                        </a:lnTo>
                        <a:lnTo>
                          <a:pt x="4146617" y="729076"/>
                        </a:lnTo>
                        <a:lnTo>
                          <a:pt x="4158853" y="754055"/>
                        </a:lnTo>
                        <a:lnTo>
                          <a:pt x="4209329" y="794646"/>
                        </a:lnTo>
                        <a:lnTo>
                          <a:pt x="4209329" y="800891"/>
                        </a:lnTo>
                        <a:lnTo>
                          <a:pt x="4195563" y="794646"/>
                        </a:lnTo>
                        <a:lnTo>
                          <a:pt x="4177208" y="788401"/>
                        </a:lnTo>
                        <a:lnTo>
                          <a:pt x="4195563" y="824309"/>
                        </a:lnTo>
                        <a:lnTo>
                          <a:pt x="4233801" y="852410"/>
                        </a:lnTo>
                        <a:lnTo>
                          <a:pt x="4195563" y="883634"/>
                        </a:lnTo>
                        <a:lnTo>
                          <a:pt x="4227683" y="917980"/>
                        </a:lnTo>
                        <a:lnTo>
                          <a:pt x="4195563" y="924225"/>
                        </a:lnTo>
                        <a:lnTo>
                          <a:pt x="4221565" y="974183"/>
                        </a:lnTo>
                        <a:lnTo>
                          <a:pt x="4209329" y="1008529"/>
                        </a:lnTo>
                        <a:lnTo>
                          <a:pt x="4005898" y="824309"/>
                        </a:lnTo>
                        <a:lnTo>
                          <a:pt x="3966129" y="775912"/>
                        </a:lnTo>
                        <a:lnTo>
                          <a:pt x="3981425" y="757177"/>
                        </a:lnTo>
                        <a:lnTo>
                          <a:pt x="3953893" y="729076"/>
                        </a:lnTo>
                        <a:lnTo>
                          <a:pt x="3987543" y="722831"/>
                        </a:lnTo>
                        <a:lnTo>
                          <a:pt x="3993661" y="626037"/>
                        </a:lnTo>
                        <a:lnTo>
                          <a:pt x="4030371" y="607303"/>
                        </a:lnTo>
                        <a:lnTo>
                          <a:pt x="3981425" y="554222"/>
                        </a:lnTo>
                        <a:lnTo>
                          <a:pt x="3993661" y="547978"/>
                        </a:lnTo>
                        <a:lnTo>
                          <a:pt x="3953893" y="541733"/>
                        </a:lnTo>
                        <a:lnTo>
                          <a:pt x="3953893" y="554222"/>
                        </a:lnTo>
                        <a:lnTo>
                          <a:pt x="3981425" y="579202"/>
                        </a:lnTo>
                        <a:lnTo>
                          <a:pt x="3960011" y="579202"/>
                        </a:lnTo>
                        <a:lnTo>
                          <a:pt x="3935539" y="619792"/>
                        </a:lnTo>
                        <a:lnTo>
                          <a:pt x="3923302" y="604181"/>
                        </a:lnTo>
                        <a:lnTo>
                          <a:pt x="3911065" y="604181"/>
                        </a:lnTo>
                        <a:lnTo>
                          <a:pt x="3901888" y="591691"/>
                        </a:lnTo>
                        <a:lnTo>
                          <a:pt x="3883533" y="566712"/>
                        </a:lnTo>
                        <a:lnTo>
                          <a:pt x="3808585" y="572957"/>
                        </a:lnTo>
                        <a:lnTo>
                          <a:pt x="3796857" y="641792"/>
                        </a:lnTo>
                        <a:lnTo>
                          <a:pt x="3799982" y="641792"/>
                        </a:lnTo>
                        <a:lnTo>
                          <a:pt x="3793861" y="648071"/>
                        </a:lnTo>
                        <a:lnTo>
                          <a:pt x="3812226" y="660628"/>
                        </a:lnTo>
                        <a:lnTo>
                          <a:pt x="3838244" y="666907"/>
                        </a:lnTo>
                        <a:lnTo>
                          <a:pt x="3844366" y="673185"/>
                        </a:lnTo>
                        <a:lnTo>
                          <a:pt x="3754068" y="682603"/>
                        </a:lnTo>
                        <a:lnTo>
                          <a:pt x="3735703" y="673185"/>
                        </a:lnTo>
                        <a:lnTo>
                          <a:pt x="3760190" y="673185"/>
                        </a:lnTo>
                        <a:lnTo>
                          <a:pt x="3653057" y="648071"/>
                        </a:lnTo>
                        <a:lnTo>
                          <a:pt x="3653057" y="673185"/>
                        </a:lnTo>
                        <a:lnTo>
                          <a:pt x="3481645" y="666907"/>
                        </a:lnTo>
                        <a:lnTo>
                          <a:pt x="3455627" y="707718"/>
                        </a:lnTo>
                        <a:lnTo>
                          <a:pt x="3400529" y="850556"/>
                        </a:lnTo>
                        <a:lnTo>
                          <a:pt x="3455627" y="856835"/>
                        </a:lnTo>
                        <a:lnTo>
                          <a:pt x="3481645" y="894507"/>
                        </a:lnTo>
                        <a:lnTo>
                          <a:pt x="3487766" y="869392"/>
                        </a:lnTo>
                        <a:lnTo>
                          <a:pt x="3500010" y="900785"/>
                        </a:lnTo>
                        <a:lnTo>
                          <a:pt x="3530619" y="881949"/>
                        </a:lnTo>
                        <a:lnTo>
                          <a:pt x="3524498" y="869392"/>
                        </a:lnTo>
                        <a:lnTo>
                          <a:pt x="3558168" y="869392"/>
                        </a:lnTo>
                        <a:lnTo>
                          <a:pt x="3640813" y="910203"/>
                        </a:lnTo>
                        <a:lnTo>
                          <a:pt x="3646935" y="929039"/>
                        </a:lnTo>
                        <a:lnTo>
                          <a:pt x="3683667" y="960432"/>
                        </a:lnTo>
                        <a:lnTo>
                          <a:pt x="3692849" y="1020079"/>
                        </a:lnTo>
                        <a:lnTo>
                          <a:pt x="3723459" y="1045193"/>
                        </a:lnTo>
                        <a:lnTo>
                          <a:pt x="3754068" y="1111119"/>
                        </a:lnTo>
                        <a:lnTo>
                          <a:pt x="3711215" y="1326162"/>
                        </a:lnTo>
                        <a:lnTo>
                          <a:pt x="3665301" y="1354416"/>
                        </a:lnTo>
                        <a:lnTo>
                          <a:pt x="3634691" y="1348137"/>
                        </a:lnTo>
                        <a:lnTo>
                          <a:pt x="3622448" y="1332440"/>
                        </a:lnTo>
                        <a:lnTo>
                          <a:pt x="3619387" y="1338719"/>
                        </a:lnTo>
                        <a:lnTo>
                          <a:pt x="3607143" y="1326162"/>
                        </a:lnTo>
                        <a:lnTo>
                          <a:pt x="3588777" y="1366973"/>
                        </a:lnTo>
                        <a:lnTo>
                          <a:pt x="3576534" y="1360694"/>
                        </a:lnTo>
                        <a:lnTo>
                          <a:pt x="3582655" y="1326162"/>
                        </a:lnTo>
                        <a:lnTo>
                          <a:pt x="3542863" y="1269654"/>
                        </a:lnTo>
                        <a:lnTo>
                          <a:pt x="3558168" y="1247679"/>
                        </a:lnTo>
                        <a:lnTo>
                          <a:pt x="3607143" y="1253958"/>
                        </a:lnTo>
                        <a:lnTo>
                          <a:pt x="3582655" y="1158209"/>
                        </a:lnTo>
                        <a:lnTo>
                          <a:pt x="3594899" y="1145651"/>
                        </a:lnTo>
                        <a:lnTo>
                          <a:pt x="3570412" y="1111119"/>
                        </a:lnTo>
                        <a:lnTo>
                          <a:pt x="3472461" y="1139373"/>
                        </a:lnTo>
                        <a:lnTo>
                          <a:pt x="3418895" y="1092283"/>
                        </a:lnTo>
                        <a:lnTo>
                          <a:pt x="3302579" y="1060890"/>
                        </a:lnTo>
                        <a:lnTo>
                          <a:pt x="3259726" y="1007522"/>
                        </a:lnTo>
                        <a:lnTo>
                          <a:pt x="3149532" y="922760"/>
                        </a:lnTo>
                        <a:lnTo>
                          <a:pt x="3074539" y="903924"/>
                        </a:lnTo>
                        <a:lnTo>
                          <a:pt x="2998016" y="910203"/>
                        </a:lnTo>
                        <a:lnTo>
                          <a:pt x="2985772" y="935318"/>
                        </a:lnTo>
                        <a:lnTo>
                          <a:pt x="3010259" y="941596"/>
                        </a:lnTo>
                        <a:lnTo>
                          <a:pt x="3028625" y="966711"/>
                        </a:lnTo>
                        <a:lnTo>
                          <a:pt x="3010259" y="982407"/>
                        </a:lnTo>
                        <a:lnTo>
                          <a:pt x="3022503" y="1045193"/>
                        </a:lnTo>
                        <a:lnTo>
                          <a:pt x="2991894" y="1060890"/>
                        </a:lnTo>
                        <a:lnTo>
                          <a:pt x="2933736" y="1048333"/>
                        </a:lnTo>
                        <a:lnTo>
                          <a:pt x="2869456" y="1038915"/>
                        </a:lnTo>
                        <a:lnTo>
                          <a:pt x="2832725" y="1060890"/>
                        </a:lnTo>
                        <a:lnTo>
                          <a:pt x="2747019" y="1079726"/>
                        </a:lnTo>
                        <a:lnTo>
                          <a:pt x="2571015" y="1020079"/>
                        </a:lnTo>
                        <a:lnTo>
                          <a:pt x="2488369" y="1032636"/>
                        </a:lnTo>
                        <a:lnTo>
                          <a:pt x="2457760" y="1013800"/>
                        </a:lnTo>
                        <a:lnTo>
                          <a:pt x="2436333" y="982407"/>
                        </a:lnTo>
                        <a:lnTo>
                          <a:pt x="2336853" y="960432"/>
                        </a:lnTo>
                        <a:lnTo>
                          <a:pt x="2309304" y="988686"/>
                        </a:lnTo>
                        <a:lnTo>
                          <a:pt x="2330731" y="1020079"/>
                        </a:lnTo>
                        <a:lnTo>
                          <a:pt x="2330731" y="1045193"/>
                        </a:lnTo>
                        <a:lnTo>
                          <a:pt x="2238902" y="1048333"/>
                        </a:lnTo>
                        <a:lnTo>
                          <a:pt x="2208293" y="1032636"/>
                        </a:lnTo>
                        <a:lnTo>
                          <a:pt x="2125648" y="1020079"/>
                        </a:lnTo>
                        <a:lnTo>
                          <a:pt x="2030758" y="1067169"/>
                        </a:lnTo>
                        <a:lnTo>
                          <a:pt x="2024637" y="1092283"/>
                        </a:lnTo>
                        <a:lnTo>
                          <a:pt x="1990966" y="1104840"/>
                        </a:lnTo>
                        <a:lnTo>
                          <a:pt x="1990966" y="1086004"/>
                        </a:lnTo>
                        <a:lnTo>
                          <a:pt x="1997088" y="1073447"/>
                        </a:lnTo>
                        <a:lnTo>
                          <a:pt x="1972601" y="1048333"/>
                        </a:lnTo>
                        <a:lnTo>
                          <a:pt x="1961887" y="1054611"/>
                        </a:lnTo>
                        <a:lnTo>
                          <a:pt x="1961887" y="1060890"/>
                        </a:lnTo>
                        <a:lnTo>
                          <a:pt x="1928217" y="1054611"/>
                        </a:lnTo>
                        <a:lnTo>
                          <a:pt x="1903729" y="1032636"/>
                        </a:lnTo>
                        <a:lnTo>
                          <a:pt x="1885364" y="1026358"/>
                        </a:lnTo>
                        <a:lnTo>
                          <a:pt x="1876181" y="1013800"/>
                        </a:lnTo>
                        <a:lnTo>
                          <a:pt x="1851693" y="994964"/>
                        </a:lnTo>
                        <a:lnTo>
                          <a:pt x="1839450" y="994964"/>
                        </a:lnTo>
                        <a:lnTo>
                          <a:pt x="1833328" y="1001243"/>
                        </a:lnTo>
                        <a:lnTo>
                          <a:pt x="1827206" y="1001243"/>
                        </a:lnTo>
                        <a:lnTo>
                          <a:pt x="1827206" y="1007522"/>
                        </a:lnTo>
                        <a:lnTo>
                          <a:pt x="1787414" y="1007522"/>
                        </a:lnTo>
                        <a:lnTo>
                          <a:pt x="1775170" y="994964"/>
                        </a:lnTo>
                        <a:lnTo>
                          <a:pt x="1756804" y="982407"/>
                        </a:lnTo>
                        <a:lnTo>
                          <a:pt x="1750682" y="988686"/>
                        </a:lnTo>
                        <a:lnTo>
                          <a:pt x="1750682" y="1001243"/>
                        </a:lnTo>
                        <a:lnTo>
                          <a:pt x="1744560" y="1007522"/>
                        </a:lnTo>
                        <a:lnTo>
                          <a:pt x="1634367" y="903924"/>
                        </a:lnTo>
                        <a:lnTo>
                          <a:pt x="1577739" y="875671"/>
                        </a:lnTo>
                        <a:lnTo>
                          <a:pt x="1577739" y="869392"/>
                        </a:lnTo>
                        <a:lnTo>
                          <a:pt x="1583861" y="863113"/>
                        </a:lnTo>
                        <a:lnTo>
                          <a:pt x="1577739" y="856835"/>
                        </a:lnTo>
                        <a:lnTo>
                          <a:pt x="1547130" y="863113"/>
                        </a:lnTo>
                        <a:lnTo>
                          <a:pt x="1534886" y="881949"/>
                        </a:lnTo>
                        <a:lnTo>
                          <a:pt x="1516520" y="888228"/>
                        </a:lnTo>
                        <a:lnTo>
                          <a:pt x="1516520" y="894507"/>
                        </a:lnTo>
                        <a:lnTo>
                          <a:pt x="1501216" y="888228"/>
                        </a:lnTo>
                        <a:lnTo>
                          <a:pt x="1488972" y="894507"/>
                        </a:lnTo>
                        <a:lnTo>
                          <a:pt x="1482850" y="888228"/>
                        </a:lnTo>
                        <a:lnTo>
                          <a:pt x="1488972" y="875671"/>
                        </a:lnTo>
                        <a:lnTo>
                          <a:pt x="1488972" y="869392"/>
                        </a:lnTo>
                        <a:lnTo>
                          <a:pt x="1476728" y="875671"/>
                        </a:lnTo>
                        <a:lnTo>
                          <a:pt x="1452241" y="869392"/>
                        </a:lnTo>
                        <a:lnTo>
                          <a:pt x="1458362" y="875671"/>
                        </a:lnTo>
                        <a:lnTo>
                          <a:pt x="1446119" y="875671"/>
                        </a:lnTo>
                        <a:lnTo>
                          <a:pt x="1446119" y="869392"/>
                        </a:lnTo>
                        <a:lnTo>
                          <a:pt x="1436936" y="856835"/>
                        </a:lnTo>
                        <a:lnTo>
                          <a:pt x="1436936" y="863113"/>
                        </a:lnTo>
                        <a:lnTo>
                          <a:pt x="1406326" y="869392"/>
                        </a:lnTo>
                        <a:lnTo>
                          <a:pt x="1400205" y="863113"/>
                        </a:lnTo>
                        <a:lnTo>
                          <a:pt x="1400205" y="844278"/>
                        </a:lnTo>
                        <a:lnTo>
                          <a:pt x="1394083" y="837999"/>
                        </a:lnTo>
                        <a:lnTo>
                          <a:pt x="1381839" y="822302"/>
                        </a:lnTo>
                        <a:lnTo>
                          <a:pt x="1375717" y="822302"/>
                        </a:lnTo>
                        <a:lnTo>
                          <a:pt x="1360412" y="825442"/>
                        </a:lnTo>
                        <a:lnTo>
                          <a:pt x="1342047" y="816024"/>
                        </a:lnTo>
                        <a:lnTo>
                          <a:pt x="1317559" y="816024"/>
                        </a:lnTo>
                        <a:lnTo>
                          <a:pt x="1299193" y="822302"/>
                        </a:lnTo>
                        <a:lnTo>
                          <a:pt x="1299193" y="831720"/>
                        </a:lnTo>
                        <a:lnTo>
                          <a:pt x="1234914" y="844278"/>
                        </a:lnTo>
                        <a:lnTo>
                          <a:pt x="1219609" y="850556"/>
                        </a:lnTo>
                        <a:lnTo>
                          <a:pt x="1215018" y="856835"/>
                        </a:lnTo>
                        <a:lnTo>
                          <a:pt x="1196652" y="856835"/>
                        </a:lnTo>
                        <a:lnTo>
                          <a:pt x="1184408" y="863113"/>
                        </a:lnTo>
                        <a:lnTo>
                          <a:pt x="1172164" y="863113"/>
                        </a:lnTo>
                        <a:lnTo>
                          <a:pt x="1159921" y="869392"/>
                        </a:lnTo>
                        <a:lnTo>
                          <a:pt x="1144616" y="869392"/>
                        </a:lnTo>
                        <a:lnTo>
                          <a:pt x="1144616" y="875671"/>
                        </a:lnTo>
                        <a:lnTo>
                          <a:pt x="1107885" y="869392"/>
                        </a:lnTo>
                        <a:lnTo>
                          <a:pt x="1089519" y="875671"/>
                        </a:lnTo>
                        <a:lnTo>
                          <a:pt x="1095641" y="881949"/>
                        </a:lnTo>
                        <a:lnTo>
                          <a:pt x="1095641" y="888228"/>
                        </a:lnTo>
                        <a:lnTo>
                          <a:pt x="1114006" y="894507"/>
                        </a:lnTo>
                        <a:lnTo>
                          <a:pt x="1101763" y="894507"/>
                        </a:lnTo>
                        <a:lnTo>
                          <a:pt x="1107885" y="900785"/>
                        </a:lnTo>
                        <a:lnTo>
                          <a:pt x="1138494" y="910203"/>
                        </a:lnTo>
                        <a:lnTo>
                          <a:pt x="1138494" y="916482"/>
                        </a:lnTo>
                        <a:lnTo>
                          <a:pt x="1107885" y="916482"/>
                        </a:lnTo>
                        <a:lnTo>
                          <a:pt x="1095641" y="922760"/>
                        </a:lnTo>
                        <a:lnTo>
                          <a:pt x="1114006" y="935318"/>
                        </a:lnTo>
                        <a:lnTo>
                          <a:pt x="1114006" y="941596"/>
                        </a:lnTo>
                        <a:lnTo>
                          <a:pt x="1083397" y="960432"/>
                        </a:lnTo>
                        <a:lnTo>
                          <a:pt x="1144616" y="982407"/>
                        </a:lnTo>
                        <a:lnTo>
                          <a:pt x="1144616" y="1007522"/>
                        </a:lnTo>
                        <a:lnTo>
                          <a:pt x="1132372" y="1007522"/>
                        </a:lnTo>
                        <a:lnTo>
                          <a:pt x="1114006" y="1013800"/>
                        </a:lnTo>
                        <a:lnTo>
                          <a:pt x="1101763" y="1001243"/>
                        </a:lnTo>
                        <a:lnTo>
                          <a:pt x="1089519" y="1013800"/>
                        </a:lnTo>
                        <a:lnTo>
                          <a:pt x="1083397" y="1020079"/>
                        </a:lnTo>
                        <a:lnTo>
                          <a:pt x="1080336" y="1013800"/>
                        </a:lnTo>
                        <a:lnTo>
                          <a:pt x="1061970" y="1013800"/>
                        </a:lnTo>
                        <a:lnTo>
                          <a:pt x="1049727" y="994964"/>
                        </a:lnTo>
                        <a:lnTo>
                          <a:pt x="1037483" y="988686"/>
                        </a:lnTo>
                        <a:lnTo>
                          <a:pt x="1025239" y="994964"/>
                        </a:lnTo>
                        <a:lnTo>
                          <a:pt x="1012995" y="1001243"/>
                        </a:lnTo>
                        <a:lnTo>
                          <a:pt x="1003813" y="994964"/>
                        </a:lnTo>
                        <a:lnTo>
                          <a:pt x="991569" y="994964"/>
                        </a:lnTo>
                        <a:lnTo>
                          <a:pt x="991569" y="1001243"/>
                        </a:lnTo>
                        <a:lnTo>
                          <a:pt x="985447" y="994964"/>
                        </a:lnTo>
                        <a:lnTo>
                          <a:pt x="960959" y="1013800"/>
                        </a:lnTo>
                        <a:lnTo>
                          <a:pt x="927289" y="994964"/>
                        </a:lnTo>
                        <a:lnTo>
                          <a:pt x="933411" y="1013800"/>
                        </a:lnTo>
                        <a:lnTo>
                          <a:pt x="927289" y="1013800"/>
                        </a:lnTo>
                        <a:lnTo>
                          <a:pt x="921167" y="1001243"/>
                        </a:lnTo>
                        <a:lnTo>
                          <a:pt x="884436" y="976129"/>
                        </a:lnTo>
                        <a:lnTo>
                          <a:pt x="850766" y="976129"/>
                        </a:lnTo>
                        <a:lnTo>
                          <a:pt x="840052" y="966711"/>
                        </a:lnTo>
                        <a:lnTo>
                          <a:pt x="833930" y="966711"/>
                        </a:lnTo>
                        <a:lnTo>
                          <a:pt x="827809" y="976129"/>
                        </a:lnTo>
                        <a:lnTo>
                          <a:pt x="815565" y="976129"/>
                        </a:lnTo>
                        <a:lnTo>
                          <a:pt x="809443" y="966711"/>
                        </a:lnTo>
                        <a:lnTo>
                          <a:pt x="794138" y="972989"/>
                        </a:lnTo>
                        <a:lnTo>
                          <a:pt x="781894" y="982407"/>
                        </a:lnTo>
                        <a:lnTo>
                          <a:pt x="757407" y="988686"/>
                        </a:lnTo>
                        <a:lnTo>
                          <a:pt x="757407" y="1001243"/>
                        </a:lnTo>
                        <a:lnTo>
                          <a:pt x="732919" y="1013800"/>
                        </a:lnTo>
                        <a:lnTo>
                          <a:pt x="751285" y="1038915"/>
                        </a:lnTo>
                        <a:lnTo>
                          <a:pt x="732919" y="1048333"/>
                        </a:lnTo>
                        <a:lnTo>
                          <a:pt x="699249" y="1020079"/>
                        </a:lnTo>
                        <a:lnTo>
                          <a:pt x="699249" y="1038915"/>
                        </a:lnTo>
                        <a:lnTo>
                          <a:pt x="687005" y="1045193"/>
                        </a:lnTo>
                        <a:lnTo>
                          <a:pt x="687005" y="1067169"/>
                        </a:lnTo>
                        <a:lnTo>
                          <a:pt x="699249" y="1073447"/>
                        </a:lnTo>
                        <a:lnTo>
                          <a:pt x="687005" y="1079726"/>
                        </a:lnTo>
                        <a:lnTo>
                          <a:pt x="687005" y="1104840"/>
                        </a:lnTo>
                        <a:lnTo>
                          <a:pt x="705371" y="1111119"/>
                        </a:lnTo>
                        <a:lnTo>
                          <a:pt x="711493" y="1126816"/>
                        </a:lnTo>
                        <a:lnTo>
                          <a:pt x="717615" y="1133094"/>
                        </a:lnTo>
                        <a:lnTo>
                          <a:pt x="717615" y="1126816"/>
                        </a:lnTo>
                        <a:lnTo>
                          <a:pt x="745163" y="1133094"/>
                        </a:lnTo>
                        <a:lnTo>
                          <a:pt x="757407" y="1145651"/>
                        </a:lnTo>
                        <a:lnTo>
                          <a:pt x="775773" y="1177044"/>
                        </a:lnTo>
                        <a:lnTo>
                          <a:pt x="763529" y="1177044"/>
                        </a:lnTo>
                        <a:lnTo>
                          <a:pt x="757407" y="1183323"/>
                        </a:lnTo>
                        <a:lnTo>
                          <a:pt x="769651" y="1189602"/>
                        </a:lnTo>
                        <a:lnTo>
                          <a:pt x="788016" y="1199020"/>
                        </a:lnTo>
                        <a:lnTo>
                          <a:pt x="757407" y="1217856"/>
                        </a:lnTo>
                        <a:lnTo>
                          <a:pt x="732919" y="1199020"/>
                        </a:lnTo>
                        <a:lnTo>
                          <a:pt x="739041" y="1224134"/>
                        </a:lnTo>
                        <a:lnTo>
                          <a:pt x="717615" y="1275933"/>
                        </a:lnTo>
                        <a:lnTo>
                          <a:pt x="751285" y="1313604"/>
                        </a:lnTo>
                        <a:lnTo>
                          <a:pt x="757407" y="1301047"/>
                        </a:lnTo>
                        <a:lnTo>
                          <a:pt x="757407" y="1338719"/>
                        </a:lnTo>
                        <a:lnTo>
                          <a:pt x="797199" y="1385809"/>
                        </a:lnTo>
                        <a:lnTo>
                          <a:pt x="781894" y="1410923"/>
                        </a:lnTo>
                        <a:lnTo>
                          <a:pt x="763529" y="1410923"/>
                        </a:lnTo>
                        <a:lnTo>
                          <a:pt x="751285" y="1392087"/>
                        </a:lnTo>
                        <a:lnTo>
                          <a:pt x="726797" y="1379530"/>
                        </a:lnTo>
                        <a:lnTo>
                          <a:pt x="699249" y="1366973"/>
                        </a:lnTo>
                        <a:lnTo>
                          <a:pt x="699249" y="1354416"/>
                        </a:lnTo>
                        <a:lnTo>
                          <a:pt x="680883" y="1344998"/>
                        </a:lnTo>
                        <a:lnTo>
                          <a:pt x="662518" y="1344998"/>
                        </a:lnTo>
                        <a:lnTo>
                          <a:pt x="641091" y="1348137"/>
                        </a:lnTo>
                        <a:lnTo>
                          <a:pt x="598238" y="1326162"/>
                        </a:lnTo>
                        <a:lnTo>
                          <a:pt x="558446" y="1326162"/>
                        </a:lnTo>
                        <a:lnTo>
                          <a:pt x="521714" y="1307326"/>
                        </a:lnTo>
                        <a:lnTo>
                          <a:pt x="494166" y="1313604"/>
                        </a:lnTo>
                        <a:lnTo>
                          <a:pt x="382442" y="1247679"/>
                        </a:lnTo>
                        <a:lnTo>
                          <a:pt x="434478" y="1211577"/>
                        </a:lnTo>
                        <a:lnTo>
                          <a:pt x="413051" y="1189602"/>
                        </a:lnTo>
                        <a:lnTo>
                          <a:pt x="434478" y="1189602"/>
                        </a:lnTo>
                        <a:lnTo>
                          <a:pt x="458965" y="1170766"/>
                        </a:lnTo>
                        <a:lnTo>
                          <a:pt x="452843" y="1158209"/>
                        </a:lnTo>
                        <a:lnTo>
                          <a:pt x="425295" y="1170766"/>
                        </a:lnTo>
                        <a:lnTo>
                          <a:pt x="425295" y="1145651"/>
                        </a:lnTo>
                        <a:lnTo>
                          <a:pt x="425295" y="1139373"/>
                        </a:lnTo>
                        <a:lnTo>
                          <a:pt x="440599" y="1126816"/>
                        </a:lnTo>
                        <a:lnTo>
                          <a:pt x="471209" y="1126816"/>
                        </a:lnTo>
                        <a:lnTo>
                          <a:pt x="471209" y="1111119"/>
                        </a:lnTo>
                        <a:lnTo>
                          <a:pt x="458965" y="1092283"/>
                        </a:lnTo>
                        <a:lnTo>
                          <a:pt x="471209" y="1086004"/>
                        </a:lnTo>
                        <a:lnTo>
                          <a:pt x="458965" y="1079726"/>
                        </a:lnTo>
                        <a:lnTo>
                          <a:pt x="471209" y="1073447"/>
                        </a:lnTo>
                        <a:lnTo>
                          <a:pt x="471209" y="1067169"/>
                        </a:lnTo>
                        <a:lnTo>
                          <a:pt x="465087" y="1054611"/>
                        </a:lnTo>
                        <a:lnTo>
                          <a:pt x="471209" y="1054611"/>
                        </a:lnTo>
                        <a:lnTo>
                          <a:pt x="413051" y="1038915"/>
                        </a:lnTo>
                        <a:lnTo>
                          <a:pt x="400807" y="1038915"/>
                        </a:lnTo>
                        <a:lnTo>
                          <a:pt x="376320" y="1020079"/>
                        </a:lnTo>
                        <a:lnTo>
                          <a:pt x="354893" y="1026358"/>
                        </a:lnTo>
                        <a:lnTo>
                          <a:pt x="318162" y="1020079"/>
                        </a:lnTo>
                        <a:lnTo>
                          <a:pt x="299796" y="982407"/>
                        </a:lnTo>
                        <a:lnTo>
                          <a:pt x="272248" y="982407"/>
                        </a:lnTo>
                        <a:lnTo>
                          <a:pt x="266126" y="966711"/>
                        </a:lnTo>
                        <a:lnTo>
                          <a:pt x="272248" y="966711"/>
                        </a:lnTo>
                        <a:lnTo>
                          <a:pt x="272248" y="960432"/>
                        </a:lnTo>
                        <a:lnTo>
                          <a:pt x="247760" y="941596"/>
                        </a:lnTo>
                        <a:lnTo>
                          <a:pt x="207968" y="941596"/>
                        </a:lnTo>
                        <a:lnTo>
                          <a:pt x="195724" y="954153"/>
                        </a:lnTo>
                        <a:lnTo>
                          <a:pt x="189602" y="947875"/>
                        </a:lnTo>
                        <a:lnTo>
                          <a:pt x="165115" y="903924"/>
                        </a:lnTo>
                        <a:lnTo>
                          <a:pt x="177358" y="900785"/>
                        </a:lnTo>
                        <a:lnTo>
                          <a:pt x="195724" y="903924"/>
                        </a:lnTo>
                        <a:lnTo>
                          <a:pt x="214090" y="894507"/>
                        </a:lnTo>
                        <a:lnTo>
                          <a:pt x="214090" y="888228"/>
                        </a:lnTo>
                        <a:lnTo>
                          <a:pt x="195724" y="881949"/>
                        </a:lnTo>
                        <a:lnTo>
                          <a:pt x="183480" y="881949"/>
                        </a:lnTo>
                        <a:lnTo>
                          <a:pt x="177358" y="869392"/>
                        </a:lnTo>
                        <a:lnTo>
                          <a:pt x="165115" y="863113"/>
                        </a:lnTo>
                        <a:lnTo>
                          <a:pt x="146749" y="837999"/>
                        </a:lnTo>
                        <a:lnTo>
                          <a:pt x="146749" y="825442"/>
                        </a:lnTo>
                        <a:lnTo>
                          <a:pt x="140627" y="809745"/>
                        </a:lnTo>
                        <a:lnTo>
                          <a:pt x="119201" y="798758"/>
                        </a:lnTo>
                        <a:lnTo>
                          <a:pt x="96244" y="803467"/>
                        </a:lnTo>
                        <a:lnTo>
                          <a:pt x="96244" y="798758"/>
                        </a:lnTo>
                        <a:lnTo>
                          <a:pt x="90122" y="792479"/>
                        </a:lnTo>
                        <a:lnTo>
                          <a:pt x="62573" y="786200"/>
                        </a:lnTo>
                        <a:lnTo>
                          <a:pt x="56451" y="767364"/>
                        </a:lnTo>
                        <a:lnTo>
                          <a:pt x="44208" y="754807"/>
                        </a:lnTo>
                        <a:lnTo>
                          <a:pt x="38086" y="754807"/>
                        </a:lnTo>
                        <a:lnTo>
                          <a:pt x="38086" y="739111"/>
                        </a:lnTo>
                        <a:lnTo>
                          <a:pt x="25842" y="726553"/>
                        </a:lnTo>
                        <a:lnTo>
                          <a:pt x="38086" y="713996"/>
                        </a:lnTo>
                        <a:lnTo>
                          <a:pt x="31964" y="707718"/>
                        </a:lnTo>
                        <a:lnTo>
                          <a:pt x="19720" y="695160"/>
                        </a:lnTo>
                        <a:lnTo>
                          <a:pt x="7476" y="676324"/>
                        </a:lnTo>
                        <a:lnTo>
                          <a:pt x="31964" y="673185"/>
                        </a:lnTo>
                        <a:lnTo>
                          <a:pt x="44208" y="654349"/>
                        </a:lnTo>
                        <a:lnTo>
                          <a:pt x="44208" y="648071"/>
                        </a:lnTo>
                        <a:lnTo>
                          <a:pt x="88991" y="642667"/>
                        </a:lnTo>
                        <a:lnTo>
                          <a:pt x="42828" y="626037"/>
                        </a:lnTo>
                        <a:lnTo>
                          <a:pt x="42828" y="613548"/>
                        </a:lnTo>
                        <a:lnTo>
                          <a:pt x="12237" y="613548"/>
                        </a:lnTo>
                        <a:lnTo>
                          <a:pt x="111658" y="535488"/>
                        </a:lnTo>
                        <a:lnTo>
                          <a:pt x="111658" y="526121"/>
                        </a:lnTo>
                        <a:lnTo>
                          <a:pt x="76478" y="494897"/>
                        </a:lnTo>
                        <a:lnTo>
                          <a:pt x="82596" y="476163"/>
                        </a:lnTo>
                        <a:lnTo>
                          <a:pt x="55064" y="454306"/>
                        </a:lnTo>
                        <a:lnTo>
                          <a:pt x="61182" y="416838"/>
                        </a:lnTo>
                        <a:lnTo>
                          <a:pt x="30591" y="376247"/>
                        </a:lnTo>
                        <a:lnTo>
                          <a:pt x="48946" y="352829"/>
                        </a:lnTo>
                        <a:lnTo>
                          <a:pt x="0" y="321605"/>
                        </a:lnTo>
                        <a:lnTo>
                          <a:pt x="0" y="305993"/>
                        </a:lnTo>
                        <a:lnTo>
                          <a:pt x="12237" y="299749"/>
                        </a:lnTo>
                        <a:lnTo>
                          <a:pt x="61182" y="274769"/>
                        </a:lnTo>
                        <a:lnTo>
                          <a:pt x="76478" y="274769"/>
                        </a:lnTo>
                        <a:lnTo>
                          <a:pt x="82596" y="268525"/>
                        </a:lnTo>
                        <a:lnTo>
                          <a:pt x="117776" y="274769"/>
                        </a:lnTo>
                        <a:lnTo>
                          <a:pt x="88714" y="281014"/>
                        </a:lnTo>
                        <a:lnTo>
                          <a:pt x="111658" y="287259"/>
                        </a:lnTo>
                        <a:lnTo>
                          <a:pt x="194253" y="293504"/>
                        </a:lnTo>
                        <a:lnTo>
                          <a:pt x="353327" y="346584"/>
                        </a:lnTo>
                        <a:lnTo>
                          <a:pt x="362504" y="370002"/>
                        </a:lnTo>
                        <a:lnTo>
                          <a:pt x="356386" y="382492"/>
                        </a:lnTo>
                        <a:lnTo>
                          <a:pt x="298263" y="404348"/>
                        </a:lnTo>
                        <a:lnTo>
                          <a:pt x="105539" y="370002"/>
                        </a:lnTo>
                        <a:lnTo>
                          <a:pt x="188135" y="416838"/>
                        </a:lnTo>
                        <a:lnTo>
                          <a:pt x="182017" y="435572"/>
                        </a:lnTo>
                        <a:lnTo>
                          <a:pt x="200372" y="454306"/>
                        </a:lnTo>
                        <a:lnTo>
                          <a:pt x="200372" y="463674"/>
                        </a:lnTo>
                        <a:lnTo>
                          <a:pt x="286027" y="494897"/>
                        </a:lnTo>
                        <a:lnTo>
                          <a:pt x="304381" y="488653"/>
                        </a:lnTo>
                        <a:lnTo>
                          <a:pt x="286027" y="463674"/>
                        </a:lnTo>
                        <a:lnTo>
                          <a:pt x="252376" y="457429"/>
                        </a:lnTo>
                        <a:lnTo>
                          <a:pt x="258495" y="441817"/>
                        </a:lnTo>
                        <a:lnTo>
                          <a:pt x="298263" y="454306"/>
                        </a:lnTo>
                        <a:lnTo>
                          <a:pt x="292145" y="463674"/>
                        </a:lnTo>
                        <a:lnTo>
                          <a:pt x="374741" y="463674"/>
                        </a:lnTo>
                        <a:lnTo>
                          <a:pt x="334972" y="423083"/>
                        </a:lnTo>
                        <a:lnTo>
                          <a:pt x="399213" y="391859"/>
                        </a:lnTo>
                        <a:lnTo>
                          <a:pt x="457336" y="416838"/>
                        </a:lnTo>
                        <a:lnTo>
                          <a:pt x="451218" y="376247"/>
                        </a:lnTo>
                        <a:lnTo>
                          <a:pt x="432864" y="365319"/>
                        </a:lnTo>
                        <a:lnTo>
                          <a:pt x="429804" y="321605"/>
                        </a:lnTo>
                        <a:lnTo>
                          <a:pt x="405332" y="312238"/>
                        </a:lnTo>
                        <a:lnTo>
                          <a:pt x="492516" y="327850"/>
                        </a:lnTo>
                        <a:lnTo>
                          <a:pt x="501693" y="346584"/>
                        </a:lnTo>
                        <a:lnTo>
                          <a:pt x="463455" y="359074"/>
                        </a:lnTo>
                        <a:lnTo>
                          <a:pt x="513930" y="385614"/>
                        </a:lnTo>
                        <a:lnTo>
                          <a:pt x="538403" y="376247"/>
                        </a:lnTo>
                        <a:lnTo>
                          <a:pt x="544521" y="352829"/>
                        </a:lnTo>
                        <a:lnTo>
                          <a:pt x="691358" y="305993"/>
                        </a:lnTo>
                        <a:lnTo>
                          <a:pt x="697476" y="321605"/>
                        </a:lnTo>
                        <a:lnTo>
                          <a:pt x="718890" y="334095"/>
                        </a:lnTo>
                        <a:lnTo>
                          <a:pt x="731126" y="315360"/>
                        </a:lnTo>
                        <a:lnTo>
                          <a:pt x="786190" y="315360"/>
                        </a:lnTo>
                        <a:lnTo>
                          <a:pt x="819840" y="299749"/>
                        </a:lnTo>
                        <a:lnTo>
                          <a:pt x="844313" y="312238"/>
                        </a:lnTo>
                        <a:lnTo>
                          <a:pt x="838195" y="315360"/>
                        </a:lnTo>
                        <a:lnTo>
                          <a:pt x="848902" y="321605"/>
                        </a:lnTo>
                        <a:lnTo>
                          <a:pt x="870316" y="305993"/>
                        </a:lnTo>
                        <a:lnTo>
                          <a:pt x="848902" y="274769"/>
                        </a:lnTo>
                        <a:lnTo>
                          <a:pt x="870316" y="268525"/>
                        </a:lnTo>
                        <a:lnTo>
                          <a:pt x="952911" y="281014"/>
                        </a:lnTo>
                        <a:lnTo>
                          <a:pt x="1087512" y="327850"/>
                        </a:lnTo>
                        <a:lnTo>
                          <a:pt x="1099748" y="305993"/>
                        </a:lnTo>
                        <a:lnTo>
                          <a:pt x="1066098" y="281014"/>
                        </a:lnTo>
                        <a:lnTo>
                          <a:pt x="1023271" y="274769"/>
                        </a:lnTo>
                        <a:lnTo>
                          <a:pt x="1017153" y="237301"/>
                        </a:lnTo>
                        <a:lnTo>
                          <a:pt x="995739" y="234179"/>
                        </a:lnTo>
                        <a:lnTo>
                          <a:pt x="995739" y="221689"/>
                        </a:lnTo>
                        <a:lnTo>
                          <a:pt x="1023271" y="196710"/>
                        </a:lnTo>
                        <a:lnTo>
                          <a:pt x="1029389" y="162364"/>
                        </a:lnTo>
                        <a:lnTo>
                          <a:pt x="1118103" y="165486"/>
                        </a:lnTo>
                        <a:lnTo>
                          <a:pt x="1130339" y="184220"/>
                        </a:lnTo>
                        <a:lnTo>
                          <a:pt x="1124221" y="209199"/>
                        </a:lnTo>
                        <a:lnTo>
                          <a:pt x="1157871" y="234179"/>
                        </a:lnTo>
                        <a:lnTo>
                          <a:pt x="1163990" y="256035"/>
                        </a:lnTo>
                        <a:lnTo>
                          <a:pt x="1176226" y="268525"/>
                        </a:lnTo>
                        <a:lnTo>
                          <a:pt x="1188462" y="299749"/>
                        </a:lnTo>
                        <a:lnTo>
                          <a:pt x="1223642" y="321605"/>
                        </a:lnTo>
                        <a:lnTo>
                          <a:pt x="1226701" y="346584"/>
                        </a:lnTo>
                        <a:lnTo>
                          <a:pt x="1212935" y="376247"/>
                        </a:lnTo>
                        <a:lnTo>
                          <a:pt x="1154812" y="382492"/>
                        </a:lnTo>
                        <a:lnTo>
                          <a:pt x="1170108" y="391859"/>
                        </a:lnTo>
                        <a:lnTo>
                          <a:pt x="1226701" y="398104"/>
                        </a:lnTo>
                        <a:lnTo>
                          <a:pt x="1275647" y="346584"/>
                        </a:lnTo>
                        <a:lnTo>
                          <a:pt x="1251174" y="321605"/>
                        </a:lnTo>
                        <a:lnTo>
                          <a:pt x="1251174" y="312238"/>
                        </a:lnTo>
                        <a:lnTo>
                          <a:pt x="1297061" y="305993"/>
                        </a:lnTo>
                        <a:lnTo>
                          <a:pt x="1327652" y="315360"/>
                        </a:lnTo>
                        <a:lnTo>
                          <a:pt x="1339888" y="346584"/>
                        </a:lnTo>
                        <a:lnTo>
                          <a:pt x="1352125" y="346584"/>
                        </a:lnTo>
                        <a:lnTo>
                          <a:pt x="1346006" y="334095"/>
                        </a:lnTo>
                        <a:lnTo>
                          <a:pt x="1358243" y="327850"/>
                        </a:lnTo>
                        <a:lnTo>
                          <a:pt x="1333770" y="305993"/>
                        </a:lnTo>
                        <a:lnTo>
                          <a:pt x="1217524" y="293504"/>
                        </a:lnTo>
                        <a:lnTo>
                          <a:pt x="1217524" y="287259"/>
                        </a:lnTo>
                        <a:lnTo>
                          <a:pt x="1200699" y="268525"/>
                        </a:lnTo>
                        <a:lnTo>
                          <a:pt x="1206817" y="237301"/>
                        </a:lnTo>
                        <a:lnTo>
                          <a:pt x="1154812" y="209199"/>
                        </a:lnTo>
                        <a:lnTo>
                          <a:pt x="1188462" y="177976"/>
                        </a:lnTo>
                        <a:lnTo>
                          <a:pt x="1170108" y="165486"/>
                        </a:lnTo>
                        <a:lnTo>
                          <a:pt x="1200699" y="171731"/>
                        </a:lnTo>
                        <a:lnTo>
                          <a:pt x="1200699" y="190465"/>
                        </a:lnTo>
                        <a:lnTo>
                          <a:pt x="1217524" y="215444"/>
                        </a:lnTo>
                        <a:lnTo>
                          <a:pt x="1309297" y="227934"/>
                        </a:lnTo>
                        <a:lnTo>
                          <a:pt x="1223642" y="196710"/>
                        </a:lnTo>
                        <a:lnTo>
                          <a:pt x="1257292" y="202955"/>
                        </a:lnTo>
                        <a:lnTo>
                          <a:pt x="1275647" y="190465"/>
                        </a:lnTo>
                        <a:lnTo>
                          <a:pt x="1251174" y="184220"/>
                        </a:lnTo>
                        <a:lnTo>
                          <a:pt x="1297061" y="177976"/>
                        </a:lnTo>
                        <a:lnTo>
                          <a:pt x="1370479" y="202955"/>
                        </a:lnTo>
                        <a:lnTo>
                          <a:pt x="1416366" y="209199"/>
                        </a:lnTo>
                        <a:lnTo>
                          <a:pt x="1404129" y="221689"/>
                        </a:lnTo>
                        <a:lnTo>
                          <a:pt x="1428602" y="256035"/>
                        </a:lnTo>
                        <a:lnTo>
                          <a:pt x="1456134" y="262280"/>
                        </a:lnTo>
                        <a:lnTo>
                          <a:pt x="1462252" y="249790"/>
                        </a:lnTo>
                        <a:lnTo>
                          <a:pt x="1428602" y="221689"/>
                        </a:lnTo>
                        <a:lnTo>
                          <a:pt x="1434720" y="209199"/>
                        </a:lnTo>
                        <a:lnTo>
                          <a:pt x="1422484" y="196710"/>
                        </a:lnTo>
                        <a:lnTo>
                          <a:pt x="1339888" y="177976"/>
                        </a:lnTo>
                        <a:lnTo>
                          <a:pt x="1327652" y="162364"/>
                        </a:lnTo>
                        <a:lnTo>
                          <a:pt x="1309297" y="149874"/>
                        </a:lnTo>
                        <a:lnTo>
                          <a:pt x="1315415" y="137385"/>
                        </a:lnTo>
                        <a:lnTo>
                          <a:pt x="1450016" y="124895"/>
                        </a:lnTo>
                        <a:lnTo>
                          <a:pt x="1450016" y="118650"/>
                        </a:lnTo>
                        <a:lnTo>
                          <a:pt x="1443898" y="112406"/>
                        </a:lnTo>
                        <a:lnTo>
                          <a:pt x="1416366" y="106161"/>
                        </a:lnTo>
                        <a:lnTo>
                          <a:pt x="1443898" y="90549"/>
                        </a:lnTo>
                        <a:lnTo>
                          <a:pt x="1428602" y="84304"/>
                        </a:lnTo>
                        <a:lnTo>
                          <a:pt x="1563203" y="59325"/>
                        </a:lnTo>
                        <a:lnTo>
                          <a:pt x="1544848" y="53080"/>
                        </a:lnTo>
                        <a:lnTo>
                          <a:pt x="1619796" y="53080"/>
                        </a:lnTo>
                        <a:lnTo>
                          <a:pt x="1619796" y="59325"/>
                        </a:lnTo>
                        <a:lnTo>
                          <a:pt x="1638151" y="59325"/>
                        </a:lnTo>
                        <a:lnTo>
                          <a:pt x="1677919" y="46836"/>
                        </a:lnTo>
                        <a:lnTo>
                          <a:pt x="1714628" y="53080"/>
                        </a:lnTo>
                        <a:lnTo>
                          <a:pt x="1708510" y="46836"/>
                        </a:lnTo>
                        <a:lnTo>
                          <a:pt x="1677919" y="40591"/>
                        </a:lnTo>
                        <a:lnTo>
                          <a:pt x="1732983" y="34346"/>
                        </a:lnTo>
                        <a:lnTo>
                          <a:pt x="1714628" y="28101"/>
                        </a:lnTo>
                        <a:lnTo>
                          <a:pt x="1720747" y="15612"/>
                        </a:lnTo>
                        <a:close/>
                      </a:path>
                    </a:pathLst>
                  </a:custGeom>
                  <a:grpFill/>
                  <a:ln w="3175" cap="flat" cmpd="sng">
                    <a:solidFill>
                      <a:srgbClr val="FFFFFF"/>
                    </a:solidFill>
                    <a:prstDash val="solid"/>
                    <a:round/>
                    <a:headEnd type="none" w="med" len="med"/>
                    <a:tailEnd type="none" w="med" len="med"/>
                  </a:ln>
                  <a:effectLst/>
                </p:spPr>
                <p:txBody>
                  <a:bodyPr wrap="square">
                    <a:noAutofit/>
                  </a:bodyPr>
                  <a:lstStyle/>
                  <a:p>
                    <a:endParaRPr lang="en-GB">
                      <a:solidFill>
                        <a:srgbClr val="283E36"/>
                      </a:solidFill>
                      <a:latin typeface="SwissReSans"/>
                    </a:endParaRPr>
                  </a:p>
                </p:txBody>
              </p:sp>
            </p:grpSp>
            <p:grpSp>
              <p:nvGrpSpPr>
                <p:cNvPr id="660" name="vMap : Indonesia">
                  <a:extLst>
                    <a:ext uri="{FF2B5EF4-FFF2-40B4-BE49-F238E27FC236}">
                      <a16:creationId xmlns:a16="http://schemas.microsoft.com/office/drawing/2014/main" xmlns="" id="{B3860210-2B77-BC4E-AF79-5F49302F95E7}"/>
                    </a:ext>
                  </a:extLst>
                </p:cNvPr>
                <p:cNvGrpSpPr/>
                <p:nvPr/>
              </p:nvGrpSpPr>
              <p:grpSpPr>
                <a:xfrm>
                  <a:off x="6239891" y="4085164"/>
                  <a:ext cx="1040557" cy="416741"/>
                  <a:chOff x="8921347" y="3682406"/>
                  <a:chExt cx="1704177" cy="682541"/>
                </a:xfrm>
                <a:solidFill>
                  <a:srgbClr val="E6E6E6"/>
                </a:solidFill>
              </p:grpSpPr>
              <p:sp>
                <p:nvSpPr>
                  <p:cNvPr id="736" name="vMap : Indonesia">
                    <a:extLst>
                      <a:ext uri="{FF2B5EF4-FFF2-40B4-BE49-F238E27FC236}">
                        <a16:creationId xmlns:a16="http://schemas.microsoft.com/office/drawing/2014/main" xmlns="" id="{8D996800-1B76-2543-88F3-00A871C5DC13}"/>
                      </a:ext>
                    </a:extLst>
                  </p:cNvPr>
                  <p:cNvSpPr>
                    <a:spLocks noChangeAspect="1"/>
                  </p:cNvSpPr>
                  <p:nvPr>
                    <p:custDataLst>
                      <p:tags r:id="rId232"/>
                    </p:custDataLst>
                  </p:nvPr>
                </p:nvSpPr>
                <p:spPr bwMode="gray">
                  <a:xfrm>
                    <a:off x="10204462" y="3993115"/>
                    <a:ext cx="24915" cy="7640"/>
                  </a:xfrm>
                  <a:custGeom>
                    <a:avLst/>
                    <a:gdLst>
                      <a:gd name="T0" fmla="*/ 0 w 16"/>
                      <a:gd name="T1" fmla="*/ 1 h 6"/>
                      <a:gd name="T2" fmla="*/ 6 w 16"/>
                      <a:gd name="T3" fmla="*/ 0 h 6"/>
                      <a:gd name="T4" fmla="*/ 6 w 16"/>
                      <a:gd name="T5" fmla="*/ 2 h 6"/>
                      <a:gd name="T6" fmla="*/ 0 w 16"/>
                      <a:gd name="T7" fmla="*/ 1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6">
                        <a:moveTo>
                          <a:pt x="0" y="2"/>
                        </a:moveTo>
                        <a:lnTo>
                          <a:pt x="16" y="0"/>
                        </a:lnTo>
                        <a:lnTo>
                          <a:pt x="16" y="6"/>
                        </a:lnTo>
                        <a:lnTo>
                          <a:pt x="0" y="2"/>
                        </a:lnTo>
                        <a:close/>
                      </a:path>
                    </a:pathLst>
                  </a:custGeom>
                  <a:grpFill/>
                  <a:ln w="3175">
                    <a:solidFill>
                      <a:srgbClr val="FFFFFF"/>
                    </a:solidFill>
                  </a:ln>
                </p:spPr>
                <p:txBody>
                  <a:bodyPr/>
                  <a:lstStyle/>
                  <a:p>
                    <a:endParaRPr lang="en-GB">
                      <a:solidFill>
                        <a:srgbClr val="283E36"/>
                      </a:solidFill>
                      <a:latin typeface="SwissReSans"/>
                    </a:endParaRPr>
                  </a:p>
                </p:txBody>
              </p:sp>
              <p:sp>
                <p:nvSpPr>
                  <p:cNvPr id="737" name="vMap : Indonesia">
                    <a:extLst>
                      <a:ext uri="{FF2B5EF4-FFF2-40B4-BE49-F238E27FC236}">
                        <a16:creationId xmlns:a16="http://schemas.microsoft.com/office/drawing/2014/main" xmlns="" id="{7B5056E0-F759-904B-9C26-5B00751A55DD}"/>
                      </a:ext>
                    </a:extLst>
                  </p:cNvPr>
                  <p:cNvSpPr>
                    <a:spLocks noChangeAspect="1"/>
                  </p:cNvSpPr>
                  <p:nvPr>
                    <p:custDataLst>
                      <p:tags r:id="rId233"/>
                    </p:custDataLst>
                  </p:nvPr>
                </p:nvSpPr>
                <p:spPr bwMode="gray">
                  <a:xfrm>
                    <a:off x="10204462" y="3993115"/>
                    <a:ext cx="24915" cy="7640"/>
                  </a:xfrm>
                  <a:custGeom>
                    <a:avLst/>
                    <a:gdLst>
                      <a:gd name="T0" fmla="*/ 0 w 16"/>
                      <a:gd name="T1" fmla="*/ 1 h 6"/>
                      <a:gd name="T2" fmla="*/ 6 w 16"/>
                      <a:gd name="T3" fmla="*/ 0 h 6"/>
                      <a:gd name="T4" fmla="*/ 6 w 16"/>
                      <a:gd name="T5" fmla="*/ 2 h 6"/>
                      <a:gd name="T6" fmla="*/ 0 w 16"/>
                      <a:gd name="T7" fmla="*/ 1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6">
                        <a:moveTo>
                          <a:pt x="0" y="2"/>
                        </a:moveTo>
                        <a:lnTo>
                          <a:pt x="16" y="0"/>
                        </a:lnTo>
                        <a:lnTo>
                          <a:pt x="16" y="6"/>
                        </a:lnTo>
                        <a:lnTo>
                          <a:pt x="0" y="2"/>
                        </a:lnTo>
                        <a:close/>
                      </a:path>
                    </a:pathLst>
                  </a:custGeom>
                  <a:grpFill/>
                  <a:ln w="3175">
                    <a:solidFill>
                      <a:srgbClr val="FFFFFF"/>
                    </a:solidFill>
                  </a:ln>
                </p:spPr>
                <p:txBody>
                  <a:bodyPr/>
                  <a:lstStyle/>
                  <a:p>
                    <a:endParaRPr lang="en-GB">
                      <a:solidFill>
                        <a:srgbClr val="283E36"/>
                      </a:solidFill>
                      <a:latin typeface="SwissReSans"/>
                    </a:endParaRPr>
                  </a:p>
                </p:txBody>
              </p:sp>
              <p:sp>
                <p:nvSpPr>
                  <p:cNvPr id="738" name="vMap : Indonesia">
                    <a:extLst>
                      <a:ext uri="{FF2B5EF4-FFF2-40B4-BE49-F238E27FC236}">
                        <a16:creationId xmlns:a16="http://schemas.microsoft.com/office/drawing/2014/main" xmlns="" id="{35DAFB0E-2753-4448-BDD2-CC55AB911946}"/>
                      </a:ext>
                    </a:extLst>
                  </p:cNvPr>
                  <p:cNvSpPr>
                    <a:spLocks noChangeAspect="1"/>
                  </p:cNvSpPr>
                  <p:nvPr>
                    <p:custDataLst>
                      <p:tags r:id="rId234"/>
                    </p:custDataLst>
                  </p:nvPr>
                </p:nvSpPr>
                <p:spPr bwMode="gray">
                  <a:xfrm>
                    <a:off x="8921347" y="3682406"/>
                    <a:ext cx="401130" cy="488983"/>
                  </a:xfrm>
                  <a:custGeom>
                    <a:avLst/>
                    <a:gdLst>
                      <a:gd name="T0" fmla="*/ 0 w 263"/>
                      <a:gd name="T1" fmla="*/ 0 h 312"/>
                      <a:gd name="T2" fmla="*/ 21 w 263"/>
                      <a:gd name="T3" fmla="*/ 4 h 312"/>
                      <a:gd name="T4" fmla="*/ 50 w 263"/>
                      <a:gd name="T5" fmla="*/ 34 h 312"/>
                      <a:gd name="T6" fmla="*/ 54 w 263"/>
                      <a:gd name="T7" fmla="*/ 34 h 312"/>
                      <a:gd name="T8" fmla="*/ 64 w 263"/>
                      <a:gd name="T9" fmla="*/ 44 h 312"/>
                      <a:gd name="T10" fmla="*/ 73 w 263"/>
                      <a:gd name="T11" fmla="*/ 47 h 312"/>
                      <a:gd name="T12" fmla="*/ 70 w 263"/>
                      <a:gd name="T13" fmla="*/ 55 h 312"/>
                      <a:gd name="T14" fmla="*/ 77 w 263"/>
                      <a:gd name="T15" fmla="*/ 55 h 312"/>
                      <a:gd name="T16" fmla="*/ 77 w 263"/>
                      <a:gd name="T17" fmla="*/ 66 h 312"/>
                      <a:gd name="T18" fmla="*/ 84 w 263"/>
                      <a:gd name="T19" fmla="*/ 70 h 312"/>
                      <a:gd name="T20" fmla="*/ 88 w 263"/>
                      <a:gd name="T21" fmla="*/ 82 h 312"/>
                      <a:gd name="T22" fmla="*/ 95 w 263"/>
                      <a:gd name="T23" fmla="*/ 84 h 312"/>
                      <a:gd name="T24" fmla="*/ 99 w 263"/>
                      <a:gd name="T25" fmla="*/ 88 h 312"/>
                      <a:gd name="T26" fmla="*/ 95 w 263"/>
                      <a:gd name="T27" fmla="*/ 118 h 312"/>
                      <a:gd name="T28" fmla="*/ 88 w 263"/>
                      <a:gd name="T29" fmla="*/ 115 h 312"/>
                      <a:gd name="T30" fmla="*/ 86 w 263"/>
                      <a:gd name="T31" fmla="*/ 118 h 312"/>
                      <a:gd name="T32" fmla="*/ 66 w 263"/>
                      <a:gd name="T33" fmla="*/ 101 h 312"/>
                      <a:gd name="T34" fmla="*/ 53 w 263"/>
                      <a:gd name="T35" fmla="*/ 82 h 312"/>
                      <a:gd name="T36" fmla="*/ 47 w 263"/>
                      <a:gd name="T37" fmla="*/ 65 h 312"/>
                      <a:gd name="T38" fmla="*/ 37 w 263"/>
                      <a:gd name="T39" fmla="*/ 55 h 312"/>
                      <a:gd name="T40" fmla="*/ 34 w 263"/>
                      <a:gd name="T41" fmla="*/ 41 h 312"/>
                      <a:gd name="T42" fmla="*/ 24 w 263"/>
                      <a:gd name="T43" fmla="*/ 33 h 312"/>
                      <a:gd name="T44" fmla="*/ 18 w 263"/>
                      <a:gd name="T45" fmla="*/ 22 h 312"/>
                      <a:gd name="T46" fmla="*/ 3 w 263"/>
                      <a:gd name="T47" fmla="*/ 7 h 312"/>
                      <a:gd name="T48" fmla="*/ 0 w 263"/>
                      <a:gd name="T49" fmla="*/ 0 h 31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63" h="312">
                        <a:moveTo>
                          <a:pt x="0" y="0"/>
                        </a:moveTo>
                        <a:lnTo>
                          <a:pt x="57" y="12"/>
                        </a:lnTo>
                        <a:lnTo>
                          <a:pt x="133" y="91"/>
                        </a:lnTo>
                        <a:lnTo>
                          <a:pt x="145" y="91"/>
                        </a:lnTo>
                        <a:lnTo>
                          <a:pt x="171" y="117"/>
                        </a:lnTo>
                        <a:lnTo>
                          <a:pt x="195" y="125"/>
                        </a:lnTo>
                        <a:lnTo>
                          <a:pt x="187" y="145"/>
                        </a:lnTo>
                        <a:lnTo>
                          <a:pt x="205" y="145"/>
                        </a:lnTo>
                        <a:lnTo>
                          <a:pt x="205" y="175"/>
                        </a:lnTo>
                        <a:lnTo>
                          <a:pt x="225" y="183"/>
                        </a:lnTo>
                        <a:lnTo>
                          <a:pt x="233" y="217"/>
                        </a:lnTo>
                        <a:lnTo>
                          <a:pt x="255" y="221"/>
                        </a:lnTo>
                        <a:lnTo>
                          <a:pt x="263" y="233"/>
                        </a:lnTo>
                        <a:lnTo>
                          <a:pt x="255" y="312"/>
                        </a:lnTo>
                        <a:lnTo>
                          <a:pt x="233" y="304"/>
                        </a:lnTo>
                        <a:lnTo>
                          <a:pt x="229" y="312"/>
                        </a:lnTo>
                        <a:lnTo>
                          <a:pt x="175" y="267"/>
                        </a:lnTo>
                        <a:lnTo>
                          <a:pt x="141" y="217"/>
                        </a:lnTo>
                        <a:lnTo>
                          <a:pt x="125" y="171"/>
                        </a:lnTo>
                        <a:lnTo>
                          <a:pt x="99" y="145"/>
                        </a:lnTo>
                        <a:lnTo>
                          <a:pt x="91" y="107"/>
                        </a:lnTo>
                        <a:lnTo>
                          <a:pt x="63" y="87"/>
                        </a:lnTo>
                        <a:lnTo>
                          <a:pt x="49" y="57"/>
                        </a:lnTo>
                        <a:lnTo>
                          <a:pt x="8" y="18"/>
                        </a:lnTo>
                        <a:lnTo>
                          <a:pt x="0"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39" name="vMap : Indonesia">
                    <a:extLst>
                      <a:ext uri="{FF2B5EF4-FFF2-40B4-BE49-F238E27FC236}">
                        <a16:creationId xmlns:a16="http://schemas.microsoft.com/office/drawing/2014/main" xmlns="" id="{C12C4681-FF0B-484B-B2D5-E80A8CECB40B}"/>
                      </a:ext>
                    </a:extLst>
                  </p:cNvPr>
                  <p:cNvSpPr>
                    <a:spLocks noChangeAspect="1"/>
                  </p:cNvSpPr>
                  <p:nvPr>
                    <p:custDataLst>
                      <p:tags r:id="rId235"/>
                    </p:custDataLst>
                  </p:nvPr>
                </p:nvSpPr>
                <p:spPr bwMode="gray">
                  <a:xfrm>
                    <a:off x="9053395" y="3962553"/>
                    <a:ext cx="22424" cy="30562"/>
                  </a:xfrm>
                  <a:custGeom>
                    <a:avLst/>
                    <a:gdLst>
                      <a:gd name="T0" fmla="*/ 0 w 12"/>
                      <a:gd name="T1" fmla="*/ 0 h 20"/>
                      <a:gd name="T2" fmla="*/ 7 w 12"/>
                      <a:gd name="T3" fmla="*/ 7 h 20"/>
                      <a:gd name="T4" fmla="*/ 2 w 12"/>
                      <a:gd name="T5" fmla="*/ 6 h 20"/>
                      <a:gd name="T6" fmla="*/ 0 w 12"/>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20">
                        <a:moveTo>
                          <a:pt x="0" y="0"/>
                        </a:moveTo>
                        <a:lnTo>
                          <a:pt x="12" y="20"/>
                        </a:lnTo>
                        <a:lnTo>
                          <a:pt x="4" y="16"/>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0" name="vMap : Indonesia">
                    <a:extLst>
                      <a:ext uri="{FF2B5EF4-FFF2-40B4-BE49-F238E27FC236}">
                        <a16:creationId xmlns:a16="http://schemas.microsoft.com/office/drawing/2014/main" xmlns="" id="{FB0A5FAB-7AF1-954F-A802-459204ED2153}"/>
                      </a:ext>
                    </a:extLst>
                  </p:cNvPr>
                  <p:cNvSpPr>
                    <a:spLocks noChangeAspect="1"/>
                  </p:cNvSpPr>
                  <p:nvPr>
                    <p:custDataLst>
                      <p:tags r:id="rId236"/>
                    </p:custDataLst>
                  </p:nvPr>
                </p:nvSpPr>
                <p:spPr bwMode="gray">
                  <a:xfrm>
                    <a:off x="9003565" y="3858135"/>
                    <a:ext cx="19932" cy="33109"/>
                  </a:xfrm>
                  <a:custGeom>
                    <a:avLst/>
                    <a:gdLst>
                      <a:gd name="T0" fmla="*/ 0 w 14"/>
                      <a:gd name="T1" fmla="*/ 0 h 20"/>
                      <a:gd name="T2" fmla="*/ 5 w 14"/>
                      <a:gd name="T3" fmla="*/ 5 h 20"/>
                      <a:gd name="T4" fmla="*/ 5 w 14"/>
                      <a:gd name="T5" fmla="*/ 8 h 20"/>
                      <a:gd name="T6" fmla="*/ 0 w 14"/>
                      <a:gd name="T7" fmla="*/ 0 h 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0">
                        <a:moveTo>
                          <a:pt x="0" y="0"/>
                        </a:moveTo>
                        <a:lnTo>
                          <a:pt x="14" y="12"/>
                        </a:lnTo>
                        <a:lnTo>
                          <a:pt x="14" y="20"/>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1" name="vMap : Indonesia">
                    <a:extLst>
                      <a:ext uri="{FF2B5EF4-FFF2-40B4-BE49-F238E27FC236}">
                        <a16:creationId xmlns:a16="http://schemas.microsoft.com/office/drawing/2014/main" xmlns="" id="{CB9CBD6C-6657-6147-A494-5FBD11EAD839}"/>
                      </a:ext>
                    </a:extLst>
                  </p:cNvPr>
                  <p:cNvSpPr>
                    <a:spLocks noChangeAspect="1"/>
                  </p:cNvSpPr>
                  <p:nvPr>
                    <p:custDataLst>
                      <p:tags r:id="rId237"/>
                    </p:custDataLst>
                  </p:nvPr>
                </p:nvSpPr>
                <p:spPr bwMode="gray">
                  <a:xfrm>
                    <a:off x="9379781" y="4026224"/>
                    <a:ext cx="29898" cy="30562"/>
                  </a:xfrm>
                  <a:custGeom>
                    <a:avLst/>
                    <a:gdLst>
                      <a:gd name="T0" fmla="*/ 1 w 20"/>
                      <a:gd name="T1" fmla="*/ 0 h 20"/>
                      <a:gd name="T2" fmla="*/ 7 w 20"/>
                      <a:gd name="T3" fmla="*/ 3 h 20"/>
                      <a:gd name="T4" fmla="*/ 6 w 20"/>
                      <a:gd name="T5" fmla="*/ 7 h 20"/>
                      <a:gd name="T6" fmla="*/ 0 w 20"/>
                      <a:gd name="T7" fmla="*/ 6 h 20"/>
                      <a:gd name="T8" fmla="*/ 1 w 20"/>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20">
                        <a:moveTo>
                          <a:pt x="4" y="0"/>
                        </a:moveTo>
                        <a:lnTo>
                          <a:pt x="20" y="8"/>
                        </a:lnTo>
                        <a:lnTo>
                          <a:pt x="16" y="20"/>
                        </a:lnTo>
                        <a:lnTo>
                          <a:pt x="0" y="16"/>
                        </a:lnTo>
                        <a:lnTo>
                          <a:pt x="4"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2" name="vMap : Indonesia">
                    <a:extLst>
                      <a:ext uri="{FF2B5EF4-FFF2-40B4-BE49-F238E27FC236}">
                        <a16:creationId xmlns:a16="http://schemas.microsoft.com/office/drawing/2014/main" xmlns="" id="{07A21293-1CF5-EB43-842B-D5212E6155B5}"/>
                      </a:ext>
                    </a:extLst>
                  </p:cNvPr>
                  <p:cNvSpPr>
                    <a:spLocks noChangeAspect="1"/>
                  </p:cNvSpPr>
                  <p:nvPr>
                    <p:custDataLst>
                      <p:tags r:id="rId238"/>
                    </p:custDataLst>
                  </p:nvPr>
                </p:nvSpPr>
                <p:spPr bwMode="gray">
                  <a:xfrm>
                    <a:off x="9295070" y="3982928"/>
                    <a:ext cx="57305" cy="68763"/>
                  </a:xfrm>
                  <a:custGeom>
                    <a:avLst/>
                    <a:gdLst>
                      <a:gd name="T0" fmla="*/ 0 w 37"/>
                      <a:gd name="T1" fmla="*/ 4 h 42"/>
                      <a:gd name="T2" fmla="*/ 7 w 37"/>
                      <a:gd name="T3" fmla="*/ 0 h 42"/>
                      <a:gd name="T4" fmla="*/ 10 w 37"/>
                      <a:gd name="T5" fmla="*/ 9 h 42"/>
                      <a:gd name="T6" fmla="*/ 14 w 37"/>
                      <a:gd name="T7" fmla="*/ 11 h 42"/>
                      <a:gd name="T8" fmla="*/ 14 w 37"/>
                      <a:gd name="T9" fmla="*/ 17 h 42"/>
                      <a:gd name="T10" fmla="*/ 0 w 37"/>
                      <a:gd name="T11" fmla="*/ 4 h 4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7" h="42">
                        <a:moveTo>
                          <a:pt x="0" y="10"/>
                        </a:moveTo>
                        <a:lnTo>
                          <a:pt x="18" y="0"/>
                        </a:lnTo>
                        <a:lnTo>
                          <a:pt x="26" y="22"/>
                        </a:lnTo>
                        <a:lnTo>
                          <a:pt x="37" y="26"/>
                        </a:lnTo>
                        <a:lnTo>
                          <a:pt x="37" y="42"/>
                        </a:lnTo>
                        <a:lnTo>
                          <a:pt x="0" y="1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3" name="vMap : Indonesia">
                    <a:extLst>
                      <a:ext uri="{FF2B5EF4-FFF2-40B4-BE49-F238E27FC236}">
                        <a16:creationId xmlns:a16="http://schemas.microsoft.com/office/drawing/2014/main" xmlns="" id="{DF72482C-7913-4847-97E9-3194A2C72EF7}"/>
                      </a:ext>
                    </a:extLst>
                  </p:cNvPr>
                  <p:cNvSpPr>
                    <a:spLocks noChangeAspect="1"/>
                  </p:cNvSpPr>
                  <p:nvPr>
                    <p:custDataLst>
                      <p:tags r:id="rId239"/>
                    </p:custDataLst>
                  </p:nvPr>
                </p:nvSpPr>
                <p:spPr bwMode="gray">
                  <a:xfrm>
                    <a:off x="9262680" y="3863228"/>
                    <a:ext cx="7475" cy="17827"/>
                  </a:xfrm>
                  <a:custGeom>
                    <a:avLst/>
                    <a:gdLst>
                      <a:gd name="T0" fmla="*/ 2 w 4"/>
                      <a:gd name="T1" fmla="*/ 1 h 12"/>
                      <a:gd name="T2" fmla="*/ 2 w 4"/>
                      <a:gd name="T3" fmla="*/ 4 h 12"/>
                      <a:gd name="T4" fmla="*/ 0 w 4"/>
                      <a:gd name="T5" fmla="*/ 0 h 12"/>
                      <a:gd name="T6" fmla="*/ 2 w 4"/>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12">
                        <a:moveTo>
                          <a:pt x="4" y="4"/>
                        </a:moveTo>
                        <a:lnTo>
                          <a:pt x="4" y="12"/>
                        </a:lnTo>
                        <a:lnTo>
                          <a:pt x="0" y="0"/>
                        </a:lnTo>
                        <a:lnTo>
                          <a:pt x="4" y="4"/>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4" name="vMap : Indonesia">
                    <a:extLst>
                      <a:ext uri="{FF2B5EF4-FFF2-40B4-BE49-F238E27FC236}">
                        <a16:creationId xmlns:a16="http://schemas.microsoft.com/office/drawing/2014/main" xmlns="" id="{8C765DF0-1871-0141-8F74-D75F4F26497A}"/>
                      </a:ext>
                    </a:extLst>
                  </p:cNvPr>
                  <p:cNvSpPr>
                    <a:spLocks noChangeAspect="1"/>
                  </p:cNvSpPr>
                  <p:nvPr>
                    <p:custDataLst>
                      <p:tags r:id="rId240"/>
                    </p:custDataLst>
                  </p:nvPr>
                </p:nvSpPr>
                <p:spPr bwMode="gray">
                  <a:xfrm>
                    <a:off x="10251801" y="3937086"/>
                    <a:ext cx="373723" cy="376925"/>
                  </a:xfrm>
                  <a:custGeom>
                    <a:avLst/>
                    <a:gdLst>
                      <a:gd name="T0" fmla="*/ 92 w 245"/>
                      <a:gd name="T1" fmla="*/ 49 h 241"/>
                      <a:gd name="T2" fmla="*/ 92 w 245"/>
                      <a:gd name="T3" fmla="*/ 22 h 241"/>
                      <a:gd name="T4" fmla="*/ 63 w 245"/>
                      <a:gd name="T5" fmla="*/ 10 h 241"/>
                      <a:gd name="T6" fmla="*/ 37 w 245"/>
                      <a:gd name="T7" fmla="*/ 31 h 241"/>
                      <a:gd name="T8" fmla="*/ 31 w 245"/>
                      <a:gd name="T9" fmla="*/ 22 h 241"/>
                      <a:gd name="T10" fmla="*/ 28 w 245"/>
                      <a:gd name="T11" fmla="*/ 4 h 241"/>
                      <a:gd name="T12" fmla="*/ 13 w 245"/>
                      <a:gd name="T13" fmla="*/ 0 h 241"/>
                      <a:gd name="T14" fmla="*/ 1 w 245"/>
                      <a:gd name="T15" fmla="*/ 4 h 241"/>
                      <a:gd name="T16" fmla="*/ 0 w 245"/>
                      <a:gd name="T17" fmla="*/ 12 h 241"/>
                      <a:gd name="T18" fmla="*/ 7 w 245"/>
                      <a:gd name="T19" fmla="*/ 14 h 241"/>
                      <a:gd name="T20" fmla="*/ 13 w 245"/>
                      <a:gd name="T21" fmla="*/ 20 h 241"/>
                      <a:gd name="T22" fmla="*/ 28 w 245"/>
                      <a:gd name="T23" fmla="*/ 17 h 241"/>
                      <a:gd name="T24" fmla="*/ 23 w 245"/>
                      <a:gd name="T25" fmla="*/ 22 h 241"/>
                      <a:gd name="T26" fmla="*/ 9 w 245"/>
                      <a:gd name="T27" fmla="*/ 25 h 241"/>
                      <a:gd name="T28" fmla="*/ 16 w 245"/>
                      <a:gd name="T29" fmla="*/ 31 h 241"/>
                      <a:gd name="T30" fmla="*/ 17 w 245"/>
                      <a:gd name="T31" fmla="*/ 39 h 241"/>
                      <a:gd name="T32" fmla="*/ 22 w 245"/>
                      <a:gd name="T33" fmla="*/ 36 h 241"/>
                      <a:gd name="T34" fmla="*/ 26 w 245"/>
                      <a:gd name="T35" fmla="*/ 26 h 241"/>
                      <a:gd name="T36" fmla="*/ 26 w 245"/>
                      <a:gd name="T37" fmla="*/ 33 h 241"/>
                      <a:gd name="T38" fmla="*/ 31 w 245"/>
                      <a:gd name="T39" fmla="*/ 39 h 241"/>
                      <a:gd name="T40" fmla="*/ 65 w 245"/>
                      <a:gd name="T41" fmla="*/ 52 h 241"/>
                      <a:gd name="T42" fmla="*/ 70 w 245"/>
                      <a:gd name="T43" fmla="*/ 75 h 241"/>
                      <a:gd name="T44" fmla="*/ 65 w 245"/>
                      <a:gd name="T45" fmla="*/ 74 h 241"/>
                      <a:gd name="T46" fmla="*/ 59 w 245"/>
                      <a:gd name="T47" fmla="*/ 84 h 241"/>
                      <a:gd name="T48" fmla="*/ 79 w 245"/>
                      <a:gd name="T49" fmla="*/ 80 h 241"/>
                      <a:gd name="T50" fmla="*/ 91 w 245"/>
                      <a:gd name="T51" fmla="*/ 91 h 241"/>
                      <a:gd name="T52" fmla="*/ 92 w 245"/>
                      <a:gd name="T53" fmla="*/ 49 h 241"/>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45" h="241">
                        <a:moveTo>
                          <a:pt x="245" y="128"/>
                        </a:moveTo>
                        <a:lnTo>
                          <a:pt x="245" y="58"/>
                        </a:lnTo>
                        <a:lnTo>
                          <a:pt x="169" y="28"/>
                        </a:lnTo>
                        <a:lnTo>
                          <a:pt x="100" y="82"/>
                        </a:lnTo>
                        <a:lnTo>
                          <a:pt x="82" y="58"/>
                        </a:lnTo>
                        <a:lnTo>
                          <a:pt x="74" y="12"/>
                        </a:lnTo>
                        <a:lnTo>
                          <a:pt x="36" y="0"/>
                        </a:lnTo>
                        <a:lnTo>
                          <a:pt x="4" y="12"/>
                        </a:lnTo>
                        <a:lnTo>
                          <a:pt x="0" y="32"/>
                        </a:lnTo>
                        <a:lnTo>
                          <a:pt x="20" y="36"/>
                        </a:lnTo>
                        <a:lnTo>
                          <a:pt x="36" y="54"/>
                        </a:lnTo>
                        <a:lnTo>
                          <a:pt x="74" y="46"/>
                        </a:lnTo>
                        <a:lnTo>
                          <a:pt x="62" y="58"/>
                        </a:lnTo>
                        <a:lnTo>
                          <a:pt x="24" y="66"/>
                        </a:lnTo>
                        <a:lnTo>
                          <a:pt x="42" y="82"/>
                        </a:lnTo>
                        <a:lnTo>
                          <a:pt x="46" y="104"/>
                        </a:lnTo>
                        <a:lnTo>
                          <a:pt x="58" y="96"/>
                        </a:lnTo>
                        <a:lnTo>
                          <a:pt x="70" y="70"/>
                        </a:lnTo>
                        <a:lnTo>
                          <a:pt x="70" y="88"/>
                        </a:lnTo>
                        <a:lnTo>
                          <a:pt x="82" y="104"/>
                        </a:lnTo>
                        <a:lnTo>
                          <a:pt x="173" y="138"/>
                        </a:lnTo>
                        <a:lnTo>
                          <a:pt x="187" y="199"/>
                        </a:lnTo>
                        <a:lnTo>
                          <a:pt x="173" y="195"/>
                        </a:lnTo>
                        <a:lnTo>
                          <a:pt x="157" y="223"/>
                        </a:lnTo>
                        <a:lnTo>
                          <a:pt x="211" y="211"/>
                        </a:lnTo>
                        <a:lnTo>
                          <a:pt x="241" y="241"/>
                        </a:lnTo>
                        <a:lnTo>
                          <a:pt x="245" y="128"/>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5" name="vMap : Indonesia">
                    <a:extLst>
                      <a:ext uri="{FF2B5EF4-FFF2-40B4-BE49-F238E27FC236}">
                        <a16:creationId xmlns:a16="http://schemas.microsoft.com/office/drawing/2014/main" xmlns="" id="{B2C54F69-DB7A-414C-8E62-99C003B3FD69}"/>
                      </a:ext>
                    </a:extLst>
                  </p:cNvPr>
                  <p:cNvSpPr>
                    <a:spLocks noChangeAspect="1"/>
                  </p:cNvSpPr>
                  <p:nvPr>
                    <p:custDataLst>
                      <p:tags r:id="rId241"/>
                    </p:custDataLst>
                  </p:nvPr>
                </p:nvSpPr>
                <p:spPr bwMode="gray">
                  <a:xfrm>
                    <a:off x="10114768" y="3982928"/>
                    <a:ext cx="29898" cy="12734"/>
                  </a:xfrm>
                  <a:custGeom>
                    <a:avLst/>
                    <a:gdLst>
                      <a:gd name="T0" fmla="*/ 0 w 20"/>
                      <a:gd name="T1" fmla="*/ 0 h 6"/>
                      <a:gd name="T2" fmla="*/ 7 w 20"/>
                      <a:gd name="T3" fmla="*/ 3 h 6"/>
                      <a:gd name="T4" fmla="*/ 1 w 20"/>
                      <a:gd name="T5" fmla="*/ 4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20" y="4"/>
                        </a:lnTo>
                        <a:lnTo>
                          <a:pt x="4" y="6"/>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6" name="vMap : Indonesia">
                    <a:extLst>
                      <a:ext uri="{FF2B5EF4-FFF2-40B4-BE49-F238E27FC236}">
                        <a16:creationId xmlns:a16="http://schemas.microsoft.com/office/drawing/2014/main" xmlns="" id="{038FCCEF-C8B5-E848-93DF-3B531397C96C}"/>
                      </a:ext>
                    </a:extLst>
                  </p:cNvPr>
                  <p:cNvSpPr>
                    <a:spLocks noChangeAspect="1"/>
                  </p:cNvSpPr>
                  <p:nvPr>
                    <p:custDataLst>
                      <p:tags r:id="rId242"/>
                    </p:custDataLst>
                  </p:nvPr>
                </p:nvSpPr>
                <p:spPr bwMode="gray">
                  <a:xfrm>
                    <a:off x="10114768" y="3822480"/>
                    <a:ext cx="54813" cy="129887"/>
                  </a:xfrm>
                  <a:custGeom>
                    <a:avLst/>
                    <a:gdLst>
                      <a:gd name="T0" fmla="*/ 12 w 34"/>
                      <a:gd name="T1" fmla="*/ 7 h 84"/>
                      <a:gd name="T2" fmla="*/ 14 w 34"/>
                      <a:gd name="T3" fmla="*/ 8 h 84"/>
                      <a:gd name="T4" fmla="*/ 10 w 34"/>
                      <a:gd name="T5" fmla="*/ 16 h 84"/>
                      <a:gd name="T6" fmla="*/ 14 w 34"/>
                      <a:gd name="T7" fmla="*/ 20 h 84"/>
                      <a:gd name="T8" fmla="*/ 6 w 34"/>
                      <a:gd name="T9" fmla="*/ 20 h 84"/>
                      <a:gd name="T10" fmla="*/ 10 w 34"/>
                      <a:gd name="T11" fmla="*/ 31 h 84"/>
                      <a:gd name="T12" fmla="*/ 3 w 34"/>
                      <a:gd name="T13" fmla="*/ 25 h 84"/>
                      <a:gd name="T14" fmla="*/ 0 w 34"/>
                      <a:gd name="T15" fmla="*/ 11 h 84"/>
                      <a:gd name="T16" fmla="*/ 5 w 34"/>
                      <a:gd name="T17" fmla="*/ 0 h 84"/>
                      <a:gd name="T18" fmla="*/ 6 w 34"/>
                      <a:gd name="T19" fmla="*/ 10 h 84"/>
                      <a:gd name="T20" fmla="*/ 12 w 34"/>
                      <a:gd name="T21" fmla="*/ 7 h 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4">
                        <a:moveTo>
                          <a:pt x="28" y="18"/>
                        </a:moveTo>
                        <a:lnTo>
                          <a:pt x="34" y="22"/>
                        </a:lnTo>
                        <a:lnTo>
                          <a:pt x="24" y="42"/>
                        </a:lnTo>
                        <a:lnTo>
                          <a:pt x="34" y="54"/>
                        </a:lnTo>
                        <a:lnTo>
                          <a:pt x="16" y="54"/>
                        </a:lnTo>
                        <a:lnTo>
                          <a:pt x="24" y="84"/>
                        </a:lnTo>
                        <a:lnTo>
                          <a:pt x="8" y="68"/>
                        </a:lnTo>
                        <a:lnTo>
                          <a:pt x="0" y="30"/>
                        </a:lnTo>
                        <a:lnTo>
                          <a:pt x="12" y="0"/>
                        </a:lnTo>
                        <a:lnTo>
                          <a:pt x="16" y="26"/>
                        </a:lnTo>
                        <a:lnTo>
                          <a:pt x="28" y="18"/>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7" name="vMap : Indonesia">
                    <a:extLst>
                      <a:ext uri="{FF2B5EF4-FFF2-40B4-BE49-F238E27FC236}">
                        <a16:creationId xmlns:a16="http://schemas.microsoft.com/office/drawing/2014/main" xmlns="" id="{CA5E0D6B-F716-D441-A451-AE0F51B86C3D}"/>
                      </a:ext>
                    </a:extLst>
                  </p:cNvPr>
                  <p:cNvSpPr>
                    <a:spLocks noChangeAspect="1"/>
                  </p:cNvSpPr>
                  <p:nvPr>
                    <p:custDataLst>
                      <p:tags r:id="rId243"/>
                    </p:custDataLst>
                  </p:nvPr>
                </p:nvSpPr>
                <p:spPr bwMode="gray">
                  <a:xfrm>
                    <a:off x="10064939" y="4051691"/>
                    <a:ext cx="44847" cy="33109"/>
                  </a:xfrm>
                  <a:custGeom>
                    <a:avLst/>
                    <a:gdLst>
                      <a:gd name="T0" fmla="*/ 0 w 29"/>
                      <a:gd name="T1" fmla="*/ 0 h 22"/>
                      <a:gd name="T2" fmla="*/ 7 w 29"/>
                      <a:gd name="T3" fmla="*/ 0 h 22"/>
                      <a:gd name="T4" fmla="*/ 11 w 29"/>
                      <a:gd name="T5" fmla="*/ 5 h 22"/>
                      <a:gd name="T6" fmla="*/ 4 w 29"/>
                      <a:gd name="T7" fmla="*/ 8 h 22"/>
                      <a:gd name="T8" fmla="*/ 0 w 29"/>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2">
                        <a:moveTo>
                          <a:pt x="0" y="0"/>
                        </a:moveTo>
                        <a:lnTo>
                          <a:pt x="19" y="0"/>
                        </a:lnTo>
                        <a:lnTo>
                          <a:pt x="29" y="14"/>
                        </a:lnTo>
                        <a:lnTo>
                          <a:pt x="12" y="22"/>
                        </a:lnTo>
                        <a:lnTo>
                          <a:pt x="0"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8" name="vMap : Indonesia">
                    <a:extLst>
                      <a:ext uri="{FF2B5EF4-FFF2-40B4-BE49-F238E27FC236}">
                        <a16:creationId xmlns:a16="http://schemas.microsoft.com/office/drawing/2014/main" xmlns="" id="{20A5974B-41FC-3843-8546-60F002539711}"/>
                      </a:ext>
                    </a:extLst>
                  </p:cNvPr>
                  <p:cNvSpPr>
                    <a:spLocks noChangeAspect="1"/>
                  </p:cNvSpPr>
                  <p:nvPr>
                    <p:custDataLst>
                      <p:tags r:id="rId244"/>
                    </p:custDataLst>
                  </p:nvPr>
                </p:nvSpPr>
                <p:spPr bwMode="gray">
                  <a:xfrm>
                    <a:off x="10007635" y="3993115"/>
                    <a:ext cx="32390" cy="15280"/>
                  </a:xfrm>
                  <a:custGeom>
                    <a:avLst/>
                    <a:gdLst>
                      <a:gd name="T0" fmla="*/ 0 w 22"/>
                      <a:gd name="T1" fmla="*/ 0 h 10"/>
                      <a:gd name="T2" fmla="*/ 8 w 22"/>
                      <a:gd name="T3" fmla="*/ 1 h 10"/>
                      <a:gd name="T4" fmla="*/ 1 w 22"/>
                      <a:gd name="T5" fmla="*/ 4 h 10"/>
                      <a:gd name="T6" fmla="*/ 0 w 22"/>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2" h="10">
                        <a:moveTo>
                          <a:pt x="0" y="0"/>
                        </a:moveTo>
                        <a:lnTo>
                          <a:pt x="22" y="2"/>
                        </a:lnTo>
                        <a:lnTo>
                          <a:pt x="4" y="10"/>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49" name="vMap : Indonesia">
                    <a:extLst>
                      <a:ext uri="{FF2B5EF4-FFF2-40B4-BE49-F238E27FC236}">
                        <a16:creationId xmlns:a16="http://schemas.microsoft.com/office/drawing/2014/main" xmlns="" id="{10E4D7A2-BDCD-3B43-9F7A-88C42DD54C72}"/>
                      </a:ext>
                    </a:extLst>
                  </p:cNvPr>
                  <p:cNvSpPr>
                    <a:spLocks noChangeAspect="1"/>
                  </p:cNvSpPr>
                  <p:nvPr>
                    <p:custDataLst>
                      <p:tags r:id="rId245"/>
                    </p:custDataLst>
                  </p:nvPr>
                </p:nvSpPr>
                <p:spPr bwMode="gray">
                  <a:xfrm>
                    <a:off x="9940364" y="4102627"/>
                    <a:ext cx="17441" cy="61123"/>
                  </a:xfrm>
                  <a:custGeom>
                    <a:avLst/>
                    <a:gdLst>
                      <a:gd name="T0" fmla="*/ 0 w 10"/>
                      <a:gd name="T1" fmla="*/ 8 h 37"/>
                      <a:gd name="T2" fmla="*/ 3 w 10"/>
                      <a:gd name="T3" fmla="*/ 0 h 37"/>
                      <a:gd name="T4" fmla="*/ 5 w 10"/>
                      <a:gd name="T5" fmla="*/ 5 h 37"/>
                      <a:gd name="T6" fmla="*/ 0 w 10"/>
                      <a:gd name="T7" fmla="*/ 16 h 37"/>
                      <a:gd name="T8" fmla="*/ 0 w 10"/>
                      <a:gd name="T9" fmla="*/ 8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37">
                        <a:moveTo>
                          <a:pt x="0" y="20"/>
                        </a:moveTo>
                        <a:lnTo>
                          <a:pt x="6" y="0"/>
                        </a:lnTo>
                        <a:lnTo>
                          <a:pt x="10" y="12"/>
                        </a:lnTo>
                        <a:lnTo>
                          <a:pt x="0" y="37"/>
                        </a:lnTo>
                        <a:lnTo>
                          <a:pt x="0" y="2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0" name="vMap : Indonesia">
                    <a:extLst>
                      <a:ext uri="{FF2B5EF4-FFF2-40B4-BE49-F238E27FC236}">
                        <a16:creationId xmlns:a16="http://schemas.microsoft.com/office/drawing/2014/main" xmlns="" id="{E9D82F82-C356-8C47-B697-2996757FA790}"/>
                      </a:ext>
                    </a:extLst>
                  </p:cNvPr>
                  <p:cNvSpPr>
                    <a:spLocks noChangeAspect="1"/>
                  </p:cNvSpPr>
                  <p:nvPr>
                    <p:custDataLst>
                      <p:tags r:id="rId246"/>
                    </p:custDataLst>
                  </p:nvPr>
                </p:nvSpPr>
                <p:spPr bwMode="gray">
                  <a:xfrm>
                    <a:off x="9805824" y="3847948"/>
                    <a:ext cx="229217" cy="315801"/>
                  </a:xfrm>
                  <a:custGeom>
                    <a:avLst/>
                    <a:gdLst>
                      <a:gd name="T0" fmla="*/ 19 w 152"/>
                      <a:gd name="T1" fmla="*/ 2 h 201"/>
                      <a:gd name="T2" fmla="*/ 45 w 152"/>
                      <a:gd name="T3" fmla="*/ 7 h 201"/>
                      <a:gd name="T4" fmla="*/ 54 w 152"/>
                      <a:gd name="T5" fmla="*/ 0 h 201"/>
                      <a:gd name="T6" fmla="*/ 56 w 152"/>
                      <a:gd name="T7" fmla="*/ 2 h 201"/>
                      <a:gd name="T8" fmla="*/ 48 w 152"/>
                      <a:gd name="T9" fmla="*/ 14 h 201"/>
                      <a:gd name="T10" fmla="*/ 13 w 152"/>
                      <a:gd name="T11" fmla="*/ 14 h 201"/>
                      <a:gd name="T12" fmla="*/ 11 w 152"/>
                      <a:gd name="T13" fmla="*/ 26 h 201"/>
                      <a:gd name="T14" fmla="*/ 17 w 152"/>
                      <a:gd name="T15" fmla="*/ 32 h 201"/>
                      <a:gd name="T16" fmla="*/ 38 w 152"/>
                      <a:gd name="T17" fmla="*/ 23 h 201"/>
                      <a:gd name="T18" fmla="*/ 41 w 152"/>
                      <a:gd name="T19" fmla="*/ 26 h 201"/>
                      <a:gd name="T20" fmla="*/ 22 w 152"/>
                      <a:gd name="T21" fmla="*/ 36 h 201"/>
                      <a:gd name="T22" fmla="*/ 32 w 152"/>
                      <a:gd name="T23" fmla="*/ 51 h 201"/>
                      <a:gd name="T24" fmla="*/ 29 w 152"/>
                      <a:gd name="T25" fmla="*/ 55 h 201"/>
                      <a:gd name="T26" fmla="*/ 34 w 152"/>
                      <a:gd name="T27" fmla="*/ 62 h 201"/>
                      <a:gd name="T28" fmla="*/ 24 w 152"/>
                      <a:gd name="T29" fmla="*/ 68 h 201"/>
                      <a:gd name="T30" fmla="*/ 17 w 152"/>
                      <a:gd name="T31" fmla="*/ 45 h 201"/>
                      <a:gd name="T32" fmla="*/ 11 w 152"/>
                      <a:gd name="T33" fmla="*/ 51 h 201"/>
                      <a:gd name="T34" fmla="*/ 13 w 152"/>
                      <a:gd name="T35" fmla="*/ 75 h 201"/>
                      <a:gd name="T36" fmla="*/ 5 w 152"/>
                      <a:gd name="T37" fmla="*/ 76 h 201"/>
                      <a:gd name="T38" fmla="*/ 2 w 152"/>
                      <a:gd name="T39" fmla="*/ 72 h 201"/>
                      <a:gd name="T40" fmla="*/ 5 w 152"/>
                      <a:gd name="T41" fmla="*/ 54 h 201"/>
                      <a:gd name="T42" fmla="*/ 1 w 152"/>
                      <a:gd name="T43" fmla="*/ 55 h 201"/>
                      <a:gd name="T44" fmla="*/ 0 w 152"/>
                      <a:gd name="T45" fmla="*/ 45 h 201"/>
                      <a:gd name="T46" fmla="*/ 8 w 152"/>
                      <a:gd name="T47" fmla="*/ 26 h 201"/>
                      <a:gd name="T48" fmla="*/ 11 w 152"/>
                      <a:gd name="T49" fmla="*/ 10 h 201"/>
                      <a:gd name="T50" fmla="*/ 19 w 152"/>
                      <a:gd name="T51" fmla="*/ 2 h 20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2" h="201">
                        <a:moveTo>
                          <a:pt x="52" y="6"/>
                        </a:moveTo>
                        <a:lnTo>
                          <a:pt x="122" y="18"/>
                        </a:lnTo>
                        <a:lnTo>
                          <a:pt x="148" y="0"/>
                        </a:lnTo>
                        <a:lnTo>
                          <a:pt x="152" y="6"/>
                        </a:lnTo>
                        <a:lnTo>
                          <a:pt x="130" y="38"/>
                        </a:lnTo>
                        <a:lnTo>
                          <a:pt x="34" y="38"/>
                        </a:lnTo>
                        <a:lnTo>
                          <a:pt x="30" y="68"/>
                        </a:lnTo>
                        <a:lnTo>
                          <a:pt x="46" y="84"/>
                        </a:lnTo>
                        <a:lnTo>
                          <a:pt x="102" y="60"/>
                        </a:lnTo>
                        <a:lnTo>
                          <a:pt x="110" y="68"/>
                        </a:lnTo>
                        <a:lnTo>
                          <a:pt x="60" y="94"/>
                        </a:lnTo>
                        <a:lnTo>
                          <a:pt x="88" y="134"/>
                        </a:lnTo>
                        <a:lnTo>
                          <a:pt x="80" y="144"/>
                        </a:lnTo>
                        <a:lnTo>
                          <a:pt x="92" y="164"/>
                        </a:lnTo>
                        <a:lnTo>
                          <a:pt x="64" y="180"/>
                        </a:lnTo>
                        <a:lnTo>
                          <a:pt x="46" y="118"/>
                        </a:lnTo>
                        <a:lnTo>
                          <a:pt x="30" y="134"/>
                        </a:lnTo>
                        <a:lnTo>
                          <a:pt x="34" y="197"/>
                        </a:lnTo>
                        <a:lnTo>
                          <a:pt x="14" y="201"/>
                        </a:lnTo>
                        <a:lnTo>
                          <a:pt x="6" y="190"/>
                        </a:lnTo>
                        <a:lnTo>
                          <a:pt x="14" y="142"/>
                        </a:lnTo>
                        <a:lnTo>
                          <a:pt x="2" y="144"/>
                        </a:lnTo>
                        <a:lnTo>
                          <a:pt x="0" y="118"/>
                        </a:lnTo>
                        <a:lnTo>
                          <a:pt x="22" y="68"/>
                        </a:lnTo>
                        <a:lnTo>
                          <a:pt x="30" y="26"/>
                        </a:lnTo>
                        <a:lnTo>
                          <a:pt x="52" y="6"/>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1" name="vMap : Indonesia">
                    <a:extLst>
                      <a:ext uri="{FF2B5EF4-FFF2-40B4-BE49-F238E27FC236}">
                        <a16:creationId xmlns:a16="http://schemas.microsoft.com/office/drawing/2014/main" xmlns="" id="{58FE467C-0830-2F4B-994A-BCBB42B9A084}"/>
                      </a:ext>
                    </a:extLst>
                  </p:cNvPr>
                  <p:cNvSpPr>
                    <a:spLocks noChangeAspect="1"/>
                  </p:cNvSpPr>
                  <p:nvPr>
                    <p:custDataLst>
                      <p:tags r:id="rId247"/>
                    </p:custDataLst>
                  </p:nvPr>
                </p:nvSpPr>
                <p:spPr bwMode="gray">
                  <a:xfrm>
                    <a:off x="9628929" y="4265621"/>
                    <a:ext cx="37373" cy="28015"/>
                  </a:xfrm>
                  <a:custGeom>
                    <a:avLst/>
                    <a:gdLst>
                      <a:gd name="T0" fmla="*/ 4 w 26"/>
                      <a:gd name="T1" fmla="*/ 0 h 18"/>
                      <a:gd name="T2" fmla="*/ 9 w 26"/>
                      <a:gd name="T3" fmla="*/ 3 h 18"/>
                      <a:gd name="T4" fmla="*/ 7 w 26"/>
                      <a:gd name="T5" fmla="*/ 7 h 18"/>
                      <a:gd name="T6" fmla="*/ 0 w 26"/>
                      <a:gd name="T7" fmla="*/ 3 h 18"/>
                      <a:gd name="T8" fmla="*/ 4 w 26"/>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12" y="0"/>
                        </a:moveTo>
                        <a:lnTo>
                          <a:pt x="26" y="8"/>
                        </a:lnTo>
                        <a:lnTo>
                          <a:pt x="20" y="18"/>
                        </a:lnTo>
                        <a:lnTo>
                          <a:pt x="0" y="8"/>
                        </a:lnTo>
                        <a:lnTo>
                          <a:pt x="12"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2" name="vMap : Indonesia">
                    <a:extLst>
                      <a:ext uri="{FF2B5EF4-FFF2-40B4-BE49-F238E27FC236}">
                        <a16:creationId xmlns:a16="http://schemas.microsoft.com/office/drawing/2014/main" xmlns="" id="{13E009F3-C77D-8944-B5A9-5F8C8217EA0B}"/>
                      </a:ext>
                    </a:extLst>
                  </p:cNvPr>
                  <p:cNvSpPr>
                    <a:spLocks noChangeAspect="1"/>
                  </p:cNvSpPr>
                  <p:nvPr>
                    <p:custDataLst>
                      <p:tags r:id="rId248"/>
                    </p:custDataLst>
                  </p:nvPr>
                </p:nvSpPr>
                <p:spPr bwMode="gray">
                  <a:xfrm>
                    <a:off x="9678759" y="4280902"/>
                    <a:ext cx="29898" cy="20374"/>
                  </a:xfrm>
                  <a:custGeom>
                    <a:avLst/>
                    <a:gdLst>
                      <a:gd name="T0" fmla="*/ 1 w 20"/>
                      <a:gd name="T1" fmla="*/ 1 h 14"/>
                      <a:gd name="T2" fmla="*/ 7 w 20"/>
                      <a:gd name="T3" fmla="*/ 0 h 14"/>
                      <a:gd name="T4" fmla="*/ 6 w 20"/>
                      <a:gd name="T5" fmla="*/ 5 h 14"/>
                      <a:gd name="T6" fmla="*/ 0 w 20"/>
                      <a:gd name="T7" fmla="*/ 5 h 14"/>
                      <a:gd name="T8" fmla="*/ 1 w 20"/>
                      <a:gd name="T9" fmla="*/ 1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4">
                        <a:moveTo>
                          <a:pt x="4" y="4"/>
                        </a:moveTo>
                        <a:lnTo>
                          <a:pt x="20" y="0"/>
                        </a:lnTo>
                        <a:lnTo>
                          <a:pt x="16" y="14"/>
                        </a:lnTo>
                        <a:lnTo>
                          <a:pt x="0" y="14"/>
                        </a:lnTo>
                        <a:lnTo>
                          <a:pt x="4" y="4"/>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3" name="vMap : Indonesia">
                    <a:extLst>
                      <a:ext uri="{FF2B5EF4-FFF2-40B4-BE49-F238E27FC236}">
                        <a16:creationId xmlns:a16="http://schemas.microsoft.com/office/drawing/2014/main" xmlns="" id="{3397E858-AD6B-C141-8FB1-470B0FBEA05E}"/>
                      </a:ext>
                    </a:extLst>
                  </p:cNvPr>
                  <p:cNvSpPr>
                    <a:spLocks noChangeAspect="1"/>
                  </p:cNvSpPr>
                  <p:nvPr>
                    <p:custDataLst>
                      <p:tags r:id="rId249"/>
                    </p:custDataLst>
                  </p:nvPr>
                </p:nvSpPr>
                <p:spPr bwMode="gray">
                  <a:xfrm>
                    <a:off x="9716131" y="4265621"/>
                    <a:ext cx="89694" cy="48389"/>
                  </a:xfrm>
                  <a:custGeom>
                    <a:avLst/>
                    <a:gdLst>
                      <a:gd name="T0" fmla="*/ 1 w 57"/>
                      <a:gd name="T1" fmla="*/ 5 h 30"/>
                      <a:gd name="T2" fmla="*/ 11 w 57"/>
                      <a:gd name="T3" fmla="*/ 6 h 30"/>
                      <a:gd name="T4" fmla="*/ 10 w 57"/>
                      <a:gd name="T5" fmla="*/ 0 h 30"/>
                      <a:gd name="T6" fmla="*/ 18 w 57"/>
                      <a:gd name="T7" fmla="*/ 5 h 30"/>
                      <a:gd name="T8" fmla="*/ 20 w 57"/>
                      <a:gd name="T9" fmla="*/ 3 h 30"/>
                      <a:gd name="T10" fmla="*/ 23 w 57"/>
                      <a:gd name="T11" fmla="*/ 7 h 30"/>
                      <a:gd name="T12" fmla="*/ 1 w 57"/>
                      <a:gd name="T13" fmla="*/ 12 h 30"/>
                      <a:gd name="T14" fmla="*/ 0 w 57"/>
                      <a:gd name="T15" fmla="*/ 6 h 30"/>
                      <a:gd name="T16" fmla="*/ 1 w 57"/>
                      <a:gd name="T17" fmla="*/ 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7" h="30">
                        <a:moveTo>
                          <a:pt x="3" y="12"/>
                        </a:moveTo>
                        <a:lnTo>
                          <a:pt x="29" y="16"/>
                        </a:lnTo>
                        <a:lnTo>
                          <a:pt x="25" y="0"/>
                        </a:lnTo>
                        <a:lnTo>
                          <a:pt x="45" y="12"/>
                        </a:lnTo>
                        <a:lnTo>
                          <a:pt x="49" y="8"/>
                        </a:lnTo>
                        <a:lnTo>
                          <a:pt x="57" y="18"/>
                        </a:lnTo>
                        <a:lnTo>
                          <a:pt x="3" y="30"/>
                        </a:lnTo>
                        <a:lnTo>
                          <a:pt x="0" y="16"/>
                        </a:lnTo>
                        <a:lnTo>
                          <a:pt x="3" y="12"/>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4" name="vMap : Indonesia">
                    <a:extLst>
                      <a:ext uri="{FF2B5EF4-FFF2-40B4-BE49-F238E27FC236}">
                        <a16:creationId xmlns:a16="http://schemas.microsoft.com/office/drawing/2014/main" xmlns="" id="{B80F1595-6543-BC49-922C-7435AA81B64E}"/>
                      </a:ext>
                    </a:extLst>
                  </p:cNvPr>
                  <p:cNvSpPr>
                    <a:spLocks noChangeAspect="1"/>
                  </p:cNvSpPr>
                  <p:nvPr>
                    <p:custDataLst>
                      <p:tags r:id="rId250"/>
                    </p:custDataLst>
                  </p:nvPr>
                </p:nvSpPr>
                <p:spPr bwMode="gray">
                  <a:xfrm>
                    <a:off x="9790875" y="4319103"/>
                    <a:ext cx="64779" cy="45842"/>
                  </a:xfrm>
                  <a:custGeom>
                    <a:avLst/>
                    <a:gdLst>
                      <a:gd name="T0" fmla="*/ 9 w 42"/>
                      <a:gd name="T1" fmla="*/ 0 h 28"/>
                      <a:gd name="T2" fmla="*/ 16 w 42"/>
                      <a:gd name="T3" fmla="*/ 10 h 28"/>
                      <a:gd name="T4" fmla="*/ 12 w 42"/>
                      <a:gd name="T5" fmla="*/ 12 h 28"/>
                      <a:gd name="T6" fmla="*/ 1 w 42"/>
                      <a:gd name="T7" fmla="*/ 6 h 28"/>
                      <a:gd name="T8" fmla="*/ 0 w 42"/>
                      <a:gd name="T9" fmla="*/ 2 h 28"/>
                      <a:gd name="T10" fmla="*/ 9 w 42"/>
                      <a:gd name="T11" fmla="*/ 0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28">
                        <a:moveTo>
                          <a:pt x="22" y="0"/>
                        </a:moveTo>
                        <a:lnTo>
                          <a:pt x="42" y="24"/>
                        </a:lnTo>
                        <a:lnTo>
                          <a:pt x="30" y="28"/>
                        </a:lnTo>
                        <a:lnTo>
                          <a:pt x="4" y="16"/>
                        </a:lnTo>
                        <a:lnTo>
                          <a:pt x="0" y="4"/>
                        </a:lnTo>
                        <a:lnTo>
                          <a:pt x="22" y="0"/>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5" name="vMap : Indonesia">
                    <a:extLst>
                      <a:ext uri="{FF2B5EF4-FFF2-40B4-BE49-F238E27FC236}">
                        <a16:creationId xmlns:a16="http://schemas.microsoft.com/office/drawing/2014/main" xmlns="" id="{6FC59825-B91B-8743-B57F-D3EACB866474}"/>
                      </a:ext>
                    </a:extLst>
                  </p:cNvPr>
                  <p:cNvSpPr>
                    <a:spLocks noChangeAspect="1"/>
                  </p:cNvSpPr>
                  <p:nvPr>
                    <p:custDataLst>
                      <p:tags r:id="rId251"/>
                    </p:custDataLst>
                  </p:nvPr>
                </p:nvSpPr>
                <p:spPr bwMode="gray">
                  <a:xfrm>
                    <a:off x="9825756" y="4265621"/>
                    <a:ext cx="114608" cy="43296"/>
                  </a:xfrm>
                  <a:custGeom>
                    <a:avLst/>
                    <a:gdLst>
                      <a:gd name="T0" fmla="*/ 1 w 78"/>
                      <a:gd name="T1" fmla="*/ 5 h 26"/>
                      <a:gd name="T2" fmla="*/ 7 w 78"/>
                      <a:gd name="T3" fmla="*/ 2 h 26"/>
                      <a:gd name="T4" fmla="*/ 22 w 78"/>
                      <a:gd name="T5" fmla="*/ 7 h 26"/>
                      <a:gd name="T6" fmla="*/ 26 w 78"/>
                      <a:gd name="T7" fmla="*/ 0 h 26"/>
                      <a:gd name="T8" fmla="*/ 27 w 78"/>
                      <a:gd name="T9" fmla="*/ 3 h 26"/>
                      <a:gd name="T10" fmla="*/ 23 w 78"/>
                      <a:gd name="T11" fmla="*/ 8 h 26"/>
                      <a:gd name="T12" fmla="*/ 11 w 78"/>
                      <a:gd name="T13" fmla="*/ 11 h 26"/>
                      <a:gd name="T14" fmla="*/ 0 w 78"/>
                      <a:gd name="T15" fmla="*/ 8 h 26"/>
                      <a:gd name="T16" fmla="*/ 1 w 78"/>
                      <a:gd name="T17" fmla="*/ 5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8" h="26">
                        <a:moveTo>
                          <a:pt x="4" y="12"/>
                        </a:moveTo>
                        <a:lnTo>
                          <a:pt x="20" y="4"/>
                        </a:lnTo>
                        <a:lnTo>
                          <a:pt x="62" y="16"/>
                        </a:lnTo>
                        <a:lnTo>
                          <a:pt x="74" y="0"/>
                        </a:lnTo>
                        <a:lnTo>
                          <a:pt x="78" y="8"/>
                        </a:lnTo>
                        <a:lnTo>
                          <a:pt x="66" y="18"/>
                        </a:lnTo>
                        <a:lnTo>
                          <a:pt x="32" y="26"/>
                        </a:lnTo>
                        <a:lnTo>
                          <a:pt x="0" y="18"/>
                        </a:lnTo>
                        <a:lnTo>
                          <a:pt x="4" y="12"/>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6" name="vMap : Indonesia">
                    <a:extLst>
                      <a:ext uri="{FF2B5EF4-FFF2-40B4-BE49-F238E27FC236}">
                        <a16:creationId xmlns:a16="http://schemas.microsoft.com/office/drawing/2014/main" xmlns="" id="{841DF821-015F-3043-994A-6D7DDEB2473D}"/>
                      </a:ext>
                    </a:extLst>
                  </p:cNvPr>
                  <p:cNvSpPr>
                    <a:spLocks noChangeAspect="1"/>
                  </p:cNvSpPr>
                  <p:nvPr>
                    <p:custDataLst>
                      <p:tags r:id="rId252"/>
                    </p:custDataLst>
                  </p:nvPr>
                </p:nvSpPr>
                <p:spPr bwMode="gray">
                  <a:xfrm>
                    <a:off x="9952823" y="4283449"/>
                    <a:ext cx="144506" cy="81498"/>
                  </a:xfrm>
                  <a:custGeom>
                    <a:avLst/>
                    <a:gdLst>
                      <a:gd name="T0" fmla="*/ 16 w 95"/>
                      <a:gd name="T1" fmla="*/ 11 h 50"/>
                      <a:gd name="T2" fmla="*/ 12 w 95"/>
                      <a:gd name="T3" fmla="*/ 19 h 50"/>
                      <a:gd name="T4" fmla="*/ 0 w 95"/>
                      <a:gd name="T5" fmla="*/ 20 h 50"/>
                      <a:gd name="T6" fmla="*/ 3 w 95"/>
                      <a:gd name="T7" fmla="*/ 11 h 50"/>
                      <a:gd name="T8" fmla="*/ 13 w 95"/>
                      <a:gd name="T9" fmla="*/ 8 h 50"/>
                      <a:gd name="T10" fmla="*/ 16 w 95"/>
                      <a:gd name="T11" fmla="*/ 3 h 50"/>
                      <a:gd name="T12" fmla="*/ 35 w 95"/>
                      <a:gd name="T13" fmla="*/ 0 h 50"/>
                      <a:gd name="T14" fmla="*/ 35 w 95"/>
                      <a:gd name="T15" fmla="*/ 3 h 50"/>
                      <a:gd name="T16" fmla="*/ 16 w 95"/>
                      <a:gd name="T17" fmla="*/ 11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5" h="50">
                        <a:moveTo>
                          <a:pt x="44" y="26"/>
                        </a:moveTo>
                        <a:lnTo>
                          <a:pt x="32" y="46"/>
                        </a:lnTo>
                        <a:lnTo>
                          <a:pt x="0" y="50"/>
                        </a:lnTo>
                        <a:lnTo>
                          <a:pt x="8" y="26"/>
                        </a:lnTo>
                        <a:lnTo>
                          <a:pt x="36" y="18"/>
                        </a:lnTo>
                        <a:lnTo>
                          <a:pt x="44" y="6"/>
                        </a:lnTo>
                        <a:lnTo>
                          <a:pt x="95" y="0"/>
                        </a:lnTo>
                        <a:lnTo>
                          <a:pt x="93" y="6"/>
                        </a:lnTo>
                        <a:lnTo>
                          <a:pt x="44" y="26"/>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7" name="vMap : Indonesia">
                    <a:extLst>
                      <a:ext uri="{FF2B5EF4-FFF2-40B4-BE49-F238E27FC236}">
                        <a16:creationId xmlns:a16="http://schemas.microsoft.com/office/drawing/2014/main" xmlns="" id="{5CE3DCD2-83BF-D841-A746-81A925279E69}"/>
                      </a:ext>
                    </a:extLst>
                  </p:cNvPr>
                  <p:cNvSpPr>
                    <a:spLocks noChangeAspect="1"/>
                  </p:cNvSpPr>
                  <p:nvPr>
                    <p:custDataLst>
                      <p:tags r:id="rId253"/>
                    </p:custDataLst>
                  </p:nvPr>
                </p:nvSpPr>
                <p:spPr bwMode="gray">
                  <a:xfrm>
                    <a:off x="10052482" y="4255434"/>
                    <a:ext cx="29898" cy="10187"/>
                  </a:xfrm>
                  <a:custGeom>
                    <a:avLst/>
                    <a:gdLst>
                      <a:gd name="T0" fmla="*/ 0 w 20"/>
                      <a:gd name="T1" fmla="*/ 2 h 8"/>
                      <a:gd name="T2" fmla="*/ 0 w 20"/>
                      <a:gd name="T3" fmla="*/ 0 h 8"/>
                      <a:gd name="T4" fmla="*/ 7 w 20"/>
                      <a:gd name="T5" fmla="*/ 0 h 8"/>
                      <a:gd name="T6" fmla="*/ 0 w 20"/>
                      <a:gd name="T7" fmla="*/ 2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8">
                        <a:moveTo>
                          <a:pt x="0" y="8"/>
                        </a:moveTo>
                        <a:lnTo>
                          <a:pt x="0" y="0"/>
                        </a:lnTo>
                        <a:lnTo>
                          <a:pt x="20" y="0"/>
                        </a:lnTo>
                        <a:lnTo>
                          <a:pt x="0" y="8"/>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8" name="vMap : Indonesia">
                    <a:extLst>
                      <a:ext uri="{FF2B5EF4-FFF2-40B4-BE49-F238E27FC236}">
                        <a16:creationId xmlns:a16="http://schemas.microsoft.com/office/drawing/2014/main" xmlns="" id="{AE33F3AE-9F4E-5C48-B382-B395D1EAE2BF}"/>
                      </a:ext>
                    </a:extLst>
                  </p:cNvPr>
                  <p:cNvSpPr>
                    <a:spLocks noChangeAspect="1"/>
                  </p:cNvSpPr>
                  <p:nvPr>
                    <p:custDataLst>
                      <p:tags r:id="rId254"/>
                    </p:custDataLst>
                  </p:nvPr>
                </p:nvSpPr>
                <p:spPr bwMode="gray">
                  <a:xfrm>
                    <a:off x="10244326" y="4229965"/>
                    <a:ext cx="24915" cy="35655"/>
                  </a:xfrm>
                  <a:custGeom>
                    <a:avLst/>
                    <a:gdLst>
                      <a:gd name="T0" fmla="*/ 0 w 16"/>
                      <a:gd name="T1" fmla="*/ 5 h 24"/>
                      <a:gd name="T2" fmla="*/ 6 w 16"/>
                      <a:gd name="T3" fmla="*/ 0 h 24"/>
                      <a:gd name="T4" fmla="*/ 2 w 16"/>
                      <a:gd name="T5" fmla="*/ 8 h 24"/>
                      <a:gd name="T6" fmla="*/ 0 w 16"/>
                      <a:gd name="T7" fmla="*/ 5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24">
                        <a:moveTo>
                          <a:pt x="0" y="16"/>
                        </a:moveTo>
                        <a:lnTo>
                          <a:pt x="16" y="0"/>
                        </a:lnTo>
                        <a:lnTo>
                          <a:pt x="4" y="24"/>
                        </a:lnTo>
                        <a:lnTo>
                          <a:pt x="0" y="16"/>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59" name="vMap : Indonesia">
                    <a:extLst>
                      <a:ext uri="{FF2B5EF4-FFF2-40B4-BE49-F238E27FC236}">
                        <a16:creationId xmlns:a16="http://schemas.microsoft.com/office/drawing/2014/main" xmlns="" id="{43B053AE-CBB2-F649-9D3E-A6E77B97430A}"/>
                      </a:ext>
                    </a:extLst>
                  </p:cNvPr>
                  <p:cNvSpPr>
                    <a:spLocks noChangeAspect="1"/>
                  </p:cNvSpPr>
                  <p:nvPr>
                    <p:custDataLst>
                      <p:tags r:id="rId255"/>
                    </p:custDataLst>
                  </p:nvPr>
                </p:nvSpPr>
                <p:spPr bwMode="gray">
                  <a:xfrm>
                    <a:off x="10371392" y="4158656"/>
                    <a:ext cx="12458" cy="35655"/>
                  </a:xfrm>
                  <a:custGeom>
                    <a:avLst/>
                    <a:gdLst>
                      <a:gd name="T0" fmla="*/ 0 w 8"/>
                      <a:gd name="T1" fmla="*/ 3 h 24"/>
                      <a:gd name="T2" fmla="*/ 3 w 8"/>
                      <a:gd name="T3" fmla="*/ 0 h 24"/>
                      <a:gd name="T4" fmla="*/ 3 w 8"/>
                      <a:gd name="T5" fmla="*/ 8 h 24"/>
                      <a:gd name="T6" fmla="*/ 0 w 8"/>
                      <a:gd name="T7" fmla="*/ 3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4">
                        <a:moveTo>
                          <a:pt x="0" y="8"/>
                        </a:moveTo>
                        <a:lnTo>
                          <a:pt x="8" y="0"/>
                        </a:lnTo>
                        <a:lnTo>
                          <a:pt x="8" y="24"/>
                        </a:lnTo>
                        <a:lnTo>
                          <a:pt x="0" y="8"/>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0" name="vMap : Indonesia">
                    <a:extLst>
                      <a:ext uri="{FF2B5EF4-FFF2-40B4-BE49-F238E27FC236}">
                        <a16:creationId xmlns:a16="http://schemas.microsoft.com/office/drawing/2014/main" xmlns="" id="{629880E9-7146-564E-A3D0-16E160849306}"/>
                      </a:ext>
                    </a:extLst>
                  </p:cNvPr>
                  <p:cNvSpPr>
                    <a:spLocks noChangeAspect="1"/>
                  </p:cNvSpPr>
                  <p:nvPr>
                    <p:custDataLst>
                      <p:tags r:id="rId256"/>
                    </p:custDataLst>
                  </p:nvPr>
                </p:nvSpPr>
                <p:spPr bwMode="gray">
                  <a:xfrm>
                    <a:off x="10137193" y="4044051"/>
                    <a:ext cx="107135" cy="35655"/>
                  </a:xfrm>
                  <a:custGeom>
                    <a:avLst/>
                    <a:gdLst>
                      <a:gd name="T0" fmla="*/ 0 w 72"/>
                      <a:gd name="T1" fmla="*/ 7 h 22"/>
                      <a:gd name="T2" fmla="*/ 3 w 72"/>
                      <a:gd name="T3" fmla="*/ 0 h 22"/>
                      <a:gd name="T4" fmla="*/ 15 w 72"/>
                      <a:gd name="T5" fmla="*/ 0 h 22"/>
                      <a:gd name="T6" fmla="*/ 22 w 72"/>
                      <a:gd name="T7" fmla="*/ 2 h 22"/>
                      <a:gd name="T8" fmla="*/ 26 w 72"/>
                      <a:gd name="T9" fmla="*/ 9 h 22"/>
                      <a:gd name="T10" fmla="*/ 1 w 72"/>
                      <a:gd name="T11" fmla="*/ 3 h 22"/>
                      <a:gd name="T12" fmla="*/ 0 w 72"/>
                      <a:gd name="T13" fmla="*/ 7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2" h="22">
                        <a:moveTo>
                          <a:pt x="0" y="18"/>
                        </a:moveTo>
                        <a:lnTo>
                          <a:pt x="8" y="0"/>
                        </a:lnTo>
                        <a:lnTo>
                          <a:pt x="42" y="0"/>
                        </a:lnTo>
                        <a:lnTo>
                          <a:pt x="62" y="4"/>
                        </a:lnTo>
                        <a:lnTo>
                          <a:pt x="72" y="22"/>
                        </a:lnTo>
                        <a:lnTo>
                          <a:pt x="4" y="8"/>
                        </a:lnTo>
                        <a:lnTo>
                          <a:pt x="0" y="18"/>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1" name="vMap : Indonesia">
                    <a:extLst>
                      <a:ext uri="{FF2B5EF4-FFF2-40B4-BE49-F238E27FC236}">
                        <a16:creationId xmlns:a16="http://schemas.microsoft.com/office/drawing/2014/main" xmlns="" id="{801F072F-D9F0-754E-8DA9-E0E5BCB3EA1C}"/>
                      </a:ext>
                    </a:extLst>
                  </p:cNvPr>
                  <p:cNvSpPr>
                    <a:spLocks noChangeAspect="1"/>
                  </p:cNvSpPr>
                  <p:nvPr>
                    <p:custDataLst>
                      <p:tags r:id="rId257"/>
                    </p:custDataLst>
                  </p:nvPr>
                </p:nvSpPr>
                <p:spPr bwMode="gray">
                  <a:xfrm>
                    <a:off x="10204462" y="3993115"/>
                    <a:ext cx="24915" cy="7640"/>
                  </a:xfrm>
                  <a:custGeom>
                    <a:avLst/>
                    <a:gdLst>
                      <a:gd name="T0" fmla="*/ 0 w 16"/>
                      <a:gd name="T1" fmla="*/ 1 h 6"/>
                      <a:gd name="T2" fmla="*/ 6 w 16"/>
                      <a:gd name="T3" fmla="*/ 0 h 6"/>
                      <a:gd name="T4" fmla="*/ 6 w 16"/>
                      <a:gd name="T5" fmla="*/ 2 h 6"/>
                      <a:gd name="T6" fmla="*/ 0 w 16"/>
                      <a:gd name="T7" fmla="*/ 1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6">
                        <a:moveTo>
                          <a:pt x="0" y="2"/>
                        </a:moveTo>
                        <a:lnTo>
                          <a:pt x="16" y="0"/>
                        </a:lnTo>
                        <a:lnTo>
                          <a:pt x="16" y="6"/>
                        </a:lnTo>
                        <a:lnTo>
                          <a:pt x="0" y="2"/>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2" name="vMap : Indonesia">
                    <a:extLst>
                      <a:ext uri="{FF2B5EF4-FFF2-40B4-BE49-F238E27FC236}">
                        <a16:creationId xmlns:a16="http://schemas.microsoft.com/office/drawing/2014/main" xmlns="" id="{8448CDA5-11AA-8A4C-8A83-EE8BE465F700}"/>
                      </a:ext>
                    </a:extLst>
                  </p:cNvPr>
                  <p:cNvSpPr>
                    <a:spLocks noChangeAspect="1"/>
                  </p:cNvSpPr>
                  <p:nvPr>
                    <p:custDataLst>
                      <p:tags r:id="rId258"/>
                    </p:custDataLst>
                  </p:nvPr>
                </p:nvSpPr>
                <p:spPr bwMode="gray">
                  <a:xfrm>
                    <a:off x="9432101" y="3725702"/>
                    <a:ext cx="373723" cy="374378"/>
                  </a:xfrm>
                  <a:custGeom>
                    <a:avLst/>
                    <a:gdLst>
                      <a:gd name="T0" fmla="*/ 80 w 241"/>
                      <a:gd name="T1" fmla="*/ 3 h 238"/>
                      <a:gd name="T2" fmla="*/ 83 w 241"/>
                      <a:gd name="T3" fmla="*/ 7 h 238"/>
                      <a:gd name="T4" fmla="*/ 77 w 241"/>
                      <a:gd name="T5" fmla="*/ 11 h 238"/>
                      <a:gd name="T6" fmla="*/ 84 w 241"/>
                      <a:gd name="T7" fmla="*/ 22 h 238"/>
                      <a:gd name="T8" fmla="*/ 84 w 241"/>
                      <a:gd name="T9" fmla="*/ 27 h 238"/>
                      <a:gd name="T10" fmla="*/ 93 w 241"/>
                      <a:gd name="T11" fmla="*/ 36 h 238"/>
                      <a:gd name="T12" fmla="*/ 86 w 241"/>
                      <a:gd name="T13" fmla="*/ 35 h 238"/>
                      <a:gd name="T14" fmla="*/ 77 w 241"/>
                      <a:gd name="T15" fmla="*/ 59 h 238"/>
                      <a:gd name="T16" fmla="*/ 68 w 241"/>
                      <a:gd name="T17" fmla="*/ 65 h 238"/>
                      <a:gd name="T18" fmla="*/ 72 w 241"/>
                      <a:gd name="T19" fmla="*/ 70 h 238"/>
                      <a:gd name="T20" fmla="*/ 65 w 241"/>
                      <a:gd name="T21" fmla="*/ 85 h 238"/>
                      <a:gd name="T22" fmla="*/ 55 w 241"/>
                      <a:gd name="T23" fmla="*/ 91 h 238"/>
                      <a:gd name="T24" fmla="*/ 49 w 241"/>
                      <a:gd name="T25" fmla="*/ 82 h 238"/>
                      <a:gd name="T26" fmla="*/ 39 w 241"/>
                      <a:gd name="T27" fmla="*/ 79 h 238"/>
                      <a:gd name="T28" fmla="*/ 26 w 241"/>
                      <a:gd name="T29" fmla="*/ 84 h 238"/>
                      <a:gd name="T30" fmla="*/ 25 w 241"/>
                      <a:gd name="T31" fmla="*/ 77 h 238"/>
                      <a:gd name="T32" fmla="*/ 12 w 241"/>
                      <a:gd name="T33" fmla="*/ 78 h 238"/>
                      <a:gd name="T34" fmla="*/ 9 w 241"/>
                      <a:gd name="T35" fmla="*/ 61 h 238"/>
                      <a:gd name="T36" fmla="*/ 1 w 241"/>
                      <a:gd name="T37" fmla="*/ 51 h 238"/>
                      <a:gd name="T38" fmla="*/ 0 w 241"/>
                      <a:gd name="T39" fmla="*/ 41 h 238"/>
                      <a:gd name="T40" fmla="*/ 1 w 241"/>
                      <a:gd name="T41" fmla="*/ 30 h 238"/>
                      <a:gd name="T42" fmla="*/ 4 w 241"/>
                      <a:gd name="T43" fmla="*/ 25 h 238"/>
                      <a:gd name="T44" fmla="*/ 7 w 241"/>
                      <a:gd name="T45" fmla="*/ 30 h 238"/>
                      <a:gd name="T46" fmla="*/ 15 w 241"/>
                      <a:gd name="T47" fmla="*/ 36 h 238"/>
                      <a:gd name="T48" fmla="*/ 25 w 241"/>
                      <a:gd name="T49" fmla="*/ 36 h 238"/>
                      <a:gd name="T50" fmla="*/ 31 w 241"/>
                      <a:gd name="T51" fmla="*/ 30 h 238"/>
                      <a:gd name="T52" fmla="*/ 41 w 241"/>
                      <a:gd name="T53" fmla="*/ 33 h 238"/>
                      <a:gd name="T54" fmla="*/ 49 w 241"/>
                      <a:gd name="T55" fmla="*/ 32 h 238"/>
                      <a:gd name="T56" fmla="*/ 54 w 241"/>
                      <a:gd name="T57" fmla="*/ 27 h 238"/>
                      <a:gd name="T58" fmla="*/ 63 w 241"/>
                      <a:gd name="T59" fmla="*/ 0 h 238"/>
                      <a:gd name="T60" fmla="*/ 80 w 241"/>
                      <a:gd name="T61" fmla="*/ 3 h 2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41" h="238">
                        <a:moveTo>
                          <a:pt x="205" y="8"/>
                        </a:moveTo>
                        <a:lnTo>
                          <a:pt x="213" y="20"/>
                        </a:lnTo>
                        <a:lnTo>
                          <a:pt x="197" y="28"/>
                        </a:lnTo>
                        <a:lnTo>
                          <a:pt x="217" y="58"/>
                        </a:lnTo>
                        <a:lnTo>
                          <a:pt x="217" y="70"/>
                        </a:lnTo>
                        <a:lnTo>
                          <a:pt x="241" y="96"/>
                        </a:lnTo>
                        <a:lnTo>
                          <a:pt x="221" y="92"/>
                        </a:lnTo>
                        <a:lnTo>
                          <a:pt x="197" y="154"/>
                        </a:lnTo>
                        <a:lnTo>
                          <a:pt x="176" y="172"/>
                        </a:lnTo>
                        <a:lnTo>
                          <a:pt x="187" y="184"/>
                        </a:lnTo>
                        <a:lnTo>
                          <a:pt x="168" y="222"/>
                        </a:lnTo>
                        <a:lnTo>
                          <a:pt x="142" y="238"/>
                        </a:lnTo>
                        <a:lnTo>
                          <a:pt x="126" y="216"/>
                        </a:lnTo>
                        <a:lnTo>
                          <a:pt x="100" y="208"/>
                        </a:lnTo>
                        <a:lnTo>
                          <a:pt x="68" y="220"/>
                        </a:lnTo>
                        <a:lnTo>
                          <a:pt x="64" y="200"/>
                        </a:lnTo>
                        <a:lnTo>
                          <a:pt x="30" y="204"/>
                        </a:lnTo>
                        <a:lnTo>
                          <a:pt x="22" y="158"/>
                        </a:lnTo>
                        <a:lnTo>
                          <a:pt x="4" y="134"/>
                        </a:lnTo>
                        <a:lnTo>
                          <a:pt x="0" y="108"/>
                        </a:lnTo>
                        <a:lnTo>
                          <a:pt x="4" y="78"/>
                        </a:lnTo>
                        <a:lnTo>
                          <a:pt x="10" y="66"/>
                        </a:lnTo>
                        <a:lnTo>
                          <a:pt x="18" y="78"/>
                        </a:lnTo>
                        <a:lnTo>
                          <a:pt x="38" y="96"/>
                        </a:lnTo>
                        <a:lnTo>
                          <a:pt x="64" y="96"/>
                        </a:lnTo>
                        <a:lnTo>
                          <a:pt x="80" y="80"/>
                        </a:lnTo>
                        <a:lnTo>
                          <a:pt x="106" y="88"/>
                        </a:lnTo>
                        <a:lnTo>
                          <a:pt x="126" y="84"/>
                        </a:lnTo>
                        <a:lnTo>
                          <a:pt x="138" y="70"/>
                        </a:lnTo>
                        <a:lnTo>
                          <a:pt x="164" y="0"/>
                        </a:lnTo>
                        <a:lnTo>
                          <a:pt x="205" y="8"/>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3" name="vMap : Indonesia">
                    <a:extLst>
                      <a:ext uri="{FF2B5EF4-FFF2-40B4-BE49-F238E27FC236}">
                        <a16:creationId xmlns:a16="http://schemas.microsoft.com/office/drawing/2014/main" xmlns="" id="{224EC43D-5FFC-0A4E-A184-E5EAFFADADF8}"/>
                      </a:ext>
                    </a:extLst>
                  </p:cNvPr>
                  <p:cNvSpPr>
                    <a:spLocks noChangeAspect="1"/>
                  </p:cNvSpPr>
                  <p:nvPr>
                    <p:custDataLst>
                      <p:tags r:id="rId259"/>
                    </p:custDataLst>
                  </p:nvPr>
                </p:nvSpPr>
                <p:spPr bwMode="gray">
                  <a:xfrm>
                    <a:off x="9295070" y="4176484"/>
                    <a:ext cx="333859" cy="117152"/>
                  </a:xfrm>
                  <a:custGeom>
                    <a:avLst/>
                    <a:gdLst>
                      <a:gd name="T0" fmla="*/ 61 w 217"/>
                      <a:gd name="T1" fmla="*/ 24 h 76"/>
                      <a:gd name="T2" fmla="*/ 14 w 217"/>
                      <a:gd name="T3" fmla="*/ 15 h 76"/>
                      <a:gd name="T4" fmla="*/ 0 w 217"/>
                      <a:gd name="T5" fmla="*/ 6 h 76"/>
                      <a:gd name="T6" fmla="*/ 2 w 217"/>
                      <a:gd name="T7" fmla="*/ 7 h 76"/>
                      <a:gd name="T8" fmla="*/ 9 w 217"/>
                      <a:gd name="T9" fmla="*/ 0 h 76"/>
                      <a:gd name="T10" fmla="*/ 17 w 217"/>
                      <a:gd name="T11" fmla="*/ 0 h 76"/>
                      <a:gd name="T12" fmla="*/ 31 w 217"/>
                      <a:gd name="T13" fmla="*/ 9 h 76"/>
                      <a:gd name="T14" fmla="*/ 46 w 217"/>
                      <a:gd name="T15" fmla="*/ 10 h 76"/>
                      <a:gd name="T16" fmla="*/ 51 w 217"/>
                      <a:gd name="T17" fmla="*/ 4 h 76"/>
                      <a:gd name="T18" fmla="*/ 65 w 217"/>
                      <a:gd name="T19" fmla="*/ 10 h 76"/>
                      <a:gd name="T20" fmla="*/ 70 w 217"/>
                      <a:gd name="T21" fmla="*/ 17 h 76"/>
                      <a:gd name="T22" fmla="*/ 83 w 217"/>
                      <a:gd name="T23" fmla="*/ 18 h 76"/>
                      <a:gd name="T24" fmla="*/ 83 w 217"/>
                      <a:gd name="T25" fmla="*/ 28 h 76"/>
                      <a:gd name="T26" fmla="*/ 61 w 217"/>
                      <a:gd name="T27" fmla="*/ 24 h 7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7" h="76">
                        <a:moveTo>
                          <a:pt x="159" y="66"/>
                        </a:moveTo>
                        <a:lnTo>
                          <a:pt x="37" y="42"/>
                        </a:lnTo>
                        <a:lnTo>
                          <a:pt x="0" y="16"/>
                        </a:lnTo>
                        <a:lnTo>
                          <a:pt x="6" y="20"/>
                        </a:lnTo>
                        <a:lnTo>
                          <a:pt x="22" y="0"/>
                        </a:lnTo>
                        <a:lnTo>
                          <a:pt x="45" y="0"/>
                        </a:lnTo>
                        <a:lnTo>
                          <a:pt x="83" y="24"/>
                        </a:lnTo>
                        <a:lnTo>
                          <a:pt x="121" y="26"/>
                        </a:lnTo>
                        <a:lnTo>
                          <a:pt x="133" y="12"/>
                        </a:lnTo>
                        <a:lnTo>
                          <a:pt x="171" y="26"/>
                        </a:lnTo>
                        <a:lnTo>
                          <a:pt x="183" y="46"/>
                        </a:lnTo>
                        <a:lnTo>
                          <a:pt x="217" y="50"/>
                        </a:lnTo>
                        <a:lnTo>
                          <a:pt x="217" y="76"/>
                        </a:lnTo>
                        <a:lnTo>
                          <a:pt x="159" y="66"/>
                        </a:lnTo>
                      </a:path>
                    </a:pathLst>
                  </a:custGeom>
                  <a:solidFill>
                    <a:srgbClr val="5783D0"/>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4" name="vMap : Indonesia">
                    <a:extLst>
                      <a:ext uri="{FF2B5EF4-FFF2-40B4-BE49-F238E27FC236}">
                        <a16:creationId xmlns:a16="http://schemas.microsoft.com/office/drawing/2014/main" xmlns="" id="{51ADC20C-F2E6-5540-8BE0-F24C2F94A727}"/>
                      </a:ext>
                    </a:extLst>
                  </p:cNvPr>
                  <p:cNvSpPr>
                    <a:spLocks noChangeAspect="1"/>
                  </p:cNvSpPr>
                  <p:nvPr>
                    <p:custDataLst>
                      <p:tags r:id="rId260"/>
                    </p:custDataLst>
                  </p:nvPr>
                </p:nvSpPr>
                <p:spPr bwMode="gray">
                  <a:xfrm>
                    <a:off x="9922925" y="4123002"/>
                    <a:ext cx="12458" cy="28015"/>
                  </a:xfrm>
                  <a:custGeom>
                    <a:avLst/>
                    <a:gdLst>
                      <a:gd name="T0" fmla="*/ 0 w 8"/>
                      <a:gd name="T1" fmla="*/ 0 h 18"/>
                      <a:gd name="T2" fmla="*/ 3 w 8"/>
                      <a:gd name="T3" fmla="*/ 0 h 18"/>
                      <a:gd name="T4" fmla="*/ 3 w 8"/>
                      <a:gd name="T5" fmla="*/ 7 h 18"/>
                      <a:gd name="T6" fmla="*/ 0 w 8"/>
                      <a:gd name="T7" fmla="*/ 6 h 18"/>
                      <a:gd name="T8" fmla="*/ 0 w 8"/>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8">
                        <a:moveTo>
                          <a:pt x="0" y="0"/>
                        </a:moveTo>
                        <a:lnTo>
                          <a:pt x="8" y="0"/>
                        </a:lnTo>
                        <a:lnTo>
                          <a:pt x="8" y="18"/>
                        </a:lnTo>
                        <a:lnTo>
                          <a:pt x="0" y="14"/>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5" name="vMap : Indonesia">
                    <a:extLst>
                      <a:ext uri="{FF2B5EF4-FFF2-40B4-BE49-F238E27FC236}">
                        <a16:creationId xmlns:a16="http://schemas.microsoft.com/office/drawing/2014/main" xmlns="" id="{F1A0FA62-ECAD-C544-B238-81E42ADAA27F}"/>
                      </a:ext>
                    </a:extLst>
                  </p:cNvPr>
                  <p:cNvSpPr>
                    <a:spLocks noChangeAspect="1"/>
                  </p:cNvSpPr>
                  <p:nvPr>
                    <p:custDataLst>
                      <p:tags r:id="rId261"/>
                    </p:custDataLst>
                  </p:nvPr>
                </p:nvSpPr>
                <p:spPr bwMode="gray">
                  <a:xfrm>
                    <a:off x="9992686" y="4275809"/>
                    <a:ext cx="27407" cy="7640"/>
                  </a:xfrm>
                  <a:custGeom>
                    <a:avLst/>
                    <a:gdLst>
                      <a:gd name="T0" fmla="*/ 0 w 16"/>
                      <a:gd name="T1" fmla="*/ 0 h 8"/>
                      <a:gd name="T2" fmla="*/ 8 w 16"/>
                      <a:gd name="T3" fmla="*/ 1 h 8"/>
                      <a:gd name="T4" fmla="*/ 2 w 16"/>
                      <a:gd name="T5" fmla="*/ 1 h 8"/>
                      <a:gd name="T6" fmla="*/ 0 w 16"/>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8">
                        <a:moveTo>
                          <a:pt x="0" y="0"/>
                        </a:moveTo>
                        <a:lnTo>
                          <a:pt x="16" y="4"/>
                        </a:lnTo>
                        <a:lnTo>
                          <a:pt x="4" y="8"/>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766" name="vMap : Indonesia">
                    <a:extLst>
                      <a:ext uri="{FF2B5EF4-FFF2-40B4-BE49-F238E27FC236}">
                        <a16:creationId xmlns:a16="http://schemas.microsoft.com/office/drawing/2014/main" xmlns="" id="{642ADB79-8FEE-804E-9878-7A1816AA6100}"/>
                      </a:ext>
                    </a:extLst>
                  </p:cNvPr>
                  <p:cNvSpPr>
                    <a:spLocks noChangeAspect="1"/>
                  </p:cNvSpPr>
                  <p:nvPr>
                    <p:custDataLst>
                      <p:tags r:id="rId262"/>
                    </p:custDataLst>
                  </p:nvPr>
                </p:nvSpPr>
                <p:spPr bwMode="gray">
                  <a:xfrm>
                    <a:off x="10363917" y="4189218"/>
                    <a:ext cx="9966" cy="28015"/>
                  </a:xfrm>
                  <a:custGeom>
                    <a:avLst/>
                    <a:gdLst>
                      <a:gd name="T0" fmla="*/ 0 w 8"/>
                      <a:gd name="T1" fmla="*/ 0 h 18"/>
                      <a:gd name="T2" fmla="*/ 2 w 8"/>
                      <a:gd name="T3" fmla="*/ 3 h 18"/>
                      <a:gd name="T4" fmla="*/ 0 w 8"/>
                      <a:gd name="T5" fmla="*/ 7 h 18"/>
                      <a:gd name="T6" fmla="*/ 0 w 8"/>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0"/>
                        </a:moveTo>
                        <a:lnTo>
                          <a:pt x="8" y="8"/>
                        </a:lnTo>
                        <a:lnTo>
                          <a:pt x="0" y="18"/>
                        </a:lnTo>
                        <a:lnTo>
                          <a:pt x="0" y="0"/>
                        </a:lnTo>
                      </a:path>
                    </a:pathLst>
                  </a:custGeom>
                  <a:grp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sp>
              <p:nvSpPr>
                <p:cNvPr id="661" name="vMap : Fiji">
                  <a:extLst>
                    <a:ext uri="{FF2B5EF4-FFF2-40B4-BE49-F238E27FC236}">
                      <a16:creationId xmlns:a16="http://schemas.microsoft.com/office/drawing/2014/main" xmlns="" id="{FB3B6A3A-C167-5E4A-B8EA-6A1D306CEF38}"/>
                    </a:ext>
                  </a:extLst>
                </p:cNvPr>
                <p:cNvSpPr>
                  <a:spLocks noChangeAspect="1"/>
                </p:cNvSpPr>
                <p:nvPr>
                  <p:custDataLst>
                    <p:tags r:id="rId164"/>
                  </p:custDataLst>
                </p:nvPr>
              </p:nvSpPr>
              <p:spPr bwMode="gray">
                <a:xfrm>
                  <a:off x="8048694" y="4655848"/>
                  <a:ext cx="71501" cy="51316"/>
                </a:xfrm>
                <a:custGeom>
                  <a:avLst/>
                  <a:gdLst>
                    <a:gd name="connsiteX0" fmla="*/ 28403 w 117101"/>
                    <a:gd name="connsiteY0" fmla="*/ 53484 h 84046"/>
                    <a:gd name="connsiteX1" fmla="*/ 47339 w 117101"/>
                    <a:gd name="connsiteY1" fmla="*/ 53484 h 84046"/>
                    <a:gd name="connsiteX2" fmla="*/ 47339 w 117101"/>
                    <a:gd name="connsiteY2" fmla="*/ 84046 h 84046"/>
                    <a:gd name="connsiteX3" fmla="*/ 0 w 117101"/>
                    <a:gd name="connsiteY3" fmla="*/ 77934 h 84046"/>
                    <a:gd name="connsiteX4" fmla="*/ 6312 w 117101"/>
                    <a:gd name="connsiteY4" fmla="*/ 59597 h 84046"/>
                    <a:gd name="connsiteX5" fmla="*/ 117101 w 117101"/>
                    <a:gd name="connsiteY5" fmla="*/ 0 h 84046"/>
                    <a:gd name="connsiteX6" fmla="*/ 104172 w 117101"/>
                    <a:gd name="connsiteY6" fmla="*/ 11885 h 84046"/>
                    <a:gd name="connsiteX7" fmla="*/ 104172 w 117101"/>
                    <a:gd name="connsiteY7" fmla="*/ 23770 h 84046"/>
                    <a:gd name="connsiteX8" fmla="*/ 81547 w 117101"/>
                    <a:gd name="connsiteY8" fmla="*/ 17828 h 84046"/>
                    <a:gd name="connsiteX9" fmla="*/ 63769 w 117101"/>
                    <a:gd name="connsiteY9" fmla="*/ 35655 h 84046"/>
                    <a:gd name="connsiteX10" fmla="*/ 57305 w 117101"/>
                    <a:gd name="connsiteY10" fmla="*/ 17828 h 84046"/>
                    <a:gd name="connsiteX11" fmla="*/ 75082 w 117101"/>
                    <a:gd name="connsiteY11" fmla="*/ 11885 h 8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101" h="84046">
                      <a:moveTo>
                        <a:pt x="28403" y="53484"/>
                      </a:moveTo>
                      <a:lnTo>
                        <a:pt x="47339" y="53484"/>
                      </a:lnTo>
                      <a:lnTo>
                        <a:pt x="47339" y="84046"/>
                      </a:lnTo>
                      <a:lnTo>
                        <a:pt x="0" y="77934"/>
                      </a:lnTo>
                      <a:lnTo>
                        <a:pt x="6312" y="59597"/>
                      </a:lnTo>
                      <a:close/>
                      <a:moveTo>
                        <a:pt x="117101" y="0"/>
                      </a:moveTo>
                      <a:lnTo>
                        <a:pt x="104172" y="11885"/>
                      </a:lnTo>
                      <a:lnTo>
                        <a:pt x="104172" y="23770"/>
                      </a:lnTo>
                      <a:lnTo>
                        <a:pt x="81547" y="17828"/>
                      </a:lnTo>
                      <a:lnTo>
                        <a:pt x="63769" y="35655"/>
                      </a:lnTo>
                      <a:lnTo>
                        <a:pt x="57305" y="17828"/>
                      </a:lnTo>
                      <a:lnTo>
                        <a:pt x="75082" y="11885"/>
                      </a:lnTo>
                      <a:close/>
                    </a:path>
                  </a:pathLst>
                </a:custGeom>
                <a:solidFill>
                  <a:srgbClr val="E6E6E6"/>
                </a:solidFill>
                <a:ln w="3175" cap="flat" cmpd="sng">
                  <a:solidFill>
                    <a:srgbClr val="FFFFFF"/>
                  </a:solidFill>
                  <a:prstDash val="solid"/>
                  <a:round/>
                  <a:headEnd type="none" w="med" len="med"/>
                  <a:tailEnd type="none" w="med" len="med"/>
                </a:ln>
                <a:effectLst/>
              </p:spPr>
              <p:txBody>
                <a:bodyPr wrap="square">
                  <a:noAutofit/>
                </a:bodyPr>
                <a:lstStyle/>
                <a:p>
                  <a:endParaRPr lang="en-GB">
                    <a:solidFill>
                      <a:srgbClr val="283E36"/>
                    </a:solidFill>
                    <a:latin typeface="SwissReSans"/>
                  </a:endParaRPr>
                </a:p>
              </p:txBody>
            </p:sp>
            <p:sp>
              <p:nvSpPr>
                <p:cNvPr id="662" name="vMap : New Caledonia">
                  <a:extLst>
                    <a:ext uri="{FF2B5EF4-FFF2-40B4-BE49-F238E27FC236}">
                      <a16:creationId xmlns:a16="http://schemas.microsoft.com/office/drawing/2014/main" xmlns="" id="{854681D3-9606-4449-AA97-107AF04D279E}"/>
                    </a:ext>
                  </a:extLst>
                </p:cNvPr>
                <p:cNvSpPr>
                  <a:spLocks noChangeAspect="1"/>
                </p:cNvSpPr>
                <p:nvPr>
                  <p:custDataLst>
                    <p:tags r:id="rId165"/>
                  </p:custDataLst>
                </p:nvPr>
              </p:nvSpPr>
              <p:spPr bwMode="gray">
                <a:xfrm>
                  <a:off x="7739874" y="4764699"/>
                  <a:ext cx="51724" cy="54425"/>
                </a:xfrm>
                <a:custGeom>
                  <a:avLst/>
                  <a:gdLst>
                    <a:gd name="T0" fmla="*/ 6 w 58"/>
                    <a:gd name="T1" fmla="*/ 13 h 58"/>
                    <a:gd name="T2" fmla="*/ 0 w 58"/>
                    <a:gd name="T3" fmla="*/ 3 h 58"/>
                    <a:gd name="T4" fmla="*/ 0 w 58"/>
                    <a:gd name="T5" fmla="*/ 0 h 58"/>
                    <a:gd name="T6" fmla="*/ 3 w 58"/>
                    <a:gd name="T7" fmla="*/ 0 h 58"/>
                    <a:gd name="T8" fmla="*/ 20 w 58"/>
                    <a:gd name="T9" fmla="*/ 21 h 58"/>
                    <a:gd name="T10" fmla="*/ 6 w 58"/>
                    <a:gd name="T11" fmla="*/ 13 h 5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 h="58">
                      <a:moveTo>
                        <a:pt x="18" y="34"/>
                      </a:moveTo>
                      <a:lnTo>
                        <a:pt x="0" y="8"/>
                      </a:lnTo>
                      <a:lnTo>
                        <a:pt x="0" y="0"/>
                      </a:lnTo>
                      <a:lnTo>
                        <a:pt x="8" y="0"/>
                      </a:lnTo>
                      <a:lnTo>
                        <a:pt x="58" y="58"/>
                      </a:lnTo>
                      <a:lnTo>
                        <a:pt x="18" y="34"/>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63" name="vMap : Solomon Islands">
                  <a:extLst>
                    <a:ext uri="{FF2B5EF4-FFF2-40B4-BE49-F238E27FC236}">
                      <a16:creationId xmlns:a16="http://schemas.microsoft.com/office/drawing/2014/main" xmlns="" id="{29B2049E-50B7-EF42-A559-6C21F7C9FD5F}"/>
                    </a:ext>
                  </a:extLst>
                </p:cNvPr>
                <p:cNvGrpSpPr/>
                <p:nvPr/>
              </p:nvGrpSpPr>
              <p:grpSpPr>
                <a:xfrm>
                  <a:off x="7590789" y="4371285"/>
                  <a:ext cx="130830" cy="118179"/>
                  <a:chOff x="11133787" y="4151016"/>
                  <a:chExt cx="214268" cy="193554"/>
                </a:xfrm>
                <a:solidFill>
                  <a:srgbClr val="E6E6E6"/>
                </a:solidFill>
              </p:grpSpPr>
              <p:sp>
                <p:nvSpPr>
                  <p:cNvPr id="733" name="vMap : Solomon Island">
                    <a:extLst>
                      <a:ext uri="{FF2B5EF4-FFF2-40B4-BE49-F238E27FC236}">
                        <a16:creationId xmlns:a16="http://schemas.microsoft.com/office/drawing/2014/main" xmlns="" id="{E2971D34-0660-3041-AADC-3A058DE4F330}"/>
                      </a:ext>
                    </a:extLst>
                  </p:cNvPr>
                  <p:cNvSpPr>
                    <a:spLocks noChangeAspect="1"/>
                  </p:cNvSpPr>
                  <p:nvPr>
                    <p:custDataLst>
                      <p:tags r:id="rId229"/>
                    </p:custDataLst>
                  </p:nvPr>
                </p:nvSpPr>
                <p:spPr bwMode="gray">
                  <a:xfrm>
                    <a:off x="11300716" y="4319103"/>
                    <a:ext cx="47339" cy="25467"/>
                  </a:xfrm>
                  <a:custGeom>
                    <a:avLst/>
                    <a:gdLst>
                      <a:gd name="T0" fmla="*/ 0 w 30"/>
                      <a:gd name="T1" fmla="*/ 0 h 16"/>
                      <a:gd name="T2" fmla="*/ 12 w 30"/>
                      <a:gd name="T3" fmla="*/ 6 h 16"/>
                      <a:gd name="T4" fmla="*/ 3 w 30"/>
                      <a:gd name="T5" fmla="*/ 6 h 16"/>
                      <a:gd name="T6" fmla="*/ 0 w 30"/>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16">
                        <a:moveTo>
                          <a:pt x="0" y="0"/>
                        </a:moveTo>
                        <a:lnTo>
                          <a:pt x="30" y="16"/>
                        </a:lnTo>
                        <a:lnTo>
                          <a:pt x="8" y="1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34" name="vMap : Solomon Island">
                    <a:extLst>
                      <a:ext uri="{FF2B5EF4-FFF2-40B4-BE49-F238E27FC236}">
                        <a16:creationId xmlns:a16="http://schemas.microsoft.com/office/drawing/2014/main" xmlns="" id="{B7132F81-D8C6-D645-95E8-250ADA3F5950}"/>
                      </a:ext>
                    </a:extLst>
                  </p:cNvPr>
                  <p:cNvSpPr>
                    <a:spLocks noChangeAspect="1"/>
                  </p:cNvSpPr>
                  <p:nvPr>
                    <p:custDataLst>
                      <p:tags r:id="rId230"/>
                    </p:custDataLst>
                  </p:nvPr>
                </p:nvSpPr>
                <p:spPr bwMode="gray">
                  <a:xfrm>
                    <a:off x="11218498" y="4265621"/>
                    <a:ext cx="24915" cy="17827"/>
                  </a:xfrm>
                  <a:custGeom>
                    <a:avLst/>
                    <a:gdLst>
                      <a:gd name="T0" fmla="*/ 0 w 16"/>
                      <a:gd name="T1" fmla="*/ 1 h 12"/>
                      <a:gd name="T2" fmla="*/ 3 w 16"/>
                      <a:gd name="T3" fmla="*/ 0 h 12"/>
                      <a:gd name="T4" fmla="*/ 6 w 16"/>
                      <a:gd name="T5" fmla="*/ 4 h 12"/>
                      <a:gd name="T6" fmla="*/ 0 w 16"/>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12">
                        <a:moveTo>
                          <a:pt x="0" y="4"/>
                        </a:moveTo>
                        <a:lnTo>
                          <a:pt x="8" y="0"/>
                        </a:lnTo>
                        <a:lnTo>
                          <a:pt x="16" y="12"/>
                        </a:lnTo>
                        <a:lnTo>
                          <a:pt x="0" y="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35" name="vMap : Solomon Island">
                    <a:extLst>
                      <a:ext uri="{FF2B5EF4-FFF2-40B4-BE49-F238E27FC236}">
                        <a16:creationId xmlns:a16="http://schemas.microsoft.com/office/drawing/2014/main" xmlns="" id="{A5EC62F5-A2A0-BD48-874D-2B39443AA411}"/>
                      </a:ext>
                    </a:extLst>
                  </p:cNvPr>
                  <p:cNvSpPr>
                    <a:spLocks noChangeAspect="1"/>
                  </p:cNvSpPr>
                  <p:nvPr>
                    <p:custDataLst>
                      <p:tags r:id="rId231"/>
                    </p:custDataLst>
                  </p:nvPr>
                </p:nvSpPr>
                <p:spPr bwMode="gray">
                  <a:xfrm>
                    <a:off x="11133787" y="4151016"/>
                    <a:ext cx="37373" cy="56029"/>
                  </a:xfrm>
                  <a:custGeom>
                    <a:avLst/>
                    <a:gdLst>
                      <a:gd name="T0" fmla="*/ 0 w 24"/>
                      <a:gd name="T1" fmla="*/ 0 h 35"/>
                      <a:gd name="T2" fmla="*/ 9 w 24"/>
                      <a:gd name="T3" fmla="*/ 14 h 35"/>
                      <a:gd name="T4" fmla="*/ 5 w 24"/>
                      <a:gd name="T5" fmla="*/ 14 h 35"/>
                      <a:gd name="T6" fmla="*/ 0 w 24"/>
                      <a:gd name="T7" fmla="*/ 0 h 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35">
                        <a:moveTo>
                          <a:pt x="0" y="0"/>
                        </a:moveTo>
                        <a:lnTo>
                          <a:pt x="24" y="35"/>
                        </a:lnTo>
                        <a:lnTo>
                          <a:pt x="12" y="35"/>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664" name="vMap : Papua New Guinea">
                  <a:extLst>
                    <a:ext uri="{FF2B5EF4-FFF2-40B4-BE49-F238E27FC236}">
                      <a16:creationId xmlns:a16="http://schemas.microsoft.com/office/drawing/2014/main" xmlns="" id="{631B9FE5-F27A-0940-AC15-079F0B2D9157}"/>
                    </a:ext>
                  </a:extLst>
                </p:cNvPr>
                <p:cNvGrpSpPr/>
                <p:nvPr/>
              </p:nvGrpSpPr>
              <p:grpSpPr>
                <a:xfrm>
                  <a:off x="7277405" y="4279539"/>
                  <a:ext cx="275352" cy="230141"/>
                  <a:chOff x="10620541" y="4000755"/>
                  <a:chExt cx="450959" cy="376926"/>
                </a:xfrm>
                <a:solidFill>
                  <a:srgbClr val="0F4DBC"/>
                </a:solidFill>
              </p:grpSpPr>
              <p:sp>
                <p:nvSpPr>
                  <p:cNvPr id="729" name="vMap : Papua New Guinea">
                    <a:extLst>
                      <a:ext uri="{FF2B5EF4-FFF2-40B4-BE49-F238E27FC236}">
                        <a16:creationId xmlns:a16="http://schemas.microsoft.com/office/drawing/2014/main" xmlns="" id="{CF6D1E77-D446-744C-9AFF-C651EA61895A}"/>
                      </a:ext>
                    </a:extLst>
                  </p:cNvPr>
                  <p:cNvSpPr>
                    <a:spLocks noChangeAspect="1"/>
                  </p:cNvSpPr>
                  <p:nvPr>
                    <p:custDataLst>
                      <p:tags r:id="rId225"/>
                    </p:custDataLst>
                  </p:nvPr>
                </p:nvSpPr>
                <p:spPr bwMode="gray">
                  <a:xfrm>
                    <a:off x="10837300" y="4000755"/>
                    <a:ext cx="14949" cy="12734"/>
                  </a:xfrm>
                  <a:custGeom>
                    <a:avLst/>
                    <a:gdLst>
                      <a:gd name="T0" fmla="*/ 0 w 11"/>
                      <a:gd name="T1" fmla="*/ 0 h 8"/>
                      <a:gd name="T2" fmla="*/ 3 w 11"/>
                      <a:gd name="T3" fmla="*/ 2 h 8"/>
                      <a:gd name="T4" fmla="*/ 0 w 11"/>
                      <a:gd name="T5" fmla="*/ 3 h 8"/>
                      <a:gd name="T6" fmla="*/ 0 w 11"/>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8">
                        <a:moveTo>
                          <a:pt x="0" y="0"/>
                        </a:moveTo>
                        <a:lnTo>
                          <a:pt x="11" y="4"/>
                        </a:lnTo>
                        <a:lnTo>
                          <a:pt x="0" y="8"/>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30" name="vMap : Papua New Guinea">
                    <a:extLst>
                      <a:ext uri="{FF2B5EF4-FFF2-40B4-BE49-F238E27FC236}">
                        <a16:creationId xmlns:a16="http://schemas.microsoft.com/office/drawing/2014/main" xmlns="" id="{C1143D18-88AB-4146-9C9E-4DC94F2B6648}"/>
                      </a:ext>
                    </a:extLst>
                  </p:cNvPr>
                  <p:cNvSpPr>
                    <a:spLocks noChangeAspect="1"/>
                  </p:cNvSpPr>
                  <p:nvPr>
                    <p:custDataLst>
                      <p:tags r:id="rId226"/>
                    </p:custDataLst>
                  </p:nvPr>
                </p:nvSpPr>
                <p:spPr bwMode="gray">
                  <a:xfrm>
                    <a:off x="10620541" y="4026224"/>
                    <a:ext cx="348808" cy="351457"/>
                  </a:xfrm>
                  <a:custGeom>
                    <a:avLst/>
                    <a:gdLst>
                      <a:gd name="T0" fmla="*/ 1 w 229"/>
                      <a:gd name="T1" fmla="*/ 26 h 225"/>
                      <a:gd name="T2" fmla="*/ 1 w 229"/>
                      <a:gd name="T3" fmla="*/ 0 h 225"/>
                      <a:gd name="T4" fmla="*/ 33 w 229"/>
                      <a:gd name="T5" fmla="*/ 13 h 225"/>
                      <a:gd name="T6" fmla="*/ 43 w 229"/>
                      <a:gd name="T7" fmla="*/ 22 h 225"/>
                      <a:gd name="T8" fmla="*/ 45 w 229"/>
                      <a:gd name="T9" fmla="*/ 31 h 225"/>
                      <a:gd name="T10" fmla="*/ 60 w 229"/>
                      <a:gd name="T11" fmla="*/ 37 h 225"/>
                      <a:gd name="T12" fmla="*/ 62 w 229"/>
                      <a:gd name="T13" fmla="*/ 44 h 225"/>
                      <a:gd name="T14" fmla="*/ 54 w 229"/>
                      <a:gd name="T15" fmla="*/ 45 h 225"/>
                      <a:gd name="T16" fmla="*/ 63 w 229"/>
                      <a:gd name="T17" fmla="*/ 58 h 225"/>
                      <a:gd name="T18" fmla="*/ 67 w 229"/>
                      <a:gd name="T19" fmla="*/ 67 h 225"/>
                      <a:gd name="T20" fmla="*/ 73 w 229"/>
                      <a:gd name="T21" fmla="*/ 67 h 225"/>
                      <a:gd name="T22" fmla="*/ 73 w 229"/>
                      <a:gd name="T23" fmla="*/ 72 h 225"/>
                      <a:gd name="T24" fmla="*/ 79 w 229"/>
                      <a:gd name="T25" fmla="*/ 75 h 225"/>
                      <a:gd name="T26" fmla="*/ 78 w 229"/>
                      <a:gd name="T27" fmla="*/ 77 h 225"/>
                      <a:gd name="T28" fmla="*/ 86 w 229"/>
                      <a:gd name="T29" fmla="*/ 81 h 225"/>
                      <a:gd name="T30" fmla="*/ 80 w 229"/>
                      <a:gd name="T31" fmla="*/ 85 h 225"/>
                      <a:gd name="T32" fmla="*/ 59 w 229"/>
                      <a:gd name="T33" fmla="*/ 79 h 225"/>
                      <a:gd name="T34" fmla="*/ 46 w 229"/>
                      <a:gd name="T35" fmla="*/ 61 h 225"/>
                      <a:gd name="T36" fmla="*/ 31 w 229"/>
                      <a:gd name="T37" fmla="*/ 52 h 225"/>
                      <a:gd name="T38" fmla="*/ 24 w 229"/>
                      <a:gd name="T39" fmla="*/ 53 h 225"/>
                      <a:gd name="T40" fmla="*/ 26 w 229"/>
                      <a:gd name="T41" fmla="*/ 58 h 225"/>
                      <a:gd name="T42" fmla="*/ 17 w 229"/>
                      <a:gd name="T43" fmla="*/ 62 h 225"/>
                      <a:gd name="T44" fmla="*/ 19 w 229"/>
                      <a:gd name="T45" fmla="*/ 66 h 225"/>
                      <a:gd name="T46" fmla="*/ 14 w 229"/>
                      <a:gd name="T47" fmla="*/ 71 h 225"/>
                      <a:gd name="T48" fmla="*/ 0 w 229"/>
                      <a:gd name="T49" fmla="*/ 69 h 225"/>
                      <a:gd name="T50" fmla="*/ 1 w 229"/>
                      <a:gd name="T51" fmla="*/ 26 h 2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29" h="225">
                        <a:moveTo>
                          <a:pt x="4" y="70"/>
                        </a:moveTo>
                        <a:lnTo>
                          <a:pt x="4" y="0"/>
                        </a:lnTo>
                        <a:lnTo>
                          <a:pt x="88" y="34"/>
                        </a:lnTo>
                        <a:lnTo>
                          <a:pt x="116" y="58"/>
                        </a:lnTo>
                        <a:lnTo>
                          <a:pt x="120" y="83"/>
                        </a:lnTo>
                        <a:lnTo>
                          <a:pt x="161" y="99"/>
                        </a:lnTo>
                        <a:lnTo>
                          <a:pt x="165" y="115"/>
                        </a:lnTo>
                        <a:lnTo>
                          <a:pt x="145" y="121"/>
                        </a:lnTo>
                        <a:lnTo>
                          <a:pt x="169" y="153"/>
                        </a:lnTo>
                        <a:lnTo>
                          <a:pt x="179" y="179"/>
                        </a:lnTo>
                        <a:lnTo>
                          <a:pt x="195" y="179"/>
                        </a:lnTo>
                        <a:lnTo>
                          <a:pt x="195" y="191"/>
                        </a:lnTo>
                        <a:lnTo>
                          <a:pt x="211" y="199"/>
                        </a:lnTo>
                        <a:lnTo>
                          <a:pt x="207" y="203"/>
                        </a:lnTo>
                        <a:lnTo>
                          <a:pt x="229" y="215"/>
                        </a:lnTo>
                        <a:lnTo>
                          <a:pt x="215" y="225"/>
                        </a:lnTo>
                        <a:lnTo>
                          <a:pt x="157" y="211"/>
                        </a:lnTo>
                        <a:lnTo>
                          <a:pt x="124" y="161"/>
                        </a:lnTo>
                        <a:lnTo>
                          <a:pt x="82" y="137"/>
                        </a:lnTo>
                        <a:lnTo>
                          <a:pt x="66" y="141"/>
                        </a:lnTo>
                        <a:lnTo>
                          <a:pt x="70" y="153"/>
                        </a:lnTo>
                        <a:lnTo>
                          <a:pt x="46" y="165"/>
                        </a:lnTo>
                        <a:lnTo>
                          <a:pt x="50" y="175"/>
                        </a:lnTo>
                        <a:lnTo>
                          <a:pt x="38" y="187"/>
                        </a:lnTo>
                        <a:lnTo>
                          <a:pt x="0" y="183"/>
                        </a:lnTo>
                        <a:lnTo>
                          <a:pt x="4" y="7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31" name="vMap : Papua New Guinea">
                    <a:extLst>
                      <a:ext uri="{FF2B5EF4-FFF2-40B4-BE49-F238E27FC236}">
                        <a16:creationId xmlns:a16="http://schemas.microsoft.com/office/drawing/2014/main" xmlns="" id="{1B233BC0-60F7-904E-A84D-BBABFEBA3B26}"/>
                      </a:ext>
                    </a:extLst>
                  </p:cNvPr>
                  <p:cNvSpPr>
                    <a:spLocks noChangeAspect="1"/>
                  </p:cNvSpPr>
                  <p:nvPr>
                    <p:custDataLst>
                      <p:tags r:id="rId227"/>
                    </p:custDataLst>
                  </p:nvPr>
                </p:nvSpPr>
                <p:spPr bwMode="gray">
                  <a:xfrm>
                    <a:off x="10894605" y="4102627"/>
                    <a:ext cx="151981" cy="86591"/>
                  </a:xfrm>
                  <a:custGeom>
                    <a:avLst/>
                    <a:gdLst>
                      <a:gd name="T0" fmla="*/ 0 w 100"/>
                      <a:gd name="T1" fmla="*/ 13 h 53"/>
                      <a:gd name="T2" fmla="*/ 13 w 100"/>
                      <a:gd name="T3" fmla="*/ 13 h 53"/>
                      <a:gd name="T4" fmla="*/ 17 w 100"/>
                      <a:gd name="T5" fmla="*/ 8 h 53"/>
                      <a:gd name="T6" fmla="*/ 16 w 100"/>
                      <a:gd name="T7" fmla="*/ 12 h 53"/>
                      <a:gd name="T8" fmla="*/ 23 w 100"/>
                      <a:gd name="T9" fmla="*/ 13 h 53"/>
                      <a:gd name="T10" fmla="*/ 32 w 100"/>
                      <a:gd name="T11" fmla="*/ 6 h 53"/>
                      <a:gd name="T12" fmla="*/ 31 w 100"/>
                      <a:gd name="T13" fmla="*/ 0 h 53"/>
                      <a:gd name="T14" fmla="*/ 37 w 100"/>
                      <a:gd name="T15" fmla="*/ 2 h 53"/>
                      <a:gd name="T16" fmla="*/ 35 w 100"/>
                      <a:gd name="T17" fmla="*/ 13 h 53"/>
                      <a:gd name="T18" fmla="*/ 21 w 100"/>
                      <a:gd name="T19" fmla="*/ 22 h 53"/>
                      <a:gd name="T20" fmla="*/ 7 w 100"/>
                      <a:gd name="T21" fmla="*/ 22 h 53"/>
                      <a:gd name="T22" fmla="*/ 0 w 100"/>
                      <a:gd name="T23" fmla="*/ 13 h 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53">
                        <a:moveTo>
                          <a:pt x="0" y="33"/>
                        </a:moveTo>
                        <a:lnTo>
                          <a:pt x="36" y="33"/>
                        </a:lnTo>
                        <a:lnTo>
                          <a:pt x="46" y="20"/>
                        </a:lnTo>
                        <a:lnTo>
                          <a:pt x="44" y="30"/>
                        </a:lnTo>
                        <a:lnTo>
                          <a:pt x="62" y="33"/>
                        </a:lnTo>
                        <a:lnTo>
                          <a:pt x="86" y="16"/>
                        </a:lnTo>
                        <a:lnTo>
                          <a:pt x="82" y="0"/>
                        </a:lnTo>
                        <a:lnTo>
                          <a:pt x="100" y="4"/>
                        </a:lnTo>
                        <a:lnTo>
                          <a:pt x="94" y="33"/>
                        </a:lnTo>
                        <a:lnTo>
                          <a:pt x="58" y="53"/>
                        </a:lnTo>
                        <a:lnTo>
                          <a:pt x="20" y="53"/>
                        </a:lnTo>
                        <a:lnTo>
                          <a:pt x="0" y="33"/>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32" name="vMap : Papua New Guinea">
                    <a:extLst>
                      <a:ext uri="{FF2B5EF4-FFF2-40B4-BE49-F238E27FC236}">
                        <a16:creationId xmlns:a16="http://schemas.microsoft.com/office/drawing/2014/main" xmlns="" id="{4C254155-6969-244F-902D-900E413E8042}"/>
                      </a:ext>
                    </a:extLst>
                  </p:cNvPr>
                  <p:cNvSpPr>
                    <a:spLocks noChangeAspect="1"/>
                  </p:cNvSpPr>
                  <p:nvPr>
                    <p:custDataLst>
                      <p:tags r:id="rId228"/>
                    </p:custDataLst>
                  </p:nvPr>
                </p:nvSpPr>
                <p:spPr bwMode="gray">
                  <a:xfrm>
                    <a:off x="11051568" y="4074613"/>
                    <a:ext cx="19932" cy="48389"/>
                  </a:xfrm>
                  <a:custGeom>
                    <a:avLst/>
                    <a:gdLst>
                      <a:gd name="T0" fmla="*/ 5 w 12"/>
                      <a:gd name="T1" fmla="*/ 3 h 32"/>
                      <a:gd name="T2" fmla="*/ 5 w 12"/>
                      <a:gd name="T3" fmla="*/ 11 h 32"/>
                      <a:gd name="T4" fmla="*/ 0 w 12"/>
                      <a:gd name="T5" fmla="*/ 0 h 32"/>
                      <a:gd name="T6" fmla="*/ 5 w 12"/>
                      <a:gd name="T7" fmla="*/ 3 h 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32">
                        <a:moveTo>
                          <a:pt x="12" y="8"/>
                        </a:moveTo>
                        <a:lnTo>
                          <a:pt x="12" y="32"/>
                        </a:lnTo>
                        <a:lnTo>
                          <a:pt x="0" y="0"/>
                        </a:lnTo>
                        <a:lnTo>
                          <a:pt x="12" y="8"/>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grpSp>
              <p:nvGrpSpPr>
                <p:cNvPr id="666" name="vMap : New Zealand">
                  <a:extLst>
                    <a:ext uri="{FF2B5EF4-FFF2-40B4-BE49-F238E27FC236}">
                      <a16:creationId xmlns:a16="http://schemas.microsoft.com/office/drawing/2014/main" xmlns="" id="{8CCF7B90-AE5A-8F44-B773-38D3CC022B29}"/>
                    </a:ext>
                  </a:extLst>
                </p:cNvPr>
                <p:cNvGrpSpPr/>
                <p:nvPr/>
              </p:nvGrpSpPr>
              <p:grpSpPr>
                <a:xfrm>
                  <a:off x="7470607" y="5128569"/>
                  <a:ext cx="400098" cy="343655"/>
                  <a:chOff x="10936959" y="5391301"/>
                  <a:chExt cx="655262" cy="562841"/>
                </a:xfrm>
                <a:solidFill>
                  <a:srgbClr val="0F4DBC"/>
                </a:solidFill>
              </p:grpSpPr>
              <p:sp>
                <p:nvSpPr>
                  <p:cNvPr id="725" name="vMap : Chatham Island">
                    <a:extLst>
                      <a:ext uri="{FF2B5EF4-FFF2-40B4-BE49-F238E27FC236}">
                        <a16:creationId xmlns:a16="http://schemas.microsoft.com/office/drawing/2014/main" xmlns="" id="{AAFC5E8E-32CE-2940-8232-83FE8B4892EA}"/>
                      </a:ext>
                    </a:extLst>
                  </p:cNvPr>
                  <p:cNvSpPr>
                    <a:spLocks noChangeAspect="1"/>
                  </p:cNvSpPr>
                  <p:nvPr>
                    <p:custDataLst>
                      <p:tags r:id="rId221"/>
                    </p:custDataLst>
                  </p:nvPr>
                </p:nvSpPr>
                <p:spPr bwMode="gray">
                  <a:xfrm>
                    <a:off x="11567306" y="5808975"/>
                    <a:ext cx="24915" cy="12734"/>
                  </a:xfrm>
                  <a:custGeom>
                    <a:avLst/>
                    <a:gdLst>
                      <a:gd name="T0" fmla="*/ 7 w 15"/>
                      <a:gd name="T1" fmla="*/ 0 h 8"/>
                      <a:gd name="T2" fmla="*/ 0 w 15"/>
                      <a:gd name="T3" fmla="*/ 3 h 8"/>
                      <a:gd name="T4" fmla="*/ 0 w 15"/>
                      <a:gd name="T5" fmla="*/ 0 h 8"/>
                      <a:gd name="T6" fmla="*/ 7 w 15"/>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8">
                        <a:moveTo>
                          <a:pt x="15" y="0"/>
                        </a:moveTo>
                        <a:lnTo>
                          <a:pt x="0" y="8"/>
                        </a:lnTo>
                        <a:lnTo>
                          <a:pt x="0" y="0"/>
                        </a:lnTo>
                        <a:lnTo>
                          <a:pt x="15"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6" name="vMap : New Zealand (North)">
                    <a:extLst>
                      <a:ext uri="{FF2B5EF4-FFF2-40B4-BE49-F238E27FC236}">
                        <a16:creationId xmlns:a16="http://schemas.microsoft.com/office/drawing/2014/main" xmlns="" id="{A5609ADB-0597-6B4C-866B-68A40400342F}"/>
                      </a:ext>
                    </a:extLst>
                  </p:cNvPr>
                  <p:cNvSpPr>
                    <a:spLocks noChangeAspect="1"/>
                  </p:cNvSpPr>
                  <p:nvPr>
                    <p:custDataLst>
                      <p:tags r:id="rId222"/>
                    </p:custDataLst>
                  </p:nvPr>
                </p:nvSpPr>
                <p:spPr bwMode="gray">
                  <a:xfrm>
                    <a:off x="11365495" y="5391301"/>
                    <a:ext cx="226726" cy="313256"/>
                  </a:xfrm>
                  <a:custGeom>
                    <a:avLst/>
                    <a:gdLst>
                      <a:gd name="T0" fmla="*/ 27 w 149"/>
                      <a:gd name="T1" fmla="*/ 22 h 201"/>
                      <a:gd name="T2" fmla="*/ 26 w 149"/>
                      <a:gd name="T3" fmla="*/ 17 h 201"/>
                      <a:gd name="T4" fmla="*/ 26 w 149"/>
                      <a:gd name="T5" fmla="*/ 13 h 201"/>
                      <a:gd name="T6" fmla="*/ 24 w 149"/>
                      <a:gd name="T7" fmla="*/ 0 h 201"/>
                      <a:gd name="T8" fmla="*/ 27 w 149"/>
                      <a:gd name="T9" fmla="*/ 8 h 201"/>
                      <a:gd name="T10" fmla="*/ 34 w 149"/>
                      <a:gd name="T11" fmla="*/ 13 h 201"/>
                      <a:gd name="T12" fmla="*/ 33 w 149"/>
                      <a:gd name="T13" fmla="*/ 24 h 201"/>
                      <a:gd name="T14" fmla="*/ 30 w 149"/>
                      <a:gd name="T15" fmla="*/ 28 h 201"/>
                      <a:gd name="T16" fmla="*/ 33 w 149"/>
                      <a:gd name="T17" fmla="*/ 32 h 201"/>
                      <a:gd name="T18" fmla="*/ 37 w 149"/>
                      <a:gd name="T19" fmla="*/ 25 h 201"/>
                      <a:gd name="T20" fmla="*/ 36 w 149"/>
                      <a:gd name="T21" fmla="*/ 35 h 201"/>
                      <a:gd name="T22" fmla="*/ 43 w 149"/>
                      <a:gd name="T23" fmla="*/ 39 h 201"/>
                      <a:gd name="T24" fmla="*/ 54 w 149"/>
                      <a:gd name="T25" fmla="*/ 35 h 201"/>
                      <a:gd name="T26" fmla="*/ 56 w 149"/>
                      <a:gd name="T27" fmla="*/ 37 h 201"/>
                      <a:gd name="T28" fmla="*/ 43 w 149"/>
                      <a:gd name="T29" fmla="*/ 51 h 201"/>
                      <a:gd name="T30" fmla="*/ 36 w 149"/>
                      <a:gd name="T31" fmla="*/ 53 h 201"/>
                      <a:gd name="T32" fmla="*/ 23 w 149"/>
                      <a:gd name="T33" fmla="*/ 64 h 201"/>
                      <a:gd name="T34" fmla="*/ 6 w 149"/>
                      <a:gd name="T35" fmla="*/ 75 h 201"/>
                      <a:gd name="T36" fmla="*/ 0 w 149"/>
                      <a:gd name="T37" fmla="*/ 74 h 201"/>
                      <a:gd name="T38" fmla="*/ 13 w 149"/>
                      <a:gd name="T39" fmla="*/ 61 h 201"/>
                      <a:gd name="T40" fmla="*/ 6 w 149"/>
                      <a:gd name="T41" fmla="*/ 54 h 201"/>
                      <a:gd name="T42" fmla="*/ 23 w 149"/>
                      <a:gd name="T43" fmla="*/ 41 h 201"/>
                      <a:gd name="T44" fmla="*/ 30 w 149"/>
                      <a:gd name="T45" fmla="*/ 29 h 201"/>
                      <a:gd name="T46" fmla="*/ 27 w 149"/>
                      <a:gd name="T47" fmla="*/ 26 h 201"/>
                      <a:gd name="T48" fmla="*/ 27 w 149"/>
                      <a:gd name="T49" fmla="*/ 22 h 2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9" h="201">
                        <a:moveTo>
                          <a:pt x="72" y="59"/>
                        </a:moveTo>
                        <a:lnTo>
                          <a:pt x="70" y="46"/>
                        </a:lnTo>
                        <a:lnTo>
                          <a:pt x="70" y="34"/>
                        </a:lnTo>
                        <a:lnTo>
                          <a:pt x="66" y="0"/>
                        </a:lnTo>
                        <a:lnTo>
                          <a:pt x="72" y="22"/>
                        </a:lnTo>
                        <a:lnTo>
                          <a:pt x="92" y="34"/>
                        </a:lnTo>
                        <a:lnTo>
                          <a:pt x="88" y="63"/>
                        </a:lnTo>
                        <a:lnTo>
                          <a:pt x="80" y="75"/>
                        </a:lnTo>
                        <a:lnTo>
                          <a:pt x="88" y="87"/>
                        </a:lnTo>
                        <a:lnTo>
                          <a:pt x="100" y="67"/>
                        </a:lnTo>
                        <a:lnTo>
                          <a:pt x="96" y="95"/>
                        </a:lnTo>
                        <a:lnTo>
                          <a:pt x="116" y="105"/>
                        </a:lnTo>
                        <a:lnTo>
                          <a:pt x="145" y="95"/>
                        </a:lnTo>
                        <a:lnTo>
                          <a:pt x="149" y="99"/>
                        </a:lnTo>
                        <a:lnTo>
                          <a:pt x="116" y="137"/>
                        </a:lnTo>
                        <a:lnTo>
                          <a:pt x="96" y="141"/>
                        </a:lnTo>
                        <a:lnTo>
                          <a:pt x="62" y="171"/>
                        </a:lnTo>
                        <a:lnTo>
                          <a:pt x="16" y="201"/>
                        </a:lnTo>
                        <a:lnTo>
                          <a:pt x="0" y="197"/>
                        </a:lnTo>
                        <a:lnTo>
                          <a:pt x="34" y="163"/>
                        </a:lnTo>
                        <a:lnTo>
                          <a:pt x="16" y="145"/>
                        </a:lnTo>
                        <a:lnTo>
                          <a:pt x="62" y="109"/>
                        </a:lnTo>
                        <a:lnTo>
                          <a:pt x="80" y="79"/>
                        </a:lnTo>
                        <a:lnTo>
                          <a:pt x="72" y="71"/>
                        </a:lnTo>
                        <a:lnTo>
                          <a:pt x="72" y="59"/>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7" name="vMap : New Zealand (South)">
                    <a:extLst>
                      <a:ext uri="{FF2B5EF4-FFF2-40B4-BE49-F238E27FC236}">
                        <a16:creationId xmlns:a16="http://schemas.microsoft.com/office/drawing/2014/main" xmlns="" id="{5196FE1A-6E01-3444-AA14-C23745575895}"/>
                      </a:ext>
                    </a:extLst>
                  </p:cNvPr>
                  <p:cNvSpPr>
                    <a:spLocks noChangeAspect="1"/>
                  </p:cNvSpPr>
                  <p:nvPr>
                    <p:custDataLst>
                      <p:tags r:id="rId223"/>
                    </p:custDataLst>
                  </p:nvPr>
                </p:nvSpPr>
                <p:spPr bwMode="gray">
                  <a:xfrm>
                    <a:off x="10941942" y="5671448"/>
                    <a:ext cx="408604" cy="249585"/>
                  </a:xfrm>
                  <a:custGeom>
                    <a:avLst/>
                    <a:gdLst>
                      <a:gd name="T0" fmla="*/ 101 w 267"/>
                      <a:gd name="T1" fmla="*/ 4 h 159"/>
                      <a:gd name="T2" fmla="*/ 95 w 267"/>
                      <a:gd name="T3" fmla="*/ 13 h 159"/>
                      <a:gd name="T4" fmla="*/ 74 w 267"/>
                      <a:gd name="T5" fmla="*/ 26 h 159"/>
                      <a:gd name="T6" fmla="*/ 69 w 267"/>
                      <a:gd name="T7" fmla="*/ 32 h 159"/>
                      <a:gd name="T8" fmla="*/ 71 w 267"/>
                      <a:gd name="T9" fmla="*/ 33 h 159"/>
                      <a:gd name="T10" fmla="*/ 57 w 267"/>
                      <a:gd name="T11" fmla="*/ 35 h 159"/>
                      <a:gd name="T12" fmla="*/ 35 w 267"/>
                      <a:gd name="T13" fmla="*/ 55 h 159"/>
                      <a:gd name="T14" fmla="*/ 20 w 267"/>
                      <a:gd name="T15" fmla="*/ 60 h 159"/>
                      <a:gd name="T16" fmla="*/ 0 w 267"/>
                      <a:gd name="T17" fmla="*/ 57 h 159"/>
                      <a:gd name="T18" fmla="*/ 4 w 267"/>
                      <a:gd name="T19" fmla="*/ 55 h 159"/>
                      <a:gd name="T20" fmla="*/ 1 w 267"/>
                      <a:gd name="T21" fmla="*/ 55 h 159"/>
                      <a:gd name="T22" fmla="*/ 11 w 267"/>
                      <a:gd name="T23" fmla="*/ 48 h 159"/>
                      <a:gd name="T24" fmla="*/ 13 w 267"/>
                      <a:gd name="T25" fmla="*/ 45 h 159"/>
                      <a:gd name="T26" fmla="*/ 16 w 267"/>
                      <a:gd name="T27" fmla="*/ 45 h 159"/>
                      <a:gd name="T28" fmla="*/ 29 w 267"/>
                      <a:gd name="T29" fmla="*/ 36 h 159"/>
                      <a:gd name="T30" fmla="*/ 60 w 267"/>
                      <a:gd name="T31" fmla="*/ 23 h 159"/>
                      <a:gd name="T32" fmla="*/ 85 w 267"/>
                      <a:gd name="T33" fmla="*/ 4 h 159"/>
                      <a:gd name="T34" fmla="*/ 92 w 267"/>
                      <a:gd name="T35" fmla="*/ 0 h 159"/>
                      <a:gd name="T36" fmla="*/ 91 w 267"/>
                      <a:gd name="T37" fmla="*/ 7 h 159"/>
                      <a:gd name="T38" fmla="*/ 100 w 267"/>
                      <a:gd name="T39" fmla="*/ 4 h 159"/>
                      <a:gd name="T40" fmla="*/ 101 w 267"/>
                      <a:gd name="T41" fmla="*/ 4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7" h="159">
                        <a:moveTo>
                          <a:pt x="267" y="12"/>
                        </a:moveTo>
                        <a:lnTo>
                          <a:pt x="251" y="34"/>
                        </a:lnTo>
                        <a:lnTo>
                          <a:pt x="195" y="68"/>
                        </a:lnTo>
                        <a:lnTo>
                          <a:pt x="183" y="84"/>
                        </a:lnTo>
                        <a:lnTo>
                          <a:pt x="187" y="88"/>
                        </a:lnTo>
                        <a:lnTo>
                          <a:pt x="150" y="92"/>
                        </a:lnTo>
                        <a:lnTo>
                          <a:pt x="92" y="146"/>
                        </a:lnTo>
                        <a:lnTo>
                          <a:pt x="54" y="159"/>
                        </a:lnTo>
                        <a:lnTo>
                          <a:pt x="0" y="149"/>
                        </a:lnTo>
                        <a:lnTo>
                          <a:pt x="12" y="146"/>
                        </a:lnTo>
                        <a:lnTo>
                          <a:pt x="4" y="146"/>
                        </a:lnTo>
                        <a:lnTo>
                          <a:pt x="30" y="126"/>
                        </a:lnTo>
                        <a:lnTo>
                          <a:pt x="34" y="118"/>
                        </a:lnTo>
                        <a:lnTo>
                          <a:pt x="42" y="118"/>
                        </a:lnTo>
                        <a:lnTo>
                          <a:pt x="76" y="96"/>
                        </a:lnTo>
                        <a:lnTo>
                          <a:pt x="160" y="62"/>
                        </a:lnTo>
                        <a:lnTo>
                          <a:pt x="225" y="12"/>
                        </a:lnTo>
                        <a:lnTo>
                          <a:pt x="245" y="0"/>
                        </a:lnTo>
                        <a:lnTo>
                          <a:pt x="241" y="18"/>
                        </a:lnTo>
                        <a:lnTo>
                          <a:pt x="263" y="12"/>
                        </a:lnTo>
                        <a:lnTo>
                          <a:pt x="267"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8" name="vMap : New Zealand (South)">
                    <a:extLst>
                      <a:ext uri="{FF2B5EF4-FFF2-40B4-BE49-F238E27FC236}">
                        <a16:creationId xmlns:a16="http://schemas.microsoft.com/office/drawing/2014/main" xmlns="" id="{96192B10-AC07-6A4C-97EE-40EC41DABBBF}"/>
                      </a:ext>
                    </a:extLst>
                  </p:cNvPr>
                  <p:cNvSpPr>
                    <a:spLocks noChangeAspect="1"/>
                  </p:cNvSpPr>
                  <p:nvPr>
                    <p:custDataLst>
                      <p:tags r:id="rId224"/>
                    </p:custDataLst>
                  </p:nvPr>
                </p:nvSpPr>
                <p:spPr bwMode="gray">
                  <a:xfrm>
                    <a:off x="10936959" y="5928675"/>
                    <a:ext cx="27407" cy="25467"/>
                  </a:xfrm>
                  <a:custGeom>
                    <a:avLst/>
                    <a:gdLst>
                      <a:gd name="T0" fmla="*/ 7 w 18"/>
                      <a:gd name="T1" fmla="*/ 0 h 16"/>
                      <a:gd name="T2" fmla="*/ 6 w 18"/>
                      <a:gd name="T3" fmla="*/ 5 h 16"/>
                      <a:gd name="T4" fmla="*/ 0 w 18"/>
                      <a:gd name="T5" fmla="*/ 6 h 16"/>
                      <a:gd name="T6" fmla="*/ 7 w 18"/>
                      <a:gd name="T7" fmla="*/ 0 h 1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16">
                        <a:moveTo>
                          <a:pt x="18" y="0"/>
                        </a:moveTo>
                        <a:lnTo>
                          <a:pt x="16" y="12"/>
                        </a:lnTo>
                        <a:lnTo>
                          <a:pt x="0" y="16"/>
                        </a:lnTo>
                        <a:lnTo>
                          <a:pt x="1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667" name="vMap : Djibouti">
                  <a:extLst>
                    <a:ext uri="{FF2B5EF4-FFF2-40B4-BE49-F238E27FC236}">
                      <a16:creationId xmlns:a16="http://schemas.microsoft.com/office/drawing/2014/main" xmlns="" id="{3DD7E63D-7FCC-724B-8F6F-4CFA49EA90F3}"/>
                    </a:ext>
                  </a:extLst>
                </p:cNvPr>
                <p:cNvSpPr>
                  <a:spLocks noChangeAspect="1"/>
                </p:cNvSpPr>
                <p:nvPr>
                  <p:custDataLst>
                    <p:tags r:id="rId166"/>
                  </p:custDataLst>
                </p:nvPr>
              </p:nvSpPr>
              <p:spPr bwMode="gray">
                <a:xfrm>
                  <a:off x="5021343" y="3895454"/>
                  <a:ext cx="33468" cy="49760"/>
                </a:xfrm>
                <a:custGeom>
                  <a:avLst/>
                  <a:gdLst>
                    <a:gd name="T0" fmla="*/ 13 w 36"/>
                    <a:gd name="T1" fmla="*/ 14 h 54"/>
                    <a:gd name="T2" fmla="*/ 10 w 36"/>
                    <a:gd name="T3" fmla="*/ 19 h 54"/>
                    <a:gd name="T4" fmla="*/ 1 w 36"/>
                    <a:gd name="T5" fmla="*/ 19 h 54"/>
                    <a:gd name="T6" fmla="*/ 0 w 36"/>
                    <a:gd name="T7" fmla="*/ 16 h 54"/>
                    <a:gd name="T8" fmla="*/ 3 w 36"/>
                    <a:gd name="T9" fmla="*/ 5 h 54"/>
                    <a:gd name="T10" fmla="*/ 10 w 36"/>
                    <a:gd name="T11" fmla="*/ 0 h 54"/>
                    <a:gd name="T12" fmla="*/ 13 w 36"/>
                    <a:gd name="T13" fmla="*/ 8 h 54"/>
                    <a:gd name="T14" fmla="*/ 6 w 36"/>
                    <a:gd name="T15" fmla="*/ 12 h 54"/>
                    <a:gd name="T16" fmla="*/ 13 w 36"/>
                    <a:gd name="T17" fmla="*/ 14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54">
                      <a:moveTo>
                        <a:pt x="36" y="38"/>
                      </a:moveTo>
                      <a:lnTo>
                        <a:pt x="28" y="54"/>
                      </a:lnTo>
                      <a:lnTo>
                        <a:pt x="4" y="54"/>
                      </a:lnTo>
                      <a:lnTo>
                        <a:pt x="0" y="46"/>
                      </a:lnTo>
                      <a:lnTo>
                        <a:pt x="8" y="16"/>
                      </a:lnTo>
                      <a:lnTo>
                        <a:pt x="28" y="0"/>
                      </a:lnTo>
                      <a:lnTo>
                        <a:pt x="36" y="22"/>
                      </a:lnTo>
                      <a:lnTo>
                        <a:pt x="16" y="34"/>
                      </a:lnTo>
                      <a:lnTo>
                        <a:pt x="36" y="38"/>
                      </a:lnTo>
                    </a:path>
                  </a:pathLst>
                </a:custGeom>
                <a:solidFill>
                  <a:srgbClr val="E6E6E6"/>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68" name="vMap : Vanuatu">
                  <a:extLst>
                    <a:ext uri="{FF2B5EF4-FFF2-40B4-BE49-F238E27FC236}">
                      <a16:creationId xmlns:a16="http://schemas.microsoft.com/office/drawing/2014/main" xmlns="" id="{40EDB3DE-211D-354F-ACEC-B40C3E269DED}"/>
                    </a:ext>
                  </a:extLst>
                </p:cNvPr>
                <p:cNvSpPr>
                  <a:spLocks noChangeAspect="1"/>
                </p:cNvSpPr>
                <p:nvPr>
                  <p:custDataLst>
                    <p:tags r:id="rId167"/>
                  </p:custDataLst>
                </p:nvPr>
              </p:nvSpPr>
              <p:spPr bwMode="gray">
                <a:xfrm>
                  <a:off x="7828109" y="4615418"/>
                  <a:ext cx="27383" cy="48205"/>
                </a:xfrm>
                <a:custGeom>
                  <a:avLst/>
                  <a:gdLst>
                    <a:gd name="connsiteX0" fmla="*/ 38618 w 44847"/>
                    <a:gd name="connsiteY0" fmla="*/ 61124 h 78950"/>
                    <a:gd name="connsiteX1" fmla="*/ 44847 w 44847"/>
                    <a:gd name="connsiteY1" fmla="*/ 71311 h 78950"/>
                    <a:gd name="connsiteX2" fmla="*/ 32389 w 44847"/>
                    <a:gd name="connsiteY2" fmla="*/ 66218 h 78950"/>
                    <a:gd name="connsiteX3" fmla="*/ 9966 w 44847"/>
                    <a:gd name="connsiteY3" fmla="*/ 53483 h 78950"/>
                    <a:gd name="connsiteX4" fmla="*/ 27407 w 44847"/>
                    <a:gd name="connsiteY4" fmla="*/ 78950 h 78950"/>
                    <a:gd name="connsiteX5" fmla="*/ 9966 w 44847"/>
                    <a:gd name="connsiteY5" fmla="*/ 78950 h 78950"/>
                    <a:gd name="connsiteX6" fmla="*/ 0 w 44847"/>
                    <a:gd name="connsiteY6" fmla="*/ 0 h 78950"/>
                    <a:gd name="connsiteX7" fmla="*/ 9966 w 44847"/>
                    <a:gd name="connsiteY7" fmla="*/ 35859 h 78950"/>
                    <a:gd name="connsiteX8" fmla="*/ 0 w 44847"/>
                    <a:gd name="connsiteY8" fmla="*/ 40749 h 7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47" h="78950">
                      <a:moveTo>
                        <a:pt x="38618" y="61124"/>
                      </a:moveTo>
                      <a:lnTo>
                        <a:pt x="44847" y="71311"/>
                      </a:lnTo>
                      <a:lnTo>
                        <a:pt x="32389" y="66218"/>
                      </a:lnTo>
                      <a:close/>
                      <a:moveTo>
                        <a:pt x="9966" y="53483"/>
                      </a:moveTo>
                      <a:lnTo>
                        <a:pt x="27407" y="78950"/>
                      </a:lnTo>
                      <a:lnTo>
                        <a:pt x="9966" y="78950"/>
                      </a:lnTo>
                      <a:close/>
                      <a:moveTo>
                        <a:pt x="0" y="0"/>
                      </a:moveTo>
                      <a:lnTo>
                        <a:pt x="9966" y="35859"/>
                      </a:lnTo>
                      <a:lnTo>
                        <a:pt x="0" y="40749"/>
                      </a:lnTo>
                      <a:close/>
                    </a:path>
                  </a:pathLst>
                </a:custGeom>
                <a:solidFill>
                  <a:srgbClr val="E6E6E6"/>
                </a:solidFill>
                <a:ln w="3175" cap="flat" cmpd="sng">
                  <a:solidFill>
                    <a:srgbClr val="FFFFFF"/>
                  </a:solidFill>
                  <a:prstDash val="solid"/>
                  <a:round/>
                  <a:headEnd type="none" w="med" len="med"/>
                  <a:tailEnd type="none" w="med" len="med"/>
                </a:ln>
                <a:effectLst/>
              </p:spPr>
              <p:txBody>
                <a:bodyPr wrap="square">
                  <a:noAutofit/>
                </a:bodyPr>
                <a:lstStyle/>
                <a:p>
                  <a:endParaRPr lang="en-GB">
                    <a:solidFill>
                      <a:srgbClr val="283E36"/>
                    </a:solidFill>
                    <a:latin typeface="SwissReSans"/>
                  </a:endParaRPr>
                </a:p>
              </p:txBody>
            </p:sp>
            <p:grpSp>
              <p:nvGrpSpPr>
                <p:cNvPr id="669" name="vMap : Australia">
                  <a:extLst>
                    <a:ext uri="{FF2B5EF4-FFF2-40B4-BE49-F238E27FC236}">
                      <a16:creationId xmlns:a16="http://schemas.microsoft.com/office/drawing/2014/main" xmlns="" id="{CC4B27FB-DA6F-4146-BE31-A21DD68EE5C3}"/>
                    </a:ext>
                  </a:extLst>
                </p:cNvPr>
                <p:cNvGrpSpPr/>
                <p:nvPr/>
              </p:nvGrpSpPr>
              <p:grpSpPr>
                <a:xfrm>
                  <a:off x="6566966" y="4512790"/>
                  <a:ext cx="899078" cy="754175"/>
                  <a:chOff x="9457016" y="4382774"/>
                  <a:chExt cx="1472470" cy="1235192"/>
                </a:xfrm>
                <a:solidFill>
                  <a:srgbClr val="0F4DBC"/>
                </a:solidFill>
              </p:grpSpPr>
              <p:sp>
                <p:nvSpPr>
                  <p:cNvPr id="719" name="vMap : Australia (Offshore)">
                    <a:extLst>
                      <a:ext uri="{FF2B5EF4-FFF2-40B4-BE49-F238E27FC236}">
                        <a16:creationId xmlns:a16="http://schemas.microsoft.com/office/drawing/2014/main" xmlns="" id="{ECEBFB29-CC26-6C40-801A-BF30965096D9}"/>
                      </a:ext>
                    </a:extLst>
                  </p:cNvPr>
                  <p:cNvSpPr>
                    <a:spLocks noChangeAspect="1"/>
                  </p:cNvSpPr>
                  <p:nvPr>
                    <p:custDataLst>
                      <p:tags r:id="rId215"/>
                    </p:custDataLst>
                  </p:nvPr>
                </p:nvSpPr>
                <p:spPr bwMode="gray">
                  <a:xfrm>
                    <a:off x="10421222" y="4520299"/>
                    <a:ext cx="12458" cy="25467"/>
                  </a:xfrm>
                  <a:custGeom>
                    <a:avLst/>
                    <a:gdLst>
                      <a:gd name="T0" fmla="*/ 0 w 8"/>
                      <a:gd name="T1" fmla="*/ 0 h 16"/>
                      <a:gd name="T2" fmla="*/ 3 w 8"/>
                      <a:gd name="T3" fmla="*/ 0 h 16"/>
                      <a:gd name="T4" fmla="*/ 3 w 8"/>
                      <a:gd name="T5" fmla="*/ 5 h 16"/>
                      <a:gd name="T6" fmla="*/ 0 w 8"/>
                      <a:gd name="T7" fmla="*/ 6 h 16"/>
                      <a:gd name="T8" fmla="*/ 0 w 8"/>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6">
                        <a:moveTo>
                          <a:pt x="0" y="0"/>
                        </a:moveTo>
                        <a:lnTo>
                          <a:pt x="8" y="0"/>
                        </a:lnTo>
                        <a:lnTo>
                          <a:pt x="8" y="12"/>
                        </a:lnTo>
                        <a:lnTo>
                          <a:pt x="0" y="1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0" name="vMap : Australia (Offshore)">
                    <a:extLst>
                      <a:ext uri="{FF2B5EF4-FFF2-40B4-BE49-F238E27FC236}">
                        <a16:creationId xmlns:a16="http://schemas.microsoft.com/office/drawing/2014/main" xmlns="" id="{0B397D70-F434-A54C-9BE8-193A60E346DD}"/>
                      </a:ext>
                    </a:extLst>
                  </p:cNvPr>
                  <p:cNvSpPr>
                    <a:spLocks noChangeAspect="1"/>
                  </p:cNvSpPr>
                  <p:nvPr>
                    <p:custDataLst>
                      <p:tags r:id="rId216"/>
                    </p:custDataLst>
                  </p:nvPr>
                </p:nvSpPr>
                <p:spPr bwMode="gray">
                  <a:xfrm>
                    <a:off x="10204462" y="4413336"/>
                    <a:ext cx="39864" cy="25467"/>
                  </a:xfrm>
                  <a:custGeom>
                    <a:avLst/>
                    <a:gdLst>
                      <a:gd name="T0" fmla="*/ 0 w 26"/>
                      <a:gd name="T1" fmla="*/ 0 h 16"/>
                      <a:gd name="T2" fmla="*/ 9 w 26"/>
                      <a:gd name="T3" fmla="*/ 0 h 16"/>
                      <a:gd name="T4" fmla="*/ 10 w 26"/>
                      <a:gd name="T5" fmla="*/ 3 h 16"/>
                      <a:gd name="T6" fmla="*/ 6 w 26"/>
                      <a:gd name="T7" fmla="*/ 6 h 16"/>
                      <a:gd name="T8" fmla="*/ 0 w 26"/>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6">
                        <a:moveTo>
                          <a:pt x="0" y="0"/>
                        </a:moveTo>
                        <a:lnTo>
                          <a:pt x="22" y="0"/>
                        </a:lnTo>
                        <a:lnTo>
                          <a:pt x="26" y="8"/>
                        </a:lnTo>
                        <a:lnTo>
                          <a:pt x="16" y="1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1" name="vMap : Australia (Offshore)">
                    <a:extLst>
                      <a:ext uri="{FF2B5EF4-FFF2-40B4-BE49-F238E27FC236}">
                        <a16:creationId xmlns:a16="http://schemas.microsoft.com/office/drawing/2014/main" xmlns="" id="{21AC97B6-7263-944D-BBCA-A764D26A4D14}"/>
                      </a:ext>
                    </a:extLst>
                  </p:cNvPr>
                  <p:cNvSpPr>
                    <a:spLocks noChangeAspect="1"/>
                  </p:cNvSpPr>
                  <p:nvPr>
                    <p:custDataLst>
                      <p:tags r:id="rId217"/>
                    </p:custDataLst>
                  </p:nvPr>
                </p:nvSpPr>
                <p:spPr bwMode="gray">
                  <a:xfrm>
                    <a:off x="10196988" y="4418429"/>
                    <a:ext cx="14949" cy="20374"/>
                  </a:xfrm>
                  <a:custGeom>
                    <a:avLst/>
                    <a:gdLst>
                      <a:gd name="T0" fmla="*/ 0 w 8"/>
                      <a:gd name="T1" fmla="*/ 5 h 12"/>
                      <a:gd name="T2" fmla="*/ 2 w 8"/>
                      <a:gd name="T3" fmla="*/ 0 h 12"/>
                      <a:gd name="T4" fmla="*/ 5 w 8"/>
                      <a:gd name="T5" fmla="*/ 5 h 12"/>
                      <a:gd name="T6" fmla="*/ 0 w 8"/>
                      <a:gd name="T7" fmla="*/ 5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0" y="12"/>
                        </a:moveTo>
                        <a:lnTo>
                          <a:pt x="4" y="0"/>
                        </a:lnTo>
                        <a:lnTo>
                          <a:pt x="8" y="12"/>
                        </a:lnTo>
                        <a:lnTo>
                          <a:pt x="0"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2" name="vMap : Australia (Offshore)">
                    <a:extLst>
                      <a:ext uri="{FF2B5EF4-FFF2-40B4-BE49-F238E27FC236}">
                        <a16:creationId xmlns:a16="http://schemas.microsoft.com/office/drawing/2014/main" xmlns="" id="{D8E533CF-3D70-4C4A-83B4-C02862BAF6CD}"/>
                      </a:ext>
                    </a:extLst>
                  </p:cNvPr>
                  <p:cNvSpPr>
                    <a:spLocks noChangeAspect="1"/>
                  </p:cNvSpPr>
                  <p:nvPr>
                    <p:custDataLst>
                      <p:tags r:id="rId218"/>
                    </p:custDataLst>
                  </p:nvPr>
                </p:nvSpPr>
                <p:spPr bwMode="gray">
                  <a:xfrm>
                    <a:off x="10187022" y="5462612"/>
                    <a:ext cx="49830" cy="10187"/>
                  </a:xfrm>
                  <a:custGeom>
                    <a:avLst/>
                    <a:gdLst>
                      <a:gd name="T0" fmla="*/ 0 w 32"/>
                      <a:gd name="T1" fmla="*/ 2 h 7"/>
                      <a:gd name="T2" fmla="*/ 8 w 32"/>
                      <a:gd name="T3" fmla="*/ 0 h 7"/>
                      <a:gd name="T4" fmla="*/ 13 w 32"/>
                      <a:gd name="T5" fmla="*/ 2 h 7"/>
                      <a:gd name="T6" fmla="*/ 0 w 32"/>
                      <a:gd name="T7" fmla="*/ 2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2" h="7">
                        <a:moveTo>
                          <a:pt x="0" y="7"/>
                        </a:moveTo>
                        <a:lnTo>
                          <a:pt x="20" y="0"/>
                        </a:lnTo>
                        <a:lnTo>
                          <a:pt x="32" y="7"/>
                        </a:lnTo>
                        <a:lnTo>
                          <a:pt x="0" y="7"/>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3" name="vMap : Australia (Offshore)">
                    <a:extLst>
                      <a:ext uri="{FF2B5EF4-FFF2-40B4-BE49-F238E27FC236}">
                        <a16:creationId xmlns:a16="http://schemas.microsoft.com/office/drawing/2014/main" xmlns="" id="{D472705B-705D-1D4F-872E-D37F87299D47}"/>
                      </a:ext>
                    </a:extLst>
                  </p:cNvPr>
                  <p:cNvSpPr>
                    <a:spLocks noChangeAspect="1"/>
                  </p:cNvSpPr>
                  <p:nvPr>
                    <p:custDataLst>
                      <p:tags r:id="rId219"/>
                    </p:custDataLst>
                  </p:nvPr>
                </p:nvSpPr>
                <p:spPr bwMode="gray">
                  <a:xfrm>
                    <a:off x="10510916" y="4637452"/>
                    <a:ext cx="19932" cy="10187"/>
                  </a:xfrm>
                  <a:custGeom>
                    <a:avLst/>
                    <a:gdLst>
                      <a:gd name="T0" fmla="*/ 3 w 12"/>
                      <a:gd name="T1" fmla="*/ 0 h 8"/>
                      <a:gd name="T2" fmla="*/ 5 w 12"/>
                      <a:gd name="T3" fmla="*/ 1 h 8"/>
                      <a:gd name="T4" fmla="*/ 0 w 12"/>
                      <a:gd name="T5" fmla="*/ 2 h 8"/>
                      <a:gd name="T6" fmla="*/ 3 w 12"/>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8">
                        <a:moveTo>
                          <a:pt x="8" y="0"/>
                        </a:moveTo>
                        <a:lnTo>
                          <a:pt x="12" y="4"/>
                        </a:lnTo>
                        <a:lnTo>
                          <a:pt x="0" y="8"/>
                        </a:lnTo>
                        <a:lnTo>
                          <a:pt x="8"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724" name="vMap : Australia (Mainland)">
                    <a:extLst>
                      <a:ext uri="{FF2B5EF4-FFF2-40B4-BE49-F238E27FC236}">
                        <a16:creationId xmlns:a16="http://schemas.microsoft.com/office/drawing/2014/main" xmlns="" id="{8D8CFB4B-E797-EB42-AC02-FE8D0080B803}"/>
                      </a:ext>
                    </a:extLst>
                  </p:cNvPr>
                  <p:cNvSpPr>
                    <a:spLocks noChangeAspect="1"/>
                  </p:cNvSpPr>
                  <p:nvPr>
                    <p:custDataLst>
                      <p:tags r:id="rId220"/>
                    </p:custDataLst>
                  </p:nvPr>
                </p:nvSpPr>
                <p:spPr bwMode="gray">
                  <a:xfrm>
                    <a:off x="9457016" y="4382774"/>
                    <a:ext cx="1472470" cy="1235192"/>
                  </a:xfrm>
                  <a:custGeom>
                    <a:avLst/>
                    <a:gdLst>
                      <a:gd name="T0" fmla="*/ 174 w 964"/>
                      <a:gd name="T1" fmla="*/ 49 h 789"/>
                      <a:gd name="T2" fmla="*/ 178 w 964"/>
                      <a:gd name="T3" fmla="*/ 31 h 789"/>
                      <a:gd name="T4" fmla="*/ 183 w 964"/>
                      <a:gd name="T5" fmla="*/ 22 h 789"/>
                      <a:gd name="T6" fmla="*/ 189 w 964"/>
                      <a:gd name="T7" fmla="*/ 22 h 789"/>
                      <a:gd name="T8" fmla="*/ 205 w 964"/>
                      <a:gd name="T9" fmla="*/ 16 h 789"/>
                      <a:gd name="T10" fmla="*/ 199 w 964"/>
                      <a:gd name="T11" fmla="*/ 7 h 789"/>
                      <a:gd name="T12" fmla="*/ 228 w 964"/>
                      <a:gd name="T13" fmla="*/ 17 h 789"/>
                      <a:gd name="T14" fmla="*/ 235 w 964"/>
                      <a:gd name="T15" fmla="*/ 20 h 789"/>
                      <a:gd name="T16" fmla="*/ 240 w 964"/>
                      <a:gd name="T17" fmla="*/ 19 h 789"/>
                      <a:gd name="T18" fmla="*/ 239 w 964"/>
                      <a:gd name="T19" fmla="*/ 28 h 789"/>
                      <a:gd name="T20" fmla="*/ 228 w 964"/>
                      <a:gd name="T21" fmla="*/ 47 h 789"/>
                      <a:gd name="T22" fmla="*/ 235 w 964"/>
                      <a:gd name="T23" fmla="*/ 57 h 789"/>
                      <a:gd name="T24" fmla="*/ 264 w 964"/>
                      <a:gd name="T25" fmla="*/ 75 h 789"/>
                      <a:gd name="T26" fmla="*/ 276 w 964"/>
                      <a:gd name="T27" fmla="*/ 62 h 789"/>
                      <a:gd name="T28" fmla="*/ 286 w 964"/>
                      <a:gd name="T29" fmla="*/ 19 h 789"/>
                      <a:gd name="T30" fmla="*/ 298 w 964"/>
                      <a:gd name="T31" fmla="*/ 0 h 789"/>
                      <a:gd name="T32" fmla="*/ 303 w 964"/>
                      <a:gd name="T33" fmla="*/ 37 h 789"/>
                      <a:gd name="T34" fmla="*/ 317 w 964"/>
                      <a:gd name="T35" fmla="*/ 47 h 789"/>
                      <a:gd name="T36" fmla="*/ 327 w 964"/>
                      <a:gd name="T37" fmla="*/ 91 h 789"/>
                      <a:gd name="T38" fmla="*/ 338 w 964"/>
                      <a:gd name="T39" fmla="*/ 101 h 789"/>
                      <a:gd name="T40" fmla="*/ 340 w 964"/>
                      <a:gd name="T41" fmla="*/ 113 h 789"/>
                      <a:gd name="T42" fmla="*/ 345 w 964"/>
                      <a:gd name="T43" fmla="*/ 120 h 789"/>
                      <a:gd name="T44" fmla="*/ 348 w 964"/>
                      <a:gd name="T45" fmla="*/ 135 h 789"/>
                      <a:gd name="T46" fmla="*/ 362 w 964"/>
                      <a:gd name="T47" fmla="*/ 159 h 789"/>
                      <a:gd name="T48" fmla="*/ 340 w 964"/>
                      <a:gd name="T49" fmla="*/ 215 h 789"/>
                      <a:gd name="T50" fmla="*/ 317 w 964"/>
                      <a:gd name="T51" fmla="*/ 240 h 789"/>
                      <a:gd name="T52" fmla="*/ 297 w 964"/>
                      <a:gd name="T53" fmla="*/ 262 h 789"/>
                      <a:gd name="T54" fmla="*/ 250 w 964"/>
                      <a:gd name="T55" fmla="*/ 294 h 789"/>
                      <a:gd name="T56" fmla="*/ 243 w 964"/>
                      <a:gd name="T57" fmla="*/ 288 h 789"/>
                      <a:gd name="T58" fmla="*/ 240 w 964"/>
                      <a:gd name="T59" fmla="*/ 283 h 789"/>
                      <a:gd name="T60" fmla="*/ 209 w 964"/>
                      <a:gd name="T61" fmla="*/ 289 h 789"/>
                      <a:gd name="T62" fmla="*/ 205 w 964"/>
                      <a:gd name="T63" fmla="*/ 259 h 789"/>
                      <a:gd name="T64" fmla="*/ 202 w 964"/>
                      <a:gd name="T65" fmla="*/ 251 h 789"/>
                      <a:gd name="T66" fmla="*/ 193 w 964"/>
                      <a:gd name="T67" fmla="*/ 256 h 789"/>
                      <a:gd name="T68" fmla="*/ 190 w 964"/>
                      <a:gd name="T69" fmla="*/ 253 h 789"/>
                      <a:gd name="T70" fmla="*/ 205 w 964"/>
                      <a:gd name="T71" fmla="*/ 228 h 789"/>
                      <a:gd name="T72" fmla="*/ 180 w 964"/>
                      <a:gd name="T73" fmla="*/ 250 h 789"/>
                      <a:gd name="T74" fmla="*/ 173 w 964"/>
                      <a:gd name="T75" fmla="*/ 250 h 789"/>
                      <a:gd name="T76" fmla="*/ 175 w 964"/>
                      <a:gd name="T77" fmla="*/ 247 h 789"/>
                      <a:gd name="T78" fmla="*/ 170 w 964"/>
                      <a:gd name="T79" fmla="*/ 233 h 789"/>
                      <a:gd name="T80" fmla="*/ 158 w 964"/>
                      <a:gd name="T81" fmla="*/ 223 h 789"/>
                      <a:gd name="T82" fmla="*/ 104 w 964"/>
                      <a:gd name="T83" fmla="*/ 226 h 789"/>
                      <a:gd name="T84" fmla="*/ 76 w 964"/>
                      <a:gd name="T85" fmla="*/ 242 h 789"/>
                      <a:gd name="T86" fmla="*/ 20 w 964"/>
                      <a:gd name="T87" fmla="*/ 254 h 789"/>
                      <a:gd name="T88" fmla="*/ 0 w 964"/>
                      <a:gd name="T89" fmla="*/ 246 h 789"/>
                      <a:gd name="T90" fmla="*/ 10 w 964"/>
                      <a:gd name="T91" fmla="*/ 234 h 789"/>
                      <a:gd name="T92" fmla="*/ 10 w 964"/>
                      <a:gd name="T93" fmla="*/ 171 h 789"/>
                      <a:gd name="T94" fmla="*/ 12 w 964"/>
                      <a:gd name="T95" fmla="*/ 166 h 789"/>
                      <a:gd name="T96" fmla="*/ 13 w 964"/>
                      <a:gd name="T97" fmla="*/ 164 h 789"/>
                      <a:gd name="T98" fmla="*/ 12 w 964"/>
                      <a:gd name="T99" fmla="*/ 144 h 789"/>
                      <a:gd name="T100" fmla="*/ 22 w 964"/>
                      <a:gd name="T101" fmla="*/ 124 h 789"/>
                      <a:gd name="T102" fmla="*/ 48 w 964"/>
                      <a:gd name="T103" fmla="*/ 104 h 789"/>
                      <a:gd name="T104" fmla="*/ 71 w 964"/>
                      <a:gd name="T105" fmla="*/ 97 h 789"/>
                      <a:gd name="T106" fmla="*/ 104 w 964"/>
                      <a:gd name="T107" fmla="*/ 77 h 789"/>
                      <a:gd name="T108" fmla="*/ 111 w 964"/>
                      <a:gd name="T109" fmla="*/ 61 h 789"/>
                      <a:gd name="T110" fmla="*/ 118 w 964"/>
                      <a:gd name="T111" fmla="*/ 68 h 789"/>
                      <a:gd name="T112" fmla="*/ 125 w 964"/>
                      <a:gd name="T113" fmla="*/ 62 h 789"/>
                      <a:gd name="T114" fmla="*/ 131 w 964"/>
                      <a:gd name="T115" fmla="*/ 50 h 789"/>
                      <a:gd name="T116" fmla="*/ 134 w 964"/>
                      <a:gd name="T117" fmla="*/ 49 h 789"/>
                      <a:gd name="T118" fmla="*/ 141 w 964"/>
                      <a:gd name="T119" fmla="*/ 41 h 789"/>
                      <a:gd name="T120" fmla="*/ 144 w 964"/>
                      <a:gd name="T121" fmla="*/ 37 h 789"/>
                      <a:gd name="T122" fmla="*/ 157 w 964"/>
                      <a:gd name="T123" fmla="*/ 36 h 789"/>
                      <a:gd name="T124" fmla="*/ 164 w 964"/>
                      <a:gd name="T125" fmla="*/ 44 h 78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64" h="789">
                        <a:moveTo>
                          <a:pt x="436" y="116"/>
                        </a:moveTo>
                        <a:lnTo>
                          <a:pt x="464" y="128"/>
                        </a:lnTo>
                        <a:lnTo>
                          <a:pt x="460" y="104"/>
                        </a:lnTo>
                        <a:lnTo>
                          <a:pt x="474" y="82"/>
                        </a:lnTo>
                        <a:lnTo>
                          <a:pt x="482" y="78"/>
                        </a:lnTo>
                        <a:lnTo>
                          <a:pt x="486" y="58"/>
                        </a:lnTo>
                        <a:lnTo>
                          <a:pt x="494" y="54"/>
                        </a:lnTo>
                        <a:lnTo>
                          <a:pt x="502" y="58"/>
                        </a:lnTo>
                        <a:lnTo>
                          <a:pt x="506" y="46"/>
                        </a:lnTo>
                        <a:lnTo>
                          <a:pt x="544" y="42"/>
                        </a:lnTo>
                        <a:lnTo>
                          <a:pt x="544" y="32"/>
                        </a:lnTo>
                        <a:lnTo>
                          <a:pt x="528" y="20"/>
                        </a:lnTo>
                        <a:lnTo>
                          <a:pt x="536" y="16"/>
                        </a:lnTo>
                        <a:lnTo>
                          <a:pt x="606" y="46"/>
                        </a:lnTo>
                        <a:lnTo>
                          <a:pt x="624" y="38"/>
                        </a:lnTo>
                        <a:lnTo>
                          <a:pt x="624" y="54"/>
                        </a:lnTo>
                        <a:lnTo>
                          <a:pt x="640" y="38"/>
                        </a:lnTo>
                        <a:lnTo>
                          <a:pt x="640" y="50"/>
                        </a:lnTo>
                        <a:lnTo>
                          <a:pt x="648" y="50"/>
                        </a:lnTo>
                        <a:lnTo>
                          <a:pt x="636" y="74"/>
                        </a:lnTo>
                        <a:lnTo>
                          <a:pt x="620" y="74"/>
                        </a:lnTo>
                        <a:lnTo>
                          <a:pt x="606" y="124"/>
                        </a:lnTo>
                        <a:lnTo>
                          <a:pt x="620" y="133"/>
                        </a:lnTo>
                        <a:lnTo>
                          <a:pt x="624" y="149"/>
                        </a:lnTo>
                        <a:lnTo>
                          <a:pt x="644" y="145"/>
                        </a:lnTo>
                        <a:lnTo>
                          <a:pt x="701" y="199"/>
                        </a:lnTo>
                        <a:lnTo>
                          <a:pt x="719" y="191"/>
                        </a:lnTo>
                        <a:lnTo>
                          <a:pt x="735" y="165"/>
                        </a:lnTo>
                        <a:lnTo>
                          <a:pt x="753" y="124"/>
                        </a:lnTo>
                        <a:lnTo>
                          <a:pt x="761" y="50"/>
                        </a:lnTo>
                        <a:lnTo>
                          <a:pt x="785" y="12"/>
                        </a:lnTo>
                        <a:lnTo>
                          <a:pt x="793" y="0"/>
                        </a:lnTo>
                        <a:lnTo>
                          <a:pt x="793" y="12"/>
                        </a:lnTo>
                        <a:lnTo>
                          <a:pt x="807" y="100"/>
                        </a:lnTo>
                        <a:lnTo>
                          <a:pt x="827" y="100"/>
                        </a:lnTo>
                        <a:lnTo>
                          <a:pt x="843" y="124"/>
                        </a:lnTo>
                        <a:lnTo>
                          <a:pt x="849" y="233"/>
                        </a:lnTo>
                        <a:lnTo>
                          <a:pt x="869" y="241"/>
                        </a:lnTo>
                        <a:lnTo>
                          <a:pt x="873" y="253"/>
                        </a:lnTo>
                        <a:lnTo>
                          <a:pt x="899" y="269"/>
                        </a:lnTo>
                        <a:lnTo>
                          <a:pt x="895" y="279"/>
                        </a:lnTo>
                        <a:lnTo>
                          <a:pt x="906" y="299"/>
                        </a:lnTo>
                        <a:lnTo>
                          <a:pt x="906" y="325"/>
                        </a:lnTo>
                        <a:lnTo>
                          <a:pt x="918" y="319"/>
                        </a:lnTo>
                        <a:lnTo>
                          <a:pt x="930" y="325"/>
                        </a:lnTo>
                        <a:lnTo>
                          <a:pt x="926" y="357"/>
                        </a:lnTo>
                        <a:lnTo>
                          <a:pt x="956" y="387"/>
                        </a:lnTo>
                        <a:lnTo>
                          <a:pt x="964" y="420"/>
                        </a:lnTo>
                        <a:lnTo>
                          <a:pt x="948" y="502"/>
                        </a:lnTo>
                        <a:lnTo>
                          <a:pt x="906" y="570"/>
                        </a:lnTo>
                        <a:lnTo>
                          <a:pt x="885" y="604"/>
                        </a:lnTo>
                        <a:lnTo>
                          <a:pt x="843" y="636"/>
                        </a:lnTo>
                        <a:lnTo>
                          <a:pt x="811" y="682"/>
                        </a:lnTo>
                        <a:lnTo>
                          <a:pt x="789" y="693"/>
                        </a:lnTo>
                        <a:lnTo>
                          <a:pt x="761" y="743"/>
                        </a:lnTo>
                        <a:lnTo>
                          <a:pt x="665" y="777"/>
                        </a:lnTo>
                        <a:lnTo>
                          <a:pt x="658" y="789"/>
                        </a:lnTo>
                        <a:lnTo>
                          <a:pt x="648" y="761"/>
                        </a:lnTo>
                        <a:lnTo>
                          <a:pt x="632" y="765"/>
                        </a:lnTo>
                        <a:lnTo>
                          <a:pt x="640" y="749"/>
                        </a:lnTo>
                        <a:lnTo>
                          <a:pt x="594" y="777"/>
                        </a:lnTo>
                        <a:lnTo>
                          <a:pt x="556" y="765"/>
                        </a:lnTo>
                        <a:lnTo>
                          <a:pt x="532" y="739"/>
                        </a:lnTo>
                        <a:lnTo>
                          <a:pt x="544" y="686"/>
                        </a:lnTo>
                        <a:lnTo>
                          <a:pt x="516" y="690"/>
                        </a:lnTo>
                        <a:lnTo>
                          <a:pt x="536" y="666"/>
                        </a:lnTo>
                        <a:lnTo>
                          <a:pt x="532" y="650"/>
                        </a:lnTo>
                        <a:lnTo>
                          <a:pt x="512" y="678"/>
                        </a:lnTo>
                        <a:lnTo>
                          <a:pt x="490" y="678"/>
                        </a:lnTo>
                        <a:lnTo>
                          <a:pt x="506" y="670"/>
                        </a:lnTo>
                        <a:lnTo>
                          <a:pt x="536" y="632"/>
                        </a:lnTo>
                        <a:lnTo>
                          <a:pt x="544" y="604"/>
                        </a:lnTo>
                        <a:lnTo>
                          <a:pt x="516" y="640"/>
                        </a:lnTo>
                        <a:lnTo>
                          <a:pt x="478" y="662"/>
                        </a:lnTo>
                        <a:lnTo>
                          <a:pt x="470" y="674"/>
                        </a:lnTo>
                        <a:lnTo>
                          <a:pt x="460" y="662"/>
                        </a:lnTo>
                        <a:lnTo>
                          <a:pt x="464" y="662"/>
                        </a:lnTo>
                        <a:lnTo>
                          <a:pt x="466" y="654"/>
                        </a:lnTo>
                        <a:lnTo>
                          <a:pt x="464" y="624"/>
                        </a:lnTo>
                        <a:lnTo>
                          <a:pt x="452" y="616"/>
                        </a:lnTo>
                        <a:lnTo>
                          <a:pt x="460" y="604"/>
                        </a:lnTo>
                        <a:lnTo>
                          <a:pt x="420" y="590"/>
                        </a:lnTo>
                        <a:lnTo>
                          <a:pt x="391" y="578"/>
                        </a:lnTo>
                        <a:lnTo>
                          <a:pt x="277" y="598"/>
                        </a:lnTo>
                        <a:lnTo>
                          <a:pt x="219" y="616"/>
                        </a:lnTo>
                        <a:lnTo>
                          <a:pt x="203" y="640"/>
                        </a:lnTo>
                        <a:lnTo>
                          <a:pt x="116" y="644"/>
                        </a:lnTo>
                        <a:lnTo>
                          <a:pt x="54" y="674"/>
                        </a:lnTo>
                        <a:lnTo>
                          <a:pt x="20" y="666"/>
                        </a:lnTo>
                        <a:lnTo>
                          <a:pt x="0" y="650"/>
                        </a:lnTo>
                        <a:lnTo>
                          <a:pt x="8" y="636"/>
                        </a:lnTo>
                        <a:lnTo>
                          <a:pt x="28" y="620"/>
                        </a:lnTo>
                        <a:lnTo>
                          <a:pt x="40" y="582"/>
                        </a:lnTo>
                        <a:lnTo>
                          <a:pt x="28" y="452"/>
                        </a:lnTo>
                        <a:lnTo>
                          <a:pt x="16" y="432"/>
                        </a:lnTo>
                        <a:lnTo>
                          <a:pt x="32" y="440"/>
                        </a:lnTo>
                        <a:lnTo>
                          <a:pt x="28" y="414"/>
                        </a:lnTo>
                        <a:lnTo>
                          <a:pt x="36" y="432"/>
                        </a:lnTo>
                        <a:lnTo>
                          <a:pt x="42" y="424"/>
                        </a:lnTo>
                        <a:lnTo>
                          <a:pt x="32" y="383"/>
                        </a:lnTo>
                        <a:lnTo>
                          <a:pt x="54" y="311"/>
                        </a:lnTo>
                        <a:lnTo>
                          <a:pt x="58" y="329"/>
                        </a:lnTo>
                        <a:lnTo>
                          <a:pt x="70" y="311"/>
                        </a:lnTo>
                        <a:lnTo>
                          <a:pt x="128" y="275"/>
                        </a:lnTo>
                        <a:lnTo>
                          <a:pt x="150" y="275"/>
                        </a:lnTo>
                        <a:lnTo>
                          <a:pt x="187" y="257"/>
                        </a:lnTo>
                        <a:lnTo>
                          <a:pt x="233" y="249"/>
                        </a:lnTo>
                        <a:lnTo>
                          <a:pt x="277" y="203"/>
                        </a:lnTo>
                        <a:lnTo>
                          <a:pt x="277" y="177"/>
                        </a:lnTo>
                        <a:lnTo>
                          <a:pt x="295" y="161"/>
                        </a:lnTo>
                        <a:lnTo>
                          <a:pt x="303" y="191"/>
                        </a:lnTo>
                        <a:lnTo>
                          <a:pt x="315" y="179"/>
                        </a:lnTo>
                        <a:lnTo>
                          <a:pt x="311" y="153"/>
                        </a:lnTo>
                        <a:lnTo>
                          <a:pt x="333" y="165"/>
                        </a:lnTo>
                        <a:lnTo>
                          <a:pt x="337" y="133"/>
                        </a:lnTo>
                        <a:lnTo>
                          <a:pt x="349" y="133"/>
                        </a:lnTo>
                        <a:lnTo>
                          <a:pt x="349" y="124"/>
                        </a:lnTo>
                        <a:lnTo>
                          <a:pt x="357" y="128"/>
                        </a:lnTo>
                        <a:lnTo>
                          <a:pt x="357" y="112"/>
                        </a:lnTo>
                        <a:lnTo>
                          <a:pt x="375" y="108"/>
                        </a:lnTo>
                        <a:lnTo>
                          <a:pt x="379" y="92"/>
                        </a:lnTo>
                        <a:lnTo>
                          <a:pt x="383" y="100"/>
                        </a:lnTo>
                        <a:lnTo>
                          <a:pt x="403" y="88"/>
                        </a:lnTo>
                        <a:lnTo>
                          <a:pt x="418" y="96"/>
                        </a:lnTo>
                        <a:lnTo>
                          <a:pt x="428" y="116"/>
                        </a:lnTo>
                        <a:lnTo>
                          <a:pt x="436" y="11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670" name="vMap : Luxembourg">
                  <a:extLst>
                    <a:ext uri="{FF2B5EF4-FFF2-40B4-BE49-F238E27FC236}">
                      <a16:creationId xmlns:a16="http://schemas.microsoft.com/office/drawing/2014/main" xmlns="" id="{C4CD7984-88BB-6448-93CF-A504B26248EB}"/>
                    </a:ext>
                  </a:extLst>
                </p:cNvPr>
                <p:cNvSpPr>
                  <a:spLocks noChangeAspect="1"/>
                </p:cNvSpPr>
                <p:nvPr>
                  <p:custDataLst>
                    <p:tags r:id="rId168"/>
                  </p:custDataLst>
                </p:nvPr>
              </p:nvSpPr>
              <p:spPr bwMode="gray">
                <a:xfrm>
                  <a:off x="4221149" y="2914249"/>
                  <a:ext cx="9128" cy="12440"/>
                </a:xfrm>
                <a:custGeom>
                  <a:avLst/>
                  <a:gdLst>
                    <a:gd name="T0" fmla="*/ 0 w 11"/>
                    <a:gd name="T1" fmla="*/ 5 h 14"/>
                    <a:gd name="T2" fmla="*/ 3 w 11"/>
                    <a:gd name="T3" fmla="*/ 5 h 14"/>
                    <a:gd name="T4" fmla="*/ 2 w 11"/>
                    <a:gd name="T5" fmla="*/ 0 h 14"/>
                    <a:gd name="T6" fmla="*/ 0 w 11"/>
                    <a:gd name="T7" fmla="*/ 2 h 14"/>
                    <a:gd name="T8" fmla="*/ 0 w 11"/>
                    <a:gd name="T9" fmla="*/ 5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14">
                      <a:moveTo>
                        <a:pt x="0" y="14"/>
                      </a:moveTo>
                      <a:lnTo>
                        <a:pt x="11" y="14"/>
                      </a:lnTo>
                      <a:lnTo>
                        <a:pt x="7" y="0"/>
                      </a:lnTo>
                      <a:lnTo>
                        <a:pt x="0" y="6"/>
                      </a:lnTo>
                      <a:lnTo>
                        <a:pt x="0" y="14"/>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1" name="vMap : Russia (Water)">
                  <a:extLst>
                    <a:ext uri="{FF2B5EF4-FFF2-40B4-BE49-F238E27FC236}">
                      <a16:creationId xmlns:a16="http://schemas.microsoft.com/office/drawing/2014/main" xmlns="" id="{FB32F281-E1AE-B043-9DA2-3CF47EE86C88}"/>
                    </a:ext>
                  </a:extLst>
                </p:cNvPr>
                <p:cNvSpPr>
                  <a:spLocks noChangeAspect="1"/>
                </p:cNvSpPr>
                <p:nvPr>
                  <p:custDataLst>
                    <p:tags r:id="rId169"/>
                  </p:custDataLst>
                </p:nvPr>
              </p:nvSpPr>
              <p:spPr bwMode="gray">
                <a:xfrm>
                  <a:off x="4666885" y="2629684"/>
                  <a:ext cx="53245" cy="43541"/>
                </a:xfrm>
                <a:custGeom>
                  <a:avLst/>
                  <a:gdLst>
                    <a:gd name="T0" fmla="*/ 6 w 57"/>
                    <a:gd name="T1" fmla="*/ 0 h 46"/>
                    <a:gd name="T2" fmla="*/ 17 w 57"/>
                    <a:gd name="T3" fmla="*/ 6 h 46"/>
                    <a:gd name="T4" fmla="*/ 21 w 57"/>
                    <a:gd name="T5" fmla="*/ 11 h 46"/>
                    <a:gd name="T6" fmla="*/ 9 w 57"/>
                    <a:gd name="T7" fmla="*/ 17 h 46"/>
                    <a:gd name="T8" fmla="*/ 0 w 57"/>
                    <a:gd name="T9" fmla="*/ 4 h 46"/>
                    <a:gd name="T10" fmla="*/ 6 w 57"/>
                    <a:gd name="T11" fmla="*/ 0 h 4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 h="46">
                      <a:moveTo>
                        <a:pt x="15" y="0"/>
                      </a:moveTo>
                      <a:lnTo>
                        <a:pt x="45" y="16"/>
                      </a:lnTo>
                      <a:lnTo>
                        <a:pt x="57" y="30"/>
                      </a:lnTo>
                      <a:lnTo>
                        <a:pt x="23" y="46"/>
                      </a:lnTo>
                      <a:lnTo>
                        <a:pt x="0" y="12"/>
                      </a:lnTo>
                      <a:lnTo>
                        <a:pt x="15"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2" name="vMap : Russia (Water)">
                  <a:extLst>
                    <a:ext uri="{FF2B5EF4-FFF2-40B4-BE49-F238E27FC236}">
                      <a16:creationId xmlns:a16="http://schemas.microsoft.com/office/drawing/2014/main" xmlns="" id="{FC1997E6-BD3B-D443-A4D6-08099AA8AC2A}"/>
                    </a:ext>
                  </a:extLst>
                </p:cNvPr>
                <p:cNvSpPr>
                  <a:spLocks noChangeAspect="1"/>
                </p:cNvSpPr>
                <p:nvPr>
                  <p:custDataLst>
                    <p:tags r:id="rId170"/>
                  </p:custDataLst>
                </p:nvPr>
              </p:nvSpPr>
              <p:spPr bwMode="gray">
                <a:xfrm>
                  <a:off x="6137964" y="2778964"/>
                  <a:ext cx="71501" cy="102631"/>
                </a:xfrm>
                <a:custGeom>
                  <a:avLst/>
                  <a:gdLst>
                    <a:gd name="T0" fmla="*/ 20 w 76"/>
                    <a:gd name="T1" fmla="*/ 0 h 110"/>
                    <a:gd name="T2" fmla="*/ 24 w 76"/>
                    <a:gd name="T3" fmla="*/ 1 h 110"/>
                    <a:gd name="T4" fmla="*/ 29 w 76"/>
                    <a:gd name="T5" fmla="*/ 15 h 110"/>
                    <a:gd name="T6" fmla="*/ 27 w 76"/>
                    <a:gd name="T7" fmla="*/ 22 h 110"/>
                    <a:gd name="T8" fmla="*/ 29 w 76"/>
                    <a:gd name="T9" fmla="*/ 23 h 110"/>
                    <a:gd name="T10" fmla="*/ 15 w 76"/>
                    <a:gd name="T11" fmla="*/ 40 h 110"/>
                    <a:gd name="T12" fmla="*/ 0 w 76"/>
                    <a:gd name="T13" fmla="*/ 40 h 110"/>
                    <a:gd name="T14" fmla="*/ 9 w 76"/>
                    <a:gd name="T15" fmla="*/ 37 h 110"/>
                    <a:gd name="T16" fmla="*/ 20 w 76"/>
                    <a:gd name="T17" fmla="*/ 23 h 110"/>
                    <a:gd name="T18" fmla="*/ 16 w 76"/>
                    <a:gd name="T19" fmla="*/ 23 h 110"/>
                    <a:gd name="T20" fmla="*/ 20 w 76"/>
                    <a:gd name="T21" fmla="*/ 18 h 110"/>
                    <a:gd name="T22" fmla="*/ 20 w 76"/>
                    <a:gd name="T23" fmla="*/ 0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6" h="110">
                      <a:moveTo>
                        <a:pt x="54" y="0"/>
                      </a:moveTo>
                      <a:lnTo>
                        <a:pt x="62" y="4"/>
                      </a:lnTo>
                      <a:lnTo>
                        <a:pt x="76" y="42"/>
                      </a:lnTo>
                      <a:lnTo>
                        <a:pt x="70" y="60"/>
                      </a:lnTo>
                      <a:lnTo>
                        <a:pt x="76" y="64"/>
                      </a:lnTo>
                      <a:lnTo>
                        <a:pt x="38" y="110"/>
                      </a:lnTo>
                      <a:lnTo>
                        <a:pt x="0" y="110"/>
                      </a:lnTo>
                      <a:lnTo>
                        <a:pt x="24" y="104"/>
                      </a:lnTo>
                      <a:lnTo>
                        <a:pt x="54" y="64"/>
                      </a:lnTo>
                      <a:lnTo>
                        <a:pt x="42" y="64"/>
                      </a:lnTo>
                      <a:lnTo>
                        <a:pt x="54" y="50"/>
                      </a:lnTo>
                      <a:lnTo>
                        <a:pt x="54" y="0"/>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grpSp>
              <p:nvGrpSpPr>
                <p:cNvPr id="673" name="vMap : Canada">
                  <a:extLst>
                    <a:ext uri="{FF2B5EF4-FFF2-40B4-BE49-F238E27FC236}">
                      <a16:creationId xmlns:a16="http://schemas.microsoft.com/office/drawing/2014/main" xmlns="" id="{41BFE582-D569-554F-B587-A12842256D21}"/>
                    </a:ext>
                  </a:extLst>
                </p:cNvPr>
                <p:cNvGrpSpPr/>
                <p:nvPr/>
              </p:nvGrpSpPr>
              <p:grpSpPr>
                <a:xfrm>
                  <a:off x="1569555" y="2184954"/>
                  <a:ext cx="1770773" cy="942331"/>
                  <a:chOff x="1272481" y="570230"/>
                  <a:chExt cx="2900092" cy="1543356"/>
                </a:xfrm>
                <a:solidFill>
                  <a:srgbClr val="0F4DBC"/>
                </a:solidFill>
              </p:grpSpPr>
              <p:sp>
                <p:nvSpPr>
                  <p:cNvPr id="678" name="vMap : Canada (Offshore)">
                    <a:extLst>
                      <a:ext uri="{FF2B5EF4-FFF2-40B4-BE49-F238E27FC236}">
                        <a16:creationId xmlns:a16="http://schemas.microsoft.com/office/drawing/2014/main" xmlns="" id="{546A3C34-9C84-254D-9005-2907D2802E05}"/>
                      </a:ext>
                    </a:extLst>
                  </p:cNvPr>
                  <p:cNvSpPr>
                    <a:spLocks noChangeAspect="1"/>
                  </p:cNvSpPr>
                  <p:nvPr>
                    <p:custDataLst>
                      <p:tags r:id="rId175"/>
                    </p:custDataLst>
                  </p:nvPr>
                </p:nvSpPr>
                <p:spPr bwMode="gray">
                  <a:xfrm>
                    <a:off x="2351295" y="873297"/>
                    <a:ext cx="440994" cy="165541"/>
                  </a:xfrm>
                  <a:custGeom>
                    <a:avLst/>
                    <a:gdLst>
                      <a:gd name="T0" fmla="*/ 10 w 289"/>
                      <a:gd name="T1" fmla="*/ 16 h 110"/>
                      <a:gd name="T2" fmla="*/ 14 w 289"/>
                      <a:gd name="T3" fmla="*/ 13 h 110"/>
                      <a:gd name="T4" fmla="*/ 8 w 289"/>
                      <a:gd name="T5" fmla="*/ 12 h 110"/>
                      <a:gd name="T6" fmla="*/ 18 w 289"/>
                      <a:gd name="T7" fmla="*/ 9 h 110"/>
                      <a:gd name="T8" fmla="*/ 17 w 289"/>
                      <a:gd name="T9" fmla="*/ 8 h 110"/>
                      <a:gd name="T10" fmla="*/ 21 w 289"/>
                      <a:gd name="T11" fmla="*/ 5 h 110"/>
                      <a:gd name="T12" fmla="*/ 52 w 289"/>
                      <a:gd name="T13" fmla="*/ 0 h 110"/>
                      <a:gd name="T14" fmla="*/ 52 w 289"/>
                      <a:gd name="T15" fmla="*/ 3 h 110"/>
                      <a:gd name="T16" fmla="*/ 44 w 289"/>
                      <a:gd name="T17" fmla="*/ 7 h 110"/>
                      <a:gd name="T18" fmla="*/ 59 w 289"/>
                      <a:gd name="T19" fmla="*/ 3 h 110"/>
                      <a:gd name="T20" fmla="*/ 66 w 289"/>
                      <a:gd name="T21" fmla="*/ 5 h 110"/>
                      <a:gd name="T22" fmla="*/ 59 w 289"/>
                      <a:gd name="T23" fmla="*/ 8 h 110"/>
                      <a:gd name="T24" fmla="*/ 74 w 289"/>
                      <a:gd name="T25" fmla="*/ 7 h 110"/>
                      <a:gd name="T26" fmla="*/ 74 w 289"/>
                      <a:gd name="T27" fmla="*/ 3 h 110"/>
                      <a:gd name="T28" fmla="*/ 78 w 289"/>
                      <a:gd name="T29" fmla="*/ 4 h 110"/>
                      <a:gd name="T30" fmla="*/ 81 w 289"/>
                      <a:gd name="T31" fmla="*/ 7 h 110"/>
                      <a:gd name="T32" fmla="*/ 75 w 289"/>
                      <a:gd name="T33" fmla="*/ 13 h 110"/>
                      <a:gd name="T34" fmla="*/ 83 w 289"/>
                      <a:gd name="T35" fmla="*/ 12 h 110"/>
                      <a:gd name="T36" fmla="*/ 92 w 289"/>
                      <a:gd name="T37" fmla="*/ 1 h 110"/>
                      <a:gd name="T38" fmla="*/ 102 w 289"/>
                      <a:gd name="T39" fmla="*/ 1 h 110"/>
                      <a:gd name="T40" fmla="*/ 105 w 289"/>
                      <a:gd name="T41" fmla="*/ 5 h 110"/>
                      <a:gd name="T42" fmla="*/ 100 w 289"/>
                      <a:gd name="T43" fmla="*/ 11 h 110"/>
                      <a:gd name="T44" fmla="*/ 100 w 289"/>
                      <a:gd name="T45" fmla="*/ 15 h 110"/>
                      <a:gd name="T46" fmla="*/ 94 w 289"/>
                      <a:gd name="T47" fmla="*/ 19 h 110"/>
                      <a:gd name="T48" fmla="*/ 108 w 289"/>
                      <a:gd name="T49" fmla="*/ 27 h 110"/>
                      <a:gd name="T50" fmla="*/ 105 w 289"/>
                      <a:gd name="T51" fmla="*/ 30 h 110"/>
                      <a:gd name="T52" fmla="*/ 100 w 289"/>
                      <a:gd name="T53" fmla="*/ 27 h 110"/>
                      <a:gd name="T54" fmla="*/ 89 w 289"/>
                      <a:gd name="T55" fmla="*/ 31 h 110"/>
                      <a:gd name="T56" fmla="*/ 88 w 289"/>
                      <a:gd name="T57" fmla="*/ 32 h 110"/>
                      <a:gd name="T58" fmla="*/ 96 w 289"/>
                      <a:gd name="T59" fmla="*/ 31 h 110"/>
                      <a:gd name="T60" fmla="*/ 92 w 289"/>
                      <a:gd name="T61" fmla="*/ 34 h 110"/>
                      <a:gd name="T62" fmla="*/ 96 w 289"/>
                      <a:gd name="T63" fmla="*/ 34 h 110"/>
                      <a:gd name="T64" fmla="*/ 85 w 289"/>
                      <a:gd name="T65" fmla="*/ 36 h 110"/>
                      <a:gd name="T66" fmla="*/ 70 w 289"/>
                      <a:gd name="T67" fmla="*/ 36 h 110"/>
                      <a:gd name="T68" fmla="*/ 72 w 289"/>
                      <a:gd name="T69" fmla="*/ 35 h 110"/>
                      <a:gd name="T70" fmla="*/ 66 w 289"/>
                      <a:gd name="T71" fmla="*/ 34 h 110"/>
                      <a:gd name="T72" fmla="*/ 66 w 289"/>
                      <a:gd name="T73" fmla="*/ 31 h 110"/>
                      <a:gd name="T74" fmla="*/ 57 w 289"/>
                      <a:gd name="T75" fmla="*/ 35 h 110"/>
                      <a:gd name="T76" fmla="*/ 38 w 289"/>
                      <a:gd name="T77" fmla="*/ 38 h 110"/>
                      <a:gd name="T78" fmla="*/ 13 w 289"/>
                      <a:gd name="T79" fmla="*/ 38 h 110"/>
                      <a:gd name="T80" fmla="*/ 14 w 289"/>
                      <a:gd name="T81" fmla="*/ 38 h 110"/>
                      <a:gd name="T82" fmla="*/ 16 w 289"/>
                      <a:gd name="T83" fmla="*/ 35 h 110"/>
                      <a:gd name="T84" fmla="*/ 10 w 289"/>
                      <a:gd name="T85" fmla="*/ 32 h 110"/>
                      <a:gd name="T86" fmla="*/ 0 w 289"/>
                      <a:gd name="T87" fmla="*/ 31 h 110"/>
                      <a:gd name="T88" fmla="*/ 0 w 289"/>
                      <a:gd name="T89" fmla="*/ 27 h 110"/>
                      <a:gd name="T90" fmla="*/ 38 w 289"/>
                      <a:gd name="T91" fmla="*/ 24 h 110"/>
                      <a:gd name="T92" fmla="*/ 6 w 289"/>
                      <a:gd name="T93" fmla="*/ 21 h 110"/>
                      <a:gd name="T94" fmla="*/ 4 w 289"/>
                      <a:gd name="T95" fmla="*/ 19 h 110"/>
                      <a:gd name="T96" fmla="*/ 10 w 289"/>
                      <a:gd name="T97" fmla="*/ 16 h 11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89" h="110">
                        <a:moveTo>
                          <a:pt x="26" y="46"/>
                        </a:moveTo>
                        <a:lnTo>
                          <a:pt x="38" y="38"/>
                        </a:lnTo>
                        <a:lnTo>
                          <a:pt x="22" y="34"/>
                        </a:lnTo>
                        <a:lnTo>
                          <a:pt x="48" y="26"/>
                        </a:lnTo>
                        <a:lnTo>
                          <a:pt x="46" y="22"/>
                        </a:lnTo>
                        <a:lnTo>
                          <a:pt x="56" y="14"/>
                        </a:lnTo>
                        <a:lnTo>
                          <a:pt x="138" y="0"/>
                        </a:lnTo>
                        <a:lnTo>
                          <a:pt x="138" y="8"/>
                        </a:lnTo>
                        <a:lnTo>
                          <a:pt x="118" y="18"/>
                        </a:lnTo>
                        <a:lnTo>
                          <a:pt x="156" y="8"/>
                        </a:lnTo>
                        <a:lnTo>
                          <a:pt x="176" y="14"/>
                        </a:lnTo>
                        <a:lnTo>
                          <a:pt x="156" y="22"/>
                        </a:lnTo>
                        <a:lnTo>
                          <a:pt x="197" y="18"/>
                        </a:lnTo>
                        <a:lnTo>
                          <a:pt x="197" y="8"/>
                        </a:lnTo>
                        <a:lnTo>
                          <a:pt x="209" y="12"/>
                        </a:lnTo>
                        <a:lnTo>
                          <a:pt x="217" y="18"/>
                        </a:lnTo>
                        <a:lnTo>
                          <a:pt x="201" y="38"/>
                        </a:lnTo>
                        <a:lnTo>
                          <a:pt x="221" y="34"/>
                        </a:lnTo>
                        <a:lnTo>
                          <a:pt x="247" y="4"/>
                        </a:lnTo>
                        <a:lnTo>
                          <a:pt x="271" y="4"/>
                        </a:lnTo>
                        <a:lnTo>
                          <a:pt x="279" y="14"/>
                        </a:lnTo>
                        <a:lnTo>
                          <a:pt x="267" y="30"/>
                        </a:lnTo>
                        <a:lnTo>
                          <a:pt x="267" y="42"/>
                        </a:lnTo>
                        <a:lnTo>
                          <a:pt x="251" y="54"/>
                        </a:lnTo>
                        <a:lnTo>
                          <a:pt x="289" y="76"/>
                        </a:lnTo>
                        <a:lnTo>
                          <a:pt x="279" y="84"/>
                        </a:lnTo>
                        <a:lnTo>
                          <a:pt x="267" y="76"/>
                        </a:lnTo>
                        <a:lnTo>
                          <a:pt x="239" y="88"/>
                        </a:lnTo>
                        <a:lnTo>
                          <a:pt x="233" y="92"/>
                        </a:lnTo>
                        <a:lnTo>
                          <a:pt x="255" y="88"/>
                        </a:lnTo>
                        <a:lnTo>
                          <a:pt x="247" y="96"/>
                        </a:lnTo>
                        <a:lnTo>
                          <a:pt x="255" y="96"/>
                        </a:lnTo>
                        <a:lnTo>
                          <a:pt x="225" y="104"/>
                        </a:lnTo>
                        <a:lnTo>
                          <a:pt x="187" y="104"/>
                        </a:lnTo>
                        <a:lnTo>
                          <a:pt x="193" y="100"/>
                        </a:lnTo>
                        <a:lnTo>
                          <a:pt x="176" y="96"/>
                        </a:lnTo>
                        <a:lnTo>
                          <a:pt x="176" y="88"/>
                        </a:lnTo>
                        <a:lnTo>
                          <a:pt x="152" y="100"/>
                        </a:lnTo>
                        <a:lnTo>
                          <a:pt x="102" y="108"/>
                        </a:lnTo>
                        <a:lnTo>
                          <a:pt x="34" y="110"/>
                        </a:lnTo>
                        <a:lnTo>
                          <a:pt x="38" y="110"/>
                        </a:lnTo>
                        <a:lnTo>
                          <a:pt x="42" y="100"/>
                        </a:lnTo>
                        <a:lnTo>
                          <a:pt x="26" y="92"/>
                        </a:lnTo>
                        <a:lnTo>
                          <a:pt x="0" y="88"/>
                        </a:lnTo>
                        <a:lnTo>
                          <a:pt x="0" y="76"/>
                        </a:lnTo>
                        <a:lnTo>
                          <a:pt x="102" y="68"/>
                        </a:lnTo>
                        <a:lnTo>
                          <a:pt x="14" y="60"/>
                        </a:lnTo>
                        <a:lnTo>
                          <a:pt x="10" y="54"/>
                        </a:lnTo>
                        <a:lnTo>
                          <a:pt x="26" y="46"/>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9" name="vMap : Canada (Offshore)">
                    <a:extLst>
                      <a:ext uri="{FF2B5EF4-FFF2-40B4-BE49-F238E27FC236}">
                        <a16:creationId xmlns:a16="http://schemas.microsoft.com/office/drawing/2014/main" xmlns="" id="{77ACC944-C157-6F44-83AA-09F097ABBEAD}"/>
                      </a:ext>
                    </a:extLst>
                  </p:cNvPr>
                  <p:cNvSpPr>
                    <a:spLocks noChangeAspect="1"/>
                  </p:cNvSpPr>
                  <p:nvPr>
                    <p:custDataLst>
                      <p:tags r:id="rId176"/>
                    </p:custDataLst>
                  </p:nvPr>
                </p:nvSpPr>
                <p:spPr bwMode="gray">
                  <a:xfrm>
                    <a:off x="1980064" y="1250222"/>
                    <a:ext cx="328876" cy="84044"/>
                  </a:xfrm>
                  <a:custGeom>
                    <a:avLst/>
                    <a:gdLst>
                      <a:gd name="T0" fmla="*/ 73 w 213"/>
                      <a:gd name="T1" fmla="*/ 4 h 52"/>
                      <a:gd name="T2" fmla="*/ 66 w 213"/>
                      <a:gd name="T3" fmla="*/ 4 h 52"/>
                      <a:gd name="T4" fmla="*/ 32 w 213"/>
                      <a:gd name="T5" fmla="*/ 20 h 52"/>
                      <a:gd name="T6" fmla="*/ 12 w 213"/>
                      <a:gd name="T7" fmla="*/ 21 h 52"/>
                      <a:gd name="T8" fmla="*/ 0 w 213"/>
                      <a:gd name="T9" fmla="*/ 15 h 52"/>
                      <a:gd name="T10" fmla="*/ 6 w 213"/>
                      <a:gd name="T11" fmla="*/ 14 h 52"/>
                      <a:gd name="T12" fmla="*/ 19 w 213"/>
                      <a:gd name="T13" fmla="*/ 18 h 52"/>
                      <a:gd name="T14" fmla="*/ 29 w 213"/>
                      <a:gd name="T15" fmla="*/ 12 h 52"/>
                      <a:gd name="T16" fmla="*/ 34 w 213"/>
                      <a:gd name="T17" fmla="*/ 12 h 52"/>
                      <a:gd name="T18" fmla="*/ 37 w 213"/>
                      <a:gd name="T19" fmla="*/ 9 h 52"/>
                      <a:gd name="T20" fmla="*/ 31 w 213"/>
                      <a:gd name="T21" fmla="*/ 0 h 52"/>
                      <a:gd name="T22" fmla="*/ 37 w 213"/>
                      <a:gd name="T23" fmla="*/ 0 h 52"/>
                      <a:gd name="T24" fmla="*/ 38 w 213"/>
                      <a:gd name="T25" fmla="*/ 6 h 52"/>
                      <a:gd name="T26" fmla="*/ 44 w 213"/>
                      <a:gd name="T27" fmla="*/ 2 h 52"/>
                      <a:gd name="T28" fmla="*/ 42 w 213"/>
                      <a:gd name="T29" fmla="*/ 7 h 52"/>
                      <a:gd name="T30" fmla="*/ 47 w 213"/>
                      <a:gd name="T31" fmla="*/ 6 h 52"/>
                      <a:gd name="T32" fmla="*/ 47 w 213"/>
                      <a:gd name="T33" fmla="*/ 9 h 52"/>
                      <a:gd name="T34" fmla="*/ 69 w 213"/>
                      <a:gd name="T35" fmla="*/ 2 h 52"/>
                      <a:gd name="T36" fmla="*/ 82 w 213"/>
                      <a:gd name="T37" fmla="*/ 3 h 52"/>
                      <a:gd name="T38" fmla="*/ 73 w 213"/>
                      <a:gd name="T39" fmla="*/ 4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13" h="52">
                        <a:moveTo>
                          <a:pt x="191" y="10"/>
                        </a:moveTo>
                        <a:lnTo>
                          <a:pt x="172" y="10"/>
                        </a:lnTo>
                        <a:lnTo>
                          <a:pt x="84" y="50"/>
                        </a:lnTo>
                        <a:lnTo>
                          <a:pt x="30" y="52"/>
                        </a:lnTo>
                        <a:lnTo>
                          <a:pt x="0" y="38"/>
                        </a:lnTo>
                        <a:lnTo>
                          <a:pt x="14" y="34"/>
                        </a:lnTo>
                        <a:lnTo>
                          <a:pt x="50" y="46"/>
                        </a:lnTo>
                        <a:lnTo>
                          <a:pt x="76" y="30"/>
                        </a:lnTo>
                        <a:lnTo>
                          <a:pt x="88" y="30"/>
                        </a:lnTo>
                        <a:lnTo>
                          <a:pt x="96" y="22"/>
                        </a:lnTo>
                        <a:lnTo>
                          <a:pt x="80" y="0"/>
                        </a:lnTo>
                        <a:lnTo>
                          <a:pt x="96" y="0"/>
                        </a:lnTo>
                        <a:lnTo>
                          <a:pt x="100" y="14"/>
                        </a:lnTo>
                        <a:lnTo>
                          <a:pt x="114" y="4"/>
                        </a:lnTo>
                        <a:lnTo>
                          <a:pt x="110" y="18"/>
                        </a:lnTo>
                        <a:lnTo>
                          <a:pt x="122" y="14"/>
                        </a:lnTo>
                        <a:lnTo>
                          <a:pt x="122" y="22"/>
                        </a:lnTo>
                        <a:lnTo>
                          <a:pt x="180" y="4"/>
                        </a:lnTo>
                        <a:lnTo>
                          <a:pt x="213" y="6"/>
                        </a:lnTo>
                        <a:lnTo>
                          <a:pt x="191" y="10"/>
                        </a:lnTo>
                      </a:path>
                    </a:pathLst>
                  </a:custGeom>
                  <a:grp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680" name="vMap : Canada (Offshore)">
                    <a:extLst>
                      <a:ext uri="{FF2B5EF4-FFF2-40B4-BE49-F238E27FC236}">
                        <a16:creationId xmlns:a16="http://schemas.microsoft.com/office/drawing/2014/main" xmlns="" id="{06173EF1-8535-834F-886A-6E8F2F3523DA}"/>
                      </a:ext>
                    </a:extLst>
                  </p:cNvPr>
                  <p:cNvSpPr>
                    <a:spLocks noChangeAspect="1"/>
                  </p:cNvSpPr>
                  <p:nvPr>
                    <p:custDataLst>
                      <p:tags r:id="rId177"/>
                    </p:custDataLst>
                  </p:nvPr>
                </p:nvSpPr>
                <p:spPr bwMode="gray">
                  <a:xfrm>
                    <a:off x="2109621" y="1369922"/>
                    <a:ext cx="164438" cy="48389"/>
                  </a:xfrm>
                  <a:custGeom>
                    <a:avLst/>
                    <a:gdLst>
                      <a:gd name="T0" fmla="*/ 0 w 107"/>
                      <a:gd name="T1" fmla="*/ 12 h 30"/>
                      <a:gd name="T2" fmla="*/ 23 w 107"/>
                      <a:gd name="T3" fmla="*/ 0 h 30"/>
                      <a:gd name="T4" fmla="*/ 29 w 107"/>
                      <a:gd name="T5" fmla="*/ 0 h 30"/>
                      <a:gd name="T6" fmla="*/ 22 w 107"/>
                      <a:gd name="T7" fmla="*/ 3 h 30"/>
                      <a:gd name="T8" fmla="*/ 26 w 107"/>
                      <a:gd name="T9" fmla="*/ 5 h 30"/>
                      <a:gd name="T10" fmla="*/ 22 w 107"/>
                      <a:gd name="T11" fmla="*/ 6 h 30"/>
                      <a:gd name="T12" fmla="*/ 41 w 107"/>
                      <a:gd name="T13" fmla="*/ 6 h 30"/>
                      <a:gd name="T14" fmla="*/ 0 w 107"/>
                      <a:gd name="T15" fmla="*/ 12 h 3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7" h="30">
                        <a:moveTo>
                          <a:pt x="0" y="30"/>
                        </a:moveTo>
                        <a:lnTo>
                          <a:pt x="62" y="0"/>
                        </a:lnTo>
                        <a:lnTo>
                          <a:pt x="76" y="0"/>
                        </a:lnTo>
                        <a:lnTo>
                          <a:pt x="58" y="8"/>
                        </a:lnTo>
                        <a:lnTo>
                          <a:pt x="68" y="12"/>
                        </a:lnTo>
                        <a:lnTo>
                          <a:pt x="58" y="16"/>
                        </a:lnTo>
                        <a:lnTo>
                          <a:pt x="107" y="16"/>
                        </a:lnTo>
                        <a:lnTo>
                          <a:pt x="0" y="30"/>
                        </a:lnTo>
                      </a:path>
                    </a:pathLst>
                  </a:custGeom>
                  <a:grp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681" name="vMap : Canada (Offshore)">
                    <a:extLst>
                      <a:ext uri="{FF2B5EF4-FFF2-40B4-BE49-F238E27FC236}">
                        <a16:creationId xmlns:a16="http://schemas.microsoft.com/office/drawing/2014/main" xmlns="" id="{FDECC6F5-0728-F349-AB03-CE85802D7A9C}"/>
                      </a:ext>
                    </a:extLst>
                  </p:cNvPr>
                  <p:cNvSpPr>
                    <a:spLocks noChangeAspect="1"/>
                  </p:cNvSpPr>
                  <p:nvPr>
                    <p:custDataLst>
                      <p:tags r:id="rId178"/>
                    </p:custDataLst>
                  </p:nvPr>
                </p:nvSpPr>
                <p:spPr bwMode="gray">
                  <a:xfrm>
                    <a:off x="1980064" y="1099962"/>
                    <a:ext cx="229217" cy="84044"/>
                  </a:xfrm>
                  <a:custGeom>
                    <a:avLst/>
                    <a:gdLst>
                      <a:gd name="T0" fmla="*/ 13 w 148"/>
                      <a:gd name="T1" fmla="*/ 21 h 52"/>
                      <a:gd name="T2" fmla="*/ 31 w 148"/>
                      <a:gd name="T3" fmla="*/ 15 h 52"/>
                      <a:gd name="T4" fmla="*/ 29 w 148"/>
                      <a:gd name="T5" fmla="*/ 14 h 52"/>
                      <a:gd name="T6" fmla="*/ 35 w 148"/>
                      <a:gd name="T7" fmla="*/ 12 h 52"/>
                      <a:gd name="T8" fmla="*/ 42 w 148"/>
                      <a:gd name="T9" fmla="*/ 12 h 52"/>
                      <a:gd name="T10" fmla="*/ 53 w 148"/>
                      <a:gd name="T11" fmla="*/ 7 h 52"/>
                      <a:gd name="T12" fmla="*/ 57 w 148"/>
                      <a:gd name="T13" fmla="*/ 3 h 52"/>
                      <a:gd name="T14" fmla="*/ 37 w 148"/>
                      <a:gd name="T15" fmla="*/ 6 h 52"/>
                      <a:gd name="T16" fmla="*/ 50 w 148"/>
                      <a:gd name="T17" fmla="*/ 0 h 52"/>
                      <a:gd name="T18" fmla="*/ 44 w 148"/>
                      <a:gd name="T19" fmla="*/ 0 h 52"/>
                      <a:gd name="T20" fmla="*/ 0 w 148"/>
                      <a:gd name="T21" fmla="*/ 7 h 52"/>
                      <a:gd name="T22" fmla="*/ 16 w 148"/>
                      <a:gd name="T23" fmla="*/ 9 h 52"/>
                      <a:gd name="T24" fmla="*/ 15 w 148"/>
                      <a:gd name="T25" fmla="*/ 12 h 52"/>
                      <a:gd name="T26" fmla="*/ 1 w 148"/>
                      <a:gd name="T27" fmla="*/ 17 h 52"/>
                      <a:gd name="T28" fmla="*/ 9 w 148"/>
                      <a:gd name="T29" fmla="*/ 20 h 52"/>
                      <a:gd name="T30" fmla="*/ 13 w 148"/>
                      <a:gd name="T31" fmla="*/ 21 h 5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8" h="52">
                        <a:moveTo>
                          <a:pt x="34" y="52"/>
                        </a:moveTo>
                        <a:lnTo>
                          <a:pt x="80" y="38"/>
                        </a:lnTo>
                        <a:lnTo>
                          <a:pt x="76" y="34"/>
                        </a:lnTo>
                        <a:lnTo>
                          <a:pt x="92" y="30"/>
                        </a:lnTo>
                        <a:lnTo>
                          <a:pt x="110" y="30"/>
                        </a:lnTo>
                        <a:lnTo>
                          <a:pt x="138" y="18"/>
                        </a:lnTo>
                        <a:lnTo>
                          <a:pt x="148" y="6"/>
                        </a:lnTo>
                        <a:lnTo>
                          <a:pt x="96" y="14"/>
                        </a:lnTo>
                        <a:lnTo>
                          <a:pt x="130" y="0"/>
                        </a:lnTo>
                        <a:lnTo>
                          <a:pt x="114" y="0"/>
                        </a:lnTo>
                        <a:lnTo>
                          <a:pt x="0" y="18"/>
                        </a:lnTo>
                        <a:lnTo>
                          <a:pt x="42" y="22"/>
                        </a:lnTo>
                        <a:lnTo>
                          <a:pt x="38" y="30"/>
                        </a:lnTo>
                        <a:lnTo>
                          <a:pt x="4" y="42"/>
                        </a:lnTo>
                        <a:lnTo>
                          <a:pt x="22" y="50"/>
                        </a:lnTo>
                        <a:lnTo>
                          <a:pt x="34" y="52"/>
                        </a:lnTo>
                      </a:path>
                    </a:pathLst>
                  </a:custGeom>
                  <a:grp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sp>
                <p:nvSpPr>
                  <p:cNvPr id="682" name="vMap : Canada (Offshore)">
                    <a:extLst>
                      <a:ext uri="{FF2B5EF4-FFF2-40B4-BE49-F238E27FC236}">
                        <a16:creationId xmlns:a16="http://schemas.microsoft.com/office/drawing/2014/main" xmlns="" id="{B0650A3F-C4C0-3B4E-8A26-10FBD85BB189}"/>
                      </a:ext>
                    </a:extLst>
                  </p:cNvPr>
                  <p:cNvSpPr>
                    <a:spLocks noChangeAspect="1"/>
                  </p:cNvSpPr>
                  <p:nvPr>
                    <p:custDataLst>
                      <p:tags r:id="rId179"/>
                    </p:custDataLst>
                  </p:nvPr>
                </p:nvSpPr>
                <p:spPr bwMode="gray">
                  <a:xfrm>
                    <a:off x="1302379" y="1741754"/>
                    <a:ext cx="102152" cy="101871"/>
                  </a:xfrm>
                  <a:custGeom>
                    <a:avLst/>
                    <a:gdLst>
                      <a:gd name="T0" fmla="*/ 4 w 66"/>
                      <a:gd name="T1" fmla="*/ 4 h 66"/>
                      <a:gd name="T2" fmla="*/ 0 w 66"/>
                      <a:gd name="T3" fmla="*/ 1 h 66"/>
                      <a:gd name="T4" fmla="*/ 4 w 66"/>
                      <a:gd name="T5" fmla="*/ 0 h 66"/>
                      <a:gd name="T6" fmla="*/ 19 w 66"/>
                      <a:gd name="T7" fmla="*/ 6 h 66"/>
                      <a:gd name="T8" fmla="*/ 25 w 66"/>
                      <a:gd name="T9" fmla="*/ 24 h 66"/>
                      <a:gd name="T10" fmla="*/ 10 w 66"/>
                      <a:gd name="T11" fmla="*/ 18 h 66"/>
                      <a:gd name="T12" fmla="*/ 6 w 66"/>
                      <a:gd name="T13" fmla="*/ 14 h 66"/>
                      <a:gd name="T14" fmla="*/ 12 w 66"/>
                      <a:gd name="T15" fmla="*/ 11 h 66"/>
                      <a:gd name="T16" fmla="*/ 0 w 66"/>
                      <a:gd name="T17" fmla="*/ 7 h 66"/>
                      <a:gd name="T18" fmla="*/ 1 w 66"/>
                      <a:gd name="T19" fmla="*/ 4 h 66"/>
                      <a:gd name="T20" fmla="*/ 4 w 66"/>
                      <a:gd name="T21" fmla="*/ 4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6" h="66">
                        <a:moveTo>
                          <a:pt x="12" y="12"/>
                        </a:moveTo>
                        <a:lnTo>
                          <a:pt x="0" y="4"/>
                        </a:lnTo>
                        <a:lnTo>
                          <a:pt x="12" y="0"/>
                        </a:lnTo>
                        <a:lnTo>
                          <a:pt x="50" y="16"/>
                        </a:lnTo>
                        <a:lnTo>
                          <a:pt x="66" y="66"/>
                        </a:lnTo>
                        <a:lnTo>
                          <a:pt x="26" y="50"/>
                        </a:lnTo>
                        <a:lnTo>
                          <a:pt x="16" y="38"/>
                        </a:lnTo>
                        <a:lnTo>
                          <a:pt x="30" y="30"/>
                        </a:lnTo>
                        <a:lnTo>
                          <a:pt x="0" y="20"/>
                        </a:lnTo>
                        <a:lnTo>
                          <a:pt x="4" y="12"/>
                        </a:lnTo>
                        <a:lnTo>
                          <a:pt x="12" y="12"/>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3" name="vMap : Canada (Offshore)">
                    <a:extLst>
                      <a:ext uri="{FF2B5EF4-FFF2-40B4-BE49-F238E27FC236}">
                        <a16:creationId xmlns:a16="http://schemas.microsoft.com/office/drawing/2014/main" xmlns="" id="{147F1D26-BC4D-884F-8000-02F3C34324F3}"/>
                      </a:ext>
                    </a:extLst>
                  </p:cNvPr>
                  <p:cNvSpPr>
                    <a:spLocks noChangeAspect="1"/>
                  </p:cNvSpPr>
                  <p:nvPr>
                    <p:custDataLst>
                      <p:tags r:id="rId180"/>
                    </p:custDataLst>
                  </p:nvPr>
                </p:nvSpPr>
                <p:spPr bwMode="gray">
                  <a:xfrm>
                    <a:off x="3382770" y="1897108"/>
                    <a:ext cx="52322" cy="61123"/>
                  </a:xfrm>
                  <a:custGeom>
                    <a:avLst/>
                    <a:gdLst>
                      <a:gd name="T0" fmla="*/ 11 w 36"/>
                      <a:gd name="T1" fmla="*/ 0 h 38"/>
                      <a:gd name="T2" fmla="*/ 1 w 36"/>
                      <a:gd name="T3" fmla="*/ 9 h 38"/>
                      <a:gd name="T4" fmla="*/ 0 w 36"/>
                      <a:gd name="T5" fmla="*/ 15 h 38"/>
                      <a:gd name="T6" fmla="*/ 12 w 36"/>
                      <a:gd name="T7" fmla="*/ 12 h 38"/>
                      <a:gd name="T8" fmla="*/ 12 w 36"/>
                      <a:gd name="T9" fmla="*/ 7 h 38"/>
                      <a:gd name="T10" fmla="*/ 7 w 36"/>
                      <a:gd name="T11" fmla="*/ 10 h 38"/>
                      <a:gd name="T12" fmla="*/ 11 w 36"/>
                      <a:gd name="T13" fmla="*/ 3 h 38"/>
                      <a:gd name="T14" fmla="*/ 11 w 36"/>
                      <a:gd name="T15" fmla="*/ 0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38">
                        <a:moveTo>
                          <a:pt x="32" y="0"/>
                        </a:moveTo>
                        <a:lnTo>
                          <a:pt x="4" y="22"/>
                        </a:lnTo>
                        <a:lnTo>
                          <a:pt x="0" y="38"/>
                        </a:lnTo>
                        <a:lnTo>
                          <a:pt x="36" y="30"/>
                        </a:lnTo>
                        <a:lnTo>
                          <a:pt x="36" y="18"/>
                        </a:lnTo>
                        <a:lnTo>
                          <a:pt x="20" y="26"/>
                        </a:lnTo>
                        <a:lnTo>
                          <a:pt x="32" y="8"/>
                        </a:lnTo>
                        <a:lnTo>
                          <a:pt x="3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4" name="vMap : Canada (Offshore)">
                    <a:extLst>
                      <a:ext uri="{FF2B5EF4-FFF2-40B4-BE49-F238E27FC236}">
                        <a16:creationId xmlns:a16="http://schemas.microsoft.com/office/drawing/2014/main" xmlns="" id="{61A6928E-061F-AB49-BA0C-0E20C9FA6731}"/>
                      </a:ext>
                    </a:extLst>
                  </p:cNvPr>
                  <p:cNvSpPr>
                    <a:spLocks noChangeAspect="1"/>
                  </p:cNvSpPr>
                  <p:nvPr>
                    <p:custDataLst>
                      <p:tags r:id="rId181"/>
                    </p:custDataLst>
                  </p:nvPr>
                </p:nvSpPr>
                <p:spPr bwMode="gray">
                  <a:xfrm>
                    <a:off x="3342906" y="1774861"/>
                    <a:ext cx="82220" cy="33109"/>
                  </a:xfrm>
                  <a:custGeom>
                    <a:avLst/>
                    <a:gdLst>
                      <a:gd name="T0" fmla="*/ 4 w 53"/>
                      <a:gd name="T1" fmla="*/ 0 h 20"/>
                      <a:gd name="T2" fmla="*/ 21 w 53"/>
                      <a:gd name="T3" fmla="*/ 8 h 20"/>
                      <a:gd name="T4" fmla="*/ 7 w 53"/>
                      <a:gd name="T5" fmla="*/ 7 h 20"/>
                      <a:gd name="T6" fmla="*/ 0 w 53"/>
                      <a:gd name="T7" fmla="*/ 0 h 20"/>
                      <a:gd name="T8" fmla="*/ 4 w 53"/>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 h="20">
                        <a:moveTo>
                          <a:pt x="12" y="0"/>
                        </a:moveTo>
                        <a:lnTo>
                          <a:pt x="53" y="20"/>
                        </a:lnTo>
                        <a:lnTo>
                          <a:pt x="18" y="16"/>
                        </a:lnTo>
                        <a:lnTo>
                          <a:pt x="0" y="0"/>
                        </a:lnTo>
                        <a:lnTo>
                          <a:pt x="1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6" name="vMap : Canada (Offshore)">
                    <a:extLst>
                      <a:ext uri="{FF2B5EF4-FFF2-40B4-BE49-F238E27FC236}">
                        <a16:creationId xmlns:a16="http://schemas.microsoft.com/office/drawing/2014/main" xmlns="" id="{E3D0C201-EE6F-9A4A-A70F-3F850B5FF07C}"/>
                      </a:ext>
                    </a:extLst>
                  </p:cNvPr>
                  <p:cNvSpPr>
                    <a:spLocks noChangeAspect="1"/>
                  </p:cNvSpPr>
                  <p:nvPr>
                    <p:custDataLst>
                      <p:tags r:id="rId182"/>
                    </p:custDataLst>
                  </p:nvPr>
                </p:nvSpPr>
                <p:spPr bwMode="gray">
                  <a:xfrm>
                    <a:off x="3295569" y="1897108"/>
                    <a:ext cx="74745" cy="45842"/>
                  </a:xfrm>
                  <a:custGeom>
                    <a:avLst/>
                    <a:gdLst>
                      <a:gd name="T0" fmla="*/ 4 w 50"/>
                      <a:gd name="T1" fmla="*/ 0 h 30"/>
                      <a:gd name="T2" fmla="*/ 4 w 50"/>
                      <a:gd name="T3" fmla="*/ 6 h 30"/>
                      <a:gd name="T4" fmla="*/ 18 w 50"/>
                      <a:gd name="T5" fmla="*/ 7 h 30"/>
                      <a:gd name="T6" fmla="*/ 11 w 50"/>
                      <a:gd name="T7" fmla="*/ 11 h 30"/>
                      <a:gd name="T8" fmla="*/ 6 w 50"/>
                      <a:gd name="T9" fmla="*/ 8 h 30"/>
                      <a:gd name="T10" fmla="*/ 0 w 50"/>
                      <a:gd name="T11" fmla="*/ 4 h 30"/>
                      <a:gd name="T12" fmla="*/ 4 w 50"/>
                      <a:gd name="T13" fmla="*/ 0 h 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0" h="30">
                        <a:moveTo>
                          <a:pt x="12" y="0"/>
                        </a:moveTo>
                        <a:lnTo>
                          <a:pt x="12" y="16"/>
                        </a:lnTo>
                        <a:lnTo>
                          <a:pt x="50" y="18"/>
                        </a:lnTo>
                        <a:lnTo>
                          <a:pt x="32" y="30"/>
                        </a:lnTo>
                        <a:lnTo>
                          <a:pt x="16" y="22"/>
                        </a:lnTo>
                        <a:lnTo>
                          <a:pt x="0" y="12"/>
                        </a:lnTo>
                        <a:lnTo>
                          <a:pt x="1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7" name="vMap : Canada (Offshore)">
                    <a:extLst>
                      <a:ext uri="{FF2B5EF4-FFF2-40B4-BE49-F238E27FC236}">
                        <a16:creationId xmlns:a16="http://schemas.microsoft.com/office/drawing/2014/main" xmlns="" id="{1F08260C-41B0-0549-BE5D-288BA7181FA1}"/>
                      </a:ext>
                    </a:extLst>
                  </p:cNvPr>
                  <p:cNvSpPr>
                    <a:spLocks noChangeAspect="1"/>
                  </p:cNvSpPr>
                  <p:nvPr>
                    <p:custDataLst>
                      <p:tags r:id="rId183"/>
                    </p:custDataLst>
                  </p:nvPr>
                </p:nvSpPr>
                <p:spPr bwMode="gray">
                  <a:xfrm>
                    <a:off x="2657748" y="1942950"/>
                    <a:ext cx="42356" cy="20374"/>
                  </a:xfrm>
                  <a:custGeom>
                    <a:avLst/>
                    <a:gdLst>
                      <a:gd name="T0" fmla="*/ 10 w 28"/>
                      <a:gd name="T1" fmla="*/ 3 h 12"/>
                      <a:gd name="T2" fmla="*/ 9 w 28"/>
                      <a:gd name="T3" fmla="*/ 0 h 12"/>
                      <a:gd name="T4" fmla="*/ 0 w 28"/>
                      <a:gd name="T5" fmla="*/ 0 h 12"/>
                      <a:gd name="T6" fmla="*/ 9 w 28"/>
                      <a:gd name="T7" fmla="*/ 5 h 12"/>
                      <a:gd name="T8" fmla="*/ 10 w 28"/>
                      <a:gd name="T9" fmla="*/ 3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2">
                        <a:moveTo>
                          <a:pt x="28" y="8"/>
                        </a:moveTo>
                        <a:lnTo>
                          <a:pt x="24" y="0"/>
                        </a:lnTo>
                        <a:lnTo>
                          <a:pt x="0" y="0"/>
                        </a:lnTo>
                        <a:lnTo>
                          <a:pt x="24" y="12"/>
                        </a:lnTo>
                        <a:lnTo>
                          <a:pt x="28" y="8"/>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8" name="vMap : Canada (Offshore)">
                    <a:extLst>
                      <a:ext uri="{FF2B5EF4-FFF2-40B4-BE49-F238E27FC236}">
                        <a16:creationId xmlns:a16="http://schemas.microsoft.com/office/drawing/2014/main" xmlns="" id="{7E9F9D82-62FC-ED41-AF3C-3E8F9758317B}"/>
                      </a:ext>
                    </a:extLst>
                  </p:cNvPr>
                  <p:cNvSpPr>
                    <a:spLocks noChangeAspect="1"/>
                  </p:cNvSpPr>
                  <p:nvPr>
                    <p:custDataLst>
                      <p:tags r:id="rId184"/>
                    </p:custDataLst>
                  </p:nvPr>
                </p:nvSpPr>
                <p:spPr bwMode="gray">
                  <a:xfrm>
                    <a:off x="3567140" y="1897108"/>
                    <a:ext cx="4983" cy="10187"/>
                  </a:xfrm>
                  <a:custGeom>
                    <a:avLst/>
                    <a:gdLst>
                      <a:gd name="T0" fmla="*/ 1 w 4"/>
                      <a:gd name="T1" fmla="*/ 0 h 8"/>
                      <a:gd name="T2" fmla="*/ 0 w 4"/>
                      <a:gd name="T3" fmla="*/ 2 h 8"/>
                      <a:gd name="T4" fmla="*/ 1 w 4"/>
                      <a:gd name="T5" fmla="*/ 0 h 8"/>
                      <a:gd name="T6" fmla="*/ 0 60000 65536"/>
                      <a:gd name="T7" fmla="*/ 0 60000 65536"/>
                      <a:gd name="T8" fmla="*/ 0 60000 65536"/>
                    </a:gdLst>
                    <a:ahLst/>
                    <a:cxnLst>
                      <a:cxn ang="T6">
                        <a:pos x="T0" y="T1"/>
                      </a:cxn>
                      <a:cxn ang="T7">
                        <a:pos x="T2" y="T3"/>
                      </a:cxn>
                      <a:cxn ang="T8">
                        <a:pos x="T4" y="T5"/>
                      </a:cxn>
                    </a:cxnLst>
                    <a:rect l="0" t="0" r="r" b="b"/>
                    <a:pathLst>
                      <a:path w="4" h="8">
                        <a:moveTo>
                          <a:pt x="4" y="0"/>
                        </a:moveTo>
                        <a:lnTo>
                          <a:pt x="0" y="8"/>
                        </a:lnTo>
                        <a:lnTo>
                          <a:pt x="4"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89" name="vMap : Canada (Offshore)">
                    <a:extLst>
                      <a:ext uri="{FF2B5EF4-FFF2-40B4-BE49-F238E27FC236}">
                        <a16:creationId xmlns:a16="http://schemas.microsoft.com/office/drawing/2014/main" xmlns="" id="{376468D1-B1DB-7442-9C26-ADDC456FB211}"/>
                      </a:ext>
                    </a:extLst>
                  </p:cNvPr>
                  <p:cNvSpPr>
                    <a:spLocks noChangeAspect="1"/>
                  </p:cNvSpPr>
                  <p:nvPr>
                    <p:custDataLst>
                      <p:tags r:id="rId185"/>
                    </p:custDataLst>
                  </p:nvPr>
                </p:nvSpPr>
                <p:spPr bwMode="gray">
                  <a:xfrm>
                    <a:off x="3116182" y="1273144"/>
                    <a:ext cx="37373" cy="30562"/>
                  </a:xfrm>
                  <a:custGeom>
                    <a:avLst/>
                    <a:gdLst>
                      <a:gd name="T0" fmla="*/ 5 w 26"/>
                      <a:gd name="T1" fmla="*/ 0 h 20"/>
                      <a:gd name="T2" fmla="*/ 0 w 26"/>
                      <a:gd name="T3" fmla="*/ 6 h 20"/>
                      <a:gd name="T4" fmla="*/ 1 w 26"/>
                      <a:gd name="T5" fmla="*/ 7 h 20"/>
                      <a:gd name="T6" fmla="*/ 9 w 26"/>
                      <a:gd name="T7" fmla="*/ 1 h 20"/>
                      <a:gd name="T8" fmla="*/ 5 w 26"/>
                      <a:gd name="T9" fmla="*/ 0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20">
                        <a:moveTo>
                          <a:pt x="16" y="0"/>
                        </a:moveTo>
                        <a:lnTo>
                          <a:pt x="0" y="16"/>
                        </a:lnTo>
                        <a:lnTo>
                          <a:pt x="4" y="20"/>
                        </a:lnTo>
                        <a:lnTo>
                          <a:pt x="26" y="4"/>
                        </a:lnTo>
                        <a:lnTo>
                          <a:pt x="16"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0" name="vMap : Canada (Offshore)">
                    <a:extLst>
                      <a:ext uri="{FF2B5EF4-FFF2-40B4-BE49-F238E27FC236}">
                        <a16:creationId xmlns:a16="http://schemas.microsoft.com/office/drawing/2014/main" xmlns="" id="{AE20BF7F-2D6A-0142-B955-CD51CAEFF2D6}"/>
                      </a:ext>
                    </a:extLst>
                  </p:cNvPr>
                  <p:cNvSpPr>
                    <a:spLocks noChangeAspect="1"/>
                  </p:cNvSpPr>
                  <p:nvPr>
                    <p:custDataLst>
                      <p:tags r:id="rId186"/>
                    </p:custDataLst>
                  </p:nvPr>
                </p:nvSpPr>
                <p:spPr bwMode="gray">
                  <a:xfrm>
                    <a:off x="3021505" y="1250222"/>
                    <a:ext cx="62288" cy="28015"/>
                  </a:xfrm>
                  <a:custGeom>
                    <a:avLst/>
                    <a:gdLst>
                      <a:gd name="T0" fmla="*/ 14 w 42"/>
                      <a:gd name="T1" fmla="*/ 0 h 18"/>
                      <a:gd name="T2" fmla="*/ 8 w 42"/>
                      <a:gd name="T3" fmla="*/ 2 h 18"/>
                      <a:gd name="T4" fmla="*/ 0 w 42"/>
                      <a:gd name="T5" fmla="*/ 7 h 18"/>
                      <a:gd name="T6" fmla="*/ 15 w 42"/>
                      <a:gd name="T7" fmla="*/ 2 h 18"/>
                      <a:gd name="T8" fmla="*/ 14 w 42"/>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18">
                        <a:moveTo>
                          <a:pt x="38" y="0"/>
                        </a:moveTo>
                        <a:lnTo>
                          <a:pt x="24" y="6"/>
                        </a:lnTo>
                        <a:lnTo>
                          <a:pt x="0" y="18"/>
                        </a:lnTo>
                        <a:lnTo>
                          <a:pt x="42" y="6"/>
                        </a:lnTo>
                        <a:lnTo>
                          <a:pt x="38"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1" name="vMap : Canada (Offshore)">
                    <a:extLst>
                      <a:ext uri="{FF2B5EF4-FFF2-40B4-BE49-F238E27FC236}">
                        <a16:creationId xmlns:a16="http://schemas.microsoft.com/office/drawing/2014/main" xmlns="" id="{D9946A77-EA08-BB4B-A0D0-4C0782D84EEA}"/>
                      </a:ext>
                    </a:extLst>
                  </p:cNvPr>
                  <p:cNvSpPr>
                    <a:spLocks noChangeAspect="1"/>
                  </p:cNvSpPr>
                  <p:nvPr>
                    <p:custDataLst>
                      <p:tags r:id="rId187"/>
                    </p:custDataLst>
                  </p:nvPr>
                </p:nvSpPr>
                <p:spPr bwMode="gray">
                  <a:xfrm>
                    <a:off x="2969183" y="1143258"/>
                    <a:ext cx="204302" cy="101871"/>
                  </a:xfrm>
                  <a:custGeom>
                    <a:avLst/>
                    <a:gdLst>
                      <a:gd name="T0" fmla="*/ 25 w 133"/>
                      <a:gd name="T1" fmla="*/ 0 h 66"/>
                      <a:gd name="T2" fmla="*/ 51 w 133"/>
                      <a:gd name="T3" fmla="*/ 18 h 66"/>
                      <a:gd name="T4" fmla="*/ 42 w 133"/>
                      <a:gd name="T5" fmla="*/ 21 h 66"/>
                      <a:gd name="T6" fmla="*/ 35 w 133"/>
                      <a:gd name="T7" fmla="*/ 18 h 66"/>
                      <a:gd name="T8" fmla="*/ 30 w 133"/>
                      <a:gd name="T9" fmla="*/ 15 h 66"/>
                      <a:gd name="T10" fmla="*/ 33 w 133"/>
                      <a:gd name="T11" fmla="*/ 14 h 66"/>
                      <a:gd name="T12" fmla="*/ 9 w 133"/>
                      <a:gd name="T13" fmla="*/ 24 h 66"/>
                      <a:gd name="T14" fmla="*/ 11 w 133"/>
                      <a:gd name="T15" fmla="*/ 17 h 66"/>
                      <a:gd name="T16" fmla="*/ 0 w 133"/>
                      <a:gd name="T17" fmla="*/ 20 h 66"/>
                      <a:gd name="T18" fmla="*/ 3 w 133"/>
                      <a:gd name="T19" fmla="*/ 17 h 66"/>
                      <a:gd name="T20" fmla="*/ 9 w 133"/>
                      <a:gd name="T21" fmla="*/ 14 h 66"/>
                      <a:gd name="T22" fmla="*/ 20 w 133"/>
                      <a:gd name="T23" fmla="*/ 3 h 66"/>
                      <a:gd name="T24" fmla="*/ 25 w 133"/>
                      <a:gd name="T25" fmla="*/ 0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3" h="66">
                        <a:moveTo>
                          <a:pt x="65" y="0"/>
                        </a:moveTo>
                        <a:lnTo>
                          <a:pt x="133" y="50"/>
                        </a:lnTo>
                        <a:lnTo>
                          <a:pt x="111" y="58"/>
                        </a:lnTo>
                        <a:lnTo>
                          <a:pt x="91" y="50"/>
                        </a:lnTo>
                        <a:lnTo>
                          <a:pt x="79" y="42"/>
                        </a:lnTo>
                        <a:lnTo>
                          <a:pt x="87" y="38"/>
                        </a:lnTo>
                        <a:lnTo>
                          <a:pt x="25" y="66"/>
                        </a:lnTo>
                        <a:lnTo>
                          <a:pt x="29" y="46"/>
                        </a:lnTo>
                        <a:lnTo>
                          <a:pt x="0" y="54"/>
                        </a:lnTo>
                        <a:lnTo>
                          <a:pt x="8" y="46"/>
                        </a:lnTo>
                        <a:lnTo>
                          <a:pt x="25" y="38"/>
                        </a:lnTo>
                        <a:lnTo>
                          <a:pt x="53" y="8"/>
                        </a:lnTo>
                        <a:lnTo>
                          <a:pt x="65"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2" name="vMap : Canada (Offshore)">
                    <a:extLst>
                      <a:ext uri="{FF2B5EF4-FFF2-40B4-BE49-F238E27FC236}">
                        <a16:creationId xmlns:a16="http://schemas.microsoft.com/office/drawing/2014/main" xmlns="" id="{0C8076FE-9E91-0A40-B8E3-4D15F44C5B57}"/>
                      </a:ext>
                    </a:extLst>
                  </p:cNvPr>
                  <p:cNvSpPr>
                    <a:spLocks noChangeAspect="1"/>
                  </p:cNvSpPr>
                  <p:nvPr>
                    <p:custDataLst>
                      <p:tags r:id="rId188"/>
                    </p:custDataLst>
                  </p:nvPr>
                </p:nvSpPr>
                <p:spPr bwMode="gray">
                  <a:xfrm>
                    <a:off x="2488327" y="730678"/>
                    <a:ext cx="226726" cy="56029"/>
                  </a:xfrm>
                  <a:custGeom>
                    <a:avLst/>
                    <a:gdLst>
                      <a:gd name="T0" fmla="*/ 26 w 147"/>
                      <a:gd name="T1" fmla="*/ 4 h 34"/>
                      <a:gd name="T2" fmla="*/ 56 w 147"/>
                      <a:gd name="T3" fmla="*/ 0 h 34"/>
                      <a:gd name="T4" fmla="*/ 56 w 147"/>
                      <a:gd name="T5" fmla="*/ 3 h 34"/>
                      <a:gd name="T6" fmla="*/ 50 w 147"/>
                      <a:gd name="T7" fmla="*/ 3 h 34"/>
                      <a:gd name="T8" fmla="*/ 48 w 147"/>
                      <a:gd name="T9" fmla="*/ 6 h 34"/>
                      <a:gd name="T10" fmla="*/ 37 w 147"/>
                      <a:gd name="T11" fmla="*/ 11 h 34"/>
                      <a:gd name="T12" fmla="*/ 32 w 147"/>
                      <a:gd name="T13" fmla="*/ 9 h 34"/>
                      <a:gd name="T14" fmla="*/ 37 w 147"/>
                      <a:gd name="T15" fmla="*/ 6 h 34"/>
                      <a:gd name="T16" fmla="*/ 33 w 147"/>
                      <a:gd name="T17" fmla="*/ 6 h 34"/>
                      <a:gd name="T18" fmla="*/ 26 w 147"/>
                      <a:gd name="T19" fmla="*/ 9 h 34"/>
                      <a:gd name="T20" fmla="*/ 28 w 147"/>
                      <a:gd name="T21" fmla="*/ 11 h 34"/>
                      <a:gd name="T22" fmla="*/ 22 w 147"/>
                      <a:gd name="T23" fmla="*/ 12 h 34"/>
                      <a:gd name="T24" fmla="*/ 20 w 147"/>
                      <a:gd name="T25" fmla="*/ 11 h 34"/>
                      <a:gd name="T26" fmla="*/ 19 w 147"/>
                      <a:gd name="T27" fmla="*/ 11 h 34"/>
                      <a:gd name="T28" fmla="*/ 16 w 147"/>
                      <a:gd name="T29" fmla="*/ 12 h 34"/>
                      <a:gd name="T30" fmla="*/ 17 w 147"/>
                      <a:gd name="T31" fmla="*/ 14 h 34"/>
                      <a:gd name="T32" fmla="*/ 10 w 147"/>
                      <a:gd name="T33" fmla="*/ 14 h 34"/>
                      <a:gd name="T34" fmla="*/ 12 w 147"/>
                      <a:gd name="T35" fmla="*/ 11 h 34"/>
                      <a:gd name="T36" fmla="*/ 6 w 147"/>
                      <a:gd name="T37" fmla="*/ 14 h 34"/>
                      <a:gd name="T38" fmla="*/ 0 w 147"/>
                      <a:gd name="T39" fmla="*/ 11 h 34"/>
                      <a:gd name="T40" fmla="*/ 26 w 147"/>
                      <a:gd name="T41" fmla="*/ 4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7" h="34">
                        <a:moveTo>
                          <a:pt x="68" y="10"/>
                        </a:moveTo>
                        <a:lnTo>
                          <a:pt x="145" y="0"/>
                        </a:lnTo>
                        <a:lnTo>
                          <a:pt x="147" y="6"/>
                        </a:lnTo>
                        <a:lnTo>
                          <a:pt x="129" y="6"/>
                        </a:lnTo>
                        <a:lnTo>
                          <a:pt x="125" y="14"/>
                        </a:lnTo>
                        <a:lnTo>
                          <a:pt x="95" y="26"/>
                        </a:lnTo>
                        <a:lnTo>
                          <a:pt x="84" y="22"/>
                        </a:lnTo>
                        <a:lnTo>
                          <a:pt x="97" y="14"/>
                        </a:lnTo>
                        <a:lnTo>
                          <a:pt x="88" y="14"/>
                        </a:lnTo>
                        <a:lnTo>
                          <a:pt x="68" y="22"/>
                        </a:lnTo>
                        <a:lnTo>
                          <a:pt x="72" y="26"/>
                        </a:lnTo>
                        <a:lnTo>
                          <a:pt x="56" y="30"/>
                        </a:lnTo>
                        <a:lnTo>
                          <a:pt x="52" y="26"/>
                        </a:lnTo>
                        <a:lnTo>
                          <a:pt x="50" y="26"/>
                        </a:lnTo>
                        <a:lnTo>
                          <a:pt x="42" y="30"/>
                        </a:lnTo>
                        <a:lnTo>
                          <a:pt x="46" y="34"/>
                        </a:lnTo>
                        <a:lnTo>
                          <a:pt x="26" y="34"/>
                        </a:lnTo>
                        <a:lnTo>
                          <a:pt x="30" y="26"/>
                        </a:lnTo>
                        <a:lnTo>
                          <a:pt x="14" y="34"/>
                        </a:lnTo>
                        <a:lnTo>
                          <a:pt x="0" y="26"/>
                        </a:lnTo>
                        <a:lnTo>
                          <a:pt x="68" y="1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3" name="vMap : Canada (Offshore)">
                    <a:extLst>
                      <a:ext uri="{FF2B5EF4-FFF2-40B4-BE49-F238E27FC236}">
                        <a16:creationId xmlns:a16="http://schemas.microsoft.com/office/drawing/2014/main" xmlns="" id="{7587FA5C-A185-8649-ABD9-5603B339EBBF}"/>
                      </a:ext>
                    </a:extLst>
                  </p:cNvPr>
                  <p:cNvSpPr>
                    <a:spLocks noChangeAspect="1"/>
                  </p:cNvSpPr>
                  <p:nvPr>
                    <p:custDataLst>
                      <p:tags r:id="rId189"/>
                    </p:custDataLst>
                  </p:nvPr>
                </p:nvSpPr>
                <p:spPr bwMode="gray">
                  <a:xfrm>
                    <a:off x="2568055" y="756146"/>
                    <a:ext cx="328876" cy="76404"/>
                  </a:xfrm>
                  <a:custGeom>
                    <a:avLst/>
                    <a:gdLst>
                      <a:gd name="T0" fmla="*/ 14 w 215"/>
                      <a:gd name="T1" fmla="*/ 7 h 50"/>
                      <a:gd name="T2" fmla="*/ 17 w 215"/>
                      <a:gd name="T3" fmla="*/ 4 h 50"/>
                      <a:gd name="T4" fmla="*/ 23 w 215"/>
                      <a:gd name="T5" fmla="*/ 4 h 50"/>
                      <a:gd name="T6" fmla="*/ 32 w 215"/>
                      <a:gd name="T7" fmla="*/ 1 h 50"/>
                      <a:gd name="T8" fmla="*/ 42 w 215"/>
                      <a:gd name="T9" fmla="*/ 4 h 50"/>
                      <a:gd name="T10" fmla="*/ 42 w 215"/>
                      <a:gd name="T11" fmla="*/ 10 h 50"/>
                      <a:gd name="T12" fmla="*/ 56 w 215"/>
                      <a:gd name="T13" fmla="*/ 10 h 50"/>
                      <a:gd name="T14" fmla="*/ 55 w 215"/>
                      <a:gd name="T15" fmla="*/ 7 h 50"/>
                      <a:gd name="T16" fmla="*/ 61 w 215"/>
                      <a:gd name="T17" fmla="*/ 6 h 50"/>
                      <a:gd name="T18" fmla="*/ 56 w 215"/>
                      <a:gd name="T19" fmla="*/ 4 h 50"/>
                      <a:gd name="T20" fmla="*/ 61 w 215"/>
                      <a:gd name="T21" fmla="*/ 3 h 50"/>
                      <a:gd name="T22" fmla="*/ 72 w 215"/>
                      <a:gd name="T23" fmla="*/ 0 h 50"/>
                      <a:gd name="T24" fmla="*/ 71 w 215"/>
                      <a:gd name="T25" fmla="*/ 4 h 50"/>
                      <a:gd name="T26" fmla="*/ 65 w 215"/>
                      <a:gd name="T27" fmla="*/ 6 h 50"/>
                      <a:gd name="T28" fmla="*/ 71 w 215"/>
                      <a:gd name="T29" fmla="*/ 6 h 50"/>
                      <a:gd name="T30" fmla="*/ 67 w 215"/>
                      <a:gd name="T31" fmla="*/ 7 h 50"/>
                      <a:gd name="T32" fmla="*/ 81 w 215"/>
                      <a:gd name="T33" fmla="*/ 7 h 50"/>
                      <a:gd name="T34" fmla="*/ 80 w 215"/>
                      <a:gd name="T35" fmla="*/ 8 h 50"/>
                      <a:gd name="T36" fmla="*/ 70 w 215"/>
                      <a:gd name="T37" fmla="*/ 14 h 50"/>
                      <a:gd name="T38" fmla="*/ 53 w 215"/>
                      <a:gd name="T39" fmla="*/ 13 h 50"/>
                      <a:gd name="T40" fmla="*/ 21 w 215"/>
                      <a:gd name="T41" fmla="*/ 18 h 50"/>
                      <a:gd name="T42" fmla="*/ 15 w 215"/>
                      <a:gd name="T43" fmla="*/ 15 h 50"/>
                      <a:gd name="T44" fmla="*/ 20 w 215"/>
                      <a:gd name="T45" fmla="*/ 14 h 50"/>
                      <a:gd name="T46" fmla="*/ 29 w 215"/>
                      <a:gd name="T47" fmla="*/ 10 h 50"/>
                      <a:gd name="T48" fmla="*/ 25 w 215"/>
                      <a:gd name="T49" fmla="*/ 11 h 50"/>
                      <a:gd name="T50" fmla="*/ 10 w 215"/>
                      <a:gd name="T51" fmla="*/ 14 h 50"/>
                      <a:gd name="T52" fmla="*/ 0 w 215"/>
                      <a:gd name="T53" fmla="*/ 11 h 50"/>
                      <a:gd name="T54" fmla="*/ 20 w 215"/>
                      <a:gd name="T55" fmla="*/ 8 h 50"/>
                      <a:gd name="T56" fmla="*/ 7 w 215"/>
                      <a:gd name="T57" fmla="*/ 8 h 50"/>
                      <a:gd name="T58" fmla="*/ 14 w 215"/>
                      <a:gd name="T59" fmla="*/ 7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15" h="50">
                        <a:moveTo>
                          <a:pt x="36" y="20"/>
                        </a:moveTo>
                        <a:lnTo>
                          <a:pt x="45" y="12"/>
                        </a:lnTo>
                        <a:lnTo>
                          <a:pt x="61" y="12"/>
                        </a:lnTo>
                        <a:lnTo>
                          <a:pt x="85" y="4"/>
                        </a:lnTo>
                        <a:lnTo>
                          <a:pt x="111" y="12"/>
                        </a:lnTo>
                        <a:lnTo>
                          <a:pt x="111" y="28"/>
                        </a:lnTo>
                        <a:lnTo>
                          <a:pt x="149" y="28"/>
                        </a:lnTo>
                        <a:lnTo>
                          <a:pt x="145" y="20"/>
                        </a:lnTo>
                        <a:lnTo>
                          <a:pt x="161" y="16"/>
                        </a:lnTo>
                        <a:lnTo>
                          <a:pt x="149" y="12"/>
                        </a:lnTo>
                        <a:lnTo>
                          <a:pt x="161" y="8"/>
                        </a:lnTo>
                        <a:lnTo>
                          <a:pt x="191" y="0"/>
                        </a:lnTo>
                        <a:lnTo>
                          <a:pt x="189" y="12"/>
                        </a:lnTo>
                        <a:lnTo>
                          <a:pt x="173" y="16"/>
                        </a:lnTo>
                        <a:lnTo>
                          <a:pt x="189" y="16"/>
                        </a:lnTo>
                        <a:lnTo>
                          <a:pt x="177" y="20"/>
                        </a:lnTo>
                        <a:lnTo>
                          <a:pt x="215" y="20"/>
                        </a:lnTo>
                        <a:lnTo>
                          <a:pt x="211" y="24"/>
                        </a:lnTo>
                        <a:lnTo>
                          <a:pt x="185" y="40"/>
                        </a:lnTo>
                        <a:lnTo>
                          <a:pt x="141" y="36"/>
                        </a:lnTo>
                        <a:lnTo>
                          <a:pt x="57" y="50"/>
                        </a:lnTo>
                        <a:lnTo>
                          <a:pt x="40" y="42"/>
                        </a:lnTo>
                        <a:lnTo>
                          <a:pt x="53" y="40"/>
                        </a:lnTo>
                        <a:lnTo>
                          <a:pt x="77" y="28"/>
                        </a:lnTo>
                        <a:lnTo>
                          <a:pt x="65" y="32"/>
                        </a:lnTo>
                        <a:lnTo>
                          <a:pt x="28" y="40"/>
                        </a:lnTo>
                        <a:lnTo>
                          <a:pt x="0" y="32"/>
                        </a:lnTo>
                        <a:lnTo>
                          <a:pt x="53" y="24"/>
                        </a:lnTo>
                        <a:lnTo>
                          <a:pt x="20" y="24"/>
                        </a:lnTo>
                        <a:lnTo>
                          <a:pt x="36" y="2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4" name="vMap : Canada (Offshore)">
                    <a:extLst>
                      <a:ext uri="{FF2B5EF4-FFF2-40B4-BE49-F238E27FC236}">
                        <a16:creationId xmlns:a16="http://schemas.microsoft.com/office/drawing/2014/main" xmlns="" id="{19E04E5B-F53B-A04C-A3B5-BE2674FF33F8}"/>
                      </a:ext>
                    </a:extLst>
                  </p:cNvPr>
                  <p:cNvSpPr>
                    <a:spLocks noChangeAspect="1"/>
                  </p:cNvSpPr>
                  <p:nvPr>
                    <p:custDataLst>
                      <p:tags r:id="rId190"/>
                    </p:custDataLst>
                  </p:nvPr>
                </p:nvSpPr>
                <p:spPr bwMode="gray">
                  <a:xfrm>
                    <a:off x="2787306" y="992997"/>
                    <a:ext cx="117101" cy="45842"/>
                  </a:xfrm>
                  <a:custGeom>
                    <a:avLst/>
                    <a:gdLst>
                      <a:gd name="T0" fmla="*/ 22 w 78"/>
                      <a:gd name="T1" fmla="*/ 3 h 30"/>
                      <a:gd name="T2" fmla="*/ 18 w 78"/>
                      <a:gd name="T3" fmla="*/ 0 h 30"/>
                      <a:gd name="T4" fmla="*/ 0 w 78"/>
                      <a:gd name="T5" fmla="*/ 8 h 30"/>
                      <a:gd name="T6" fmla="*/ 18 w 78"/>
                      <a:gd name="T7" fmla="*/ 11 h 30"/>
                      <a:gd name="T8" fmla="*/ 28 w 78"/>
                      <a:gd name="T9" fmla="*/ 8 h 30"/>
                      <a:gd name="T10" fmla="*/ 22 w 78"/>
                      <a:gd name="T11" fmla="*/ 3 h 3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8" h="30">
                        <a:moveTo>
                          <a:pt x="62" y="8"/>
                        </a:moveTo>
                        <a:lnTo>
                          <a:pt x="50" y="0"/>
                        </a:lnTo>
                        <a:lnTo>
                          <a:pt x="0" y="24"/>
                        </a:lnTo>
                        <a:lnTo>
                          <a:pt x="50" y="30"/>
                        </a:lnTo>
                        <a:lnTo>
                          <a:pt x="78" y="24"/>
                        </a:lnTo>
                        <a:lnTo>
                          <a:pt x="62" y="8"/>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5" name="vMap : Canada (Offshore)">
                    <a:extLst>
                      <a:ext uri="{FF2B5EF4-FFF2-40B4-BE49-F238E27FC236}">
                        <a16:creationId xmlns:a16="http://schemas.microsoft.com/office/drawing/2014/main" xmlns="" id="{0A794747-E196-4544-8454-389587FD4B91}"/>
                      </a:ext>
                    </a:extLst>
                  </p:cNvPr>
                  <p:cNvSpPr>
                    <a:spLocks noChangeAspect="1"/>
                  </p:cNvSpPr>
                  <p:nvPr>
                    <p:custDataLst>
                      <p:tags r:id="rId191"/>
                    </p:custDataLst>
                  </p:nvPr>
                </p:nvSpPr>
                <p:spPr bwMode="gray">
                  <a:xfrm>
                    <a:off x="2764881" y="863110"/>
                    <a:ext cx="64779" cy="22922"/>
                  </a:xfrm>
                  <a:custGeom>
                    <a:avLst/>
                    <a:gdLst>
                      <a:gd name="T0" fmla="*/ 9 w 42"/>
                      <a:gd name="T1" fmla="*/ 4 h 16"/>
                      <a:gd name="T2" fmla="*/ 16 w 42"/>
                      <a:gd name="T3" fmla="*/ 0 h 16"/>
                      <a:gd name="T4" fmla="*/ 0 w 42"/>
                      <a:gd name="T5" fmla="*/ 1 h 16"/>
                      <a:gd name="T6" fmla="*/ 4 w 42"/>
                      <a:gd name="T7" fmla="*/ 5 h 16"/>
                      <a:gd name="T8" fmla="*/ 9 w 42"/>
                      <a:gd name="T9" fmla="*/ 4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16">
                        <a:moveTo>
                          <a:pt x="22" y="12"/>
                        </a:moveTo>
                        <a:lnTo>
                          <a:pt x="42" y="0"/>
                        </a:lnTo>
                        <a:lnTo>
                          <a:pt x="0" y="4"/>
                        </a:lnTo>
                        <a:lnTo>
                          <a:pt x="12" y="16"/>
                        </a:lnTo>
                        <a:lnTo>
                          <a:pt x="22" y="12"/>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6" name="vMap : Canada (Offshore)">
                    <a:extLst>
                      <a:ext uri="{FF2B5EF4-FFF2-40B4-BE49-F238E27FC236}">
                        <a16:creationId xmlns:a16="http://schemas.microsoft.com/office/drawing/2014/main" xmlns="" id="{8B7ADCA9-60C0-7142-AC69-EE0DCD2A9B05}"/>
                      </a:ext>
                    </a:extLst>
                  </p:cNvPr>
                  <p:cNvSpPr>
                    <a:spLocks noChangeAspect="1"/>
                  </p:cNvSpPr>
                  <p:nvPr>
                    <p:custDataLst>
                      <p:tags r:id="rId192"/>
                    </p:custDataLst>
                  </p:nvPr>
                </p:nvSpPr>
                <p:spPr bwMode="gray">
                  <a:xfrm>
                    <a:off x="2209281" y="827456"/>
                    <a:ext cx="336352" cy="124793"/>
                  </a:xfrm>
                  <a:custGeom>
                    <a:avLst/>
                    <a:gdLst>
                      <a:gd name="T0" fmla="*/ 33 w 223"/>
                      <a:gd name="T1" fmla="*/ 4 h 82"/>
                      <a:gd name="T2" fmla="*/ 34 w 223"/>
                      <a:gd name="T3" fmla="*/ 6 h 82"/>
                      <a:gd name="T4" fmla="*/ 18 w 223"/>
                      <a:gd name="T5" fmla="*/ 11 h 82"/>
                      <a:gd name="T6" fmla="*/ 18 w 223"/>
                      <a:gd name="T7" fmla="*/ 13 h 82"/>
                      <a:gd name="T8" fmla="*/ 16 w 223"/>
                      <a:gd name="T9" fmla="*/ 14 h 82"/>
                      <a:gd name="T10" fmla="*/ 13 w 223"/>
                      <a:gd name="T11" fmla="*/ 16 h 82"/>
                      <a:gd name="T12" fmla="*/ 0 w 223"/>
                      <a:gd name="T13" fmla="*/ 21 h 82"/>
                      <a:gd name="T14" fmla="*/ 9 w 223"/>
                      <a:gd name="T15" fmla="*/ 23 h 82"/>
                      <a:gd name="T16" fmla="*/ 9 w 223"/>
                      <a:gd name="T17" fmla="*/ 29 h 82"/>
                      <a:gd name="T18" fmla="*/ 28 w 223"/>
                      <a:gd name="T19" fmla="*/ 25 h 82"/>
                      <a:gd name="T20" fmla="*/ 39 w 223"/>
                      <a:gd name="T21" fmla="*/ 18 h 82"/>
                      <a:gd name="T22" fmla="*/ 51 w 223"/>
                      <a:gd name="T23" fmla="*/ 15 h 82"/>
                      <a:gd name="T24" fmla="*/ 82 w 223"/>
                      <a:gd name="T25" fmla="*/ 8 h 82"/>
                      <a:gd name="T26" fmla="*/ 77 w 223"/>
                      <a:gd name="T27" fmla="*/ 3 h 82"/>
                      <a:gd name="T28" fmla="*/ 65 w 223"/>
                      <a:gd name="T29" fmla="*/ 4 h 82"/>
                      <a:gd name="T30" fmla="*/ 56 w 223"/>
                      <a:gd name="T31" fmla="*/ 0 h 82"/>
                      <a:gd name="T32" fmla="*/ 35 w 223"/>
                      <a:gd name="T33" fmla="*/ 1 h 82"/>
                      <a:gd name="T34" fmla="*/ 33 w 223"/>
                      <a:gd name="T35" fmla="*/ 4 h 8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23" h="82">
                        <a:moveTo>
                          <a:pt x="89" y="12"/>
                        </a:moveTo>
                        <a:lnTo>
                          <a:pt x="93" y="16"/>
                        </a:lnTo>
                        <a:lnTo>
                          <a:pt x="49" y="32"/>
                        </a:lnTo>
                        <a:lnTo>
                          <a:pt x="49" y="36"/>
                        </a:lnTo>
                        <a:lnTo>
                          <a:pt x="43" y="40"/>
                        </a:lnTo>
                        <a:lnTo>
                          <a:pt x="35" y="46"/>
                        </a:lnTo>
                        <a:lnTo>
                          <a:pt x="0" y="58"/>
                        </a:lnTo>
                        <a:lnTo>
                          <a:pt x="24" y="66"/>
                        </a:lnTo>
                        <a:lnTo>
                          <a:pt x="24" y="82"/>
                        </a:lnTo>
                        <a:lnTo>
                          <a:pt x="77" y="70"/>
                        </a:lnTo>
                        <a:lnTo>
                          <a:pt x="107" y="50"/>
                        </a:lnTo>
                        <a:lnTo>
                          <a:pt x="139" y="42"/>
                        </a:lnTo>
                        <a:lnTo>
                          <a:pt x="223" y="24"/>
                        </a:lnTo>
                        <a:lnTo>
                          <a:pt x="211" y="8"/>
                        </a:lnTo>
                        <a:lnTo>
                          <a:pt x="177" y="12"/>
                        </a:lnTo>
                        <a:lnTo>
                          <a:pt x="153" y="0"/>
                        </a:lnTo>
                        <a:lnTo>
                          <a:pt x="95" y="4"/>
                        </a:lnTo>
                        <a:lnTo>
                          <a:pt x="89" y="12"/>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7" name="vMap : Canada (Offshore)">
                    <a:extLst>
                      <a:ext uri="{FF2B5EF4-FFF2-40B4-BE49-F238E27FC236}">
                        <a16:creationId xmlns:a16="http://schemas.microsoft.com/office/drawing/2014/main" xmlns="" id="{34E4D415-C5C1-8041-8C83-AB533DADD7C4}"/>
                      </a:ext>
                    </a:extLst>
                  </p:cNvPr>
                  <p:cNvSpPr>
                    <a:spLocks noChangeAspect="1"/>
                  </p:cNvSpPr>
                  <p:nvPr>
                    <p:custDataLst>
                      <p:tags r:id="rId193"/>
                    </p:custDataLst>
                  </p:nvPr>
                </p:nvSpPr>
                <p:spPr bwMode="gray">
                  <a:xfrm>
                    <a:off x="2545631" y="781614"/>
                    <a:ext cx="67271" cy="17827"/>
                  </a:xfrm>
                  <a:custGeom>
                    <a:avLst/>
                    <a:gdLst>
                      <a:gd name="T0" fmla="*/ 14 w 42"/>
                      <a:gd name="T1" fmla="*/ 0 h 12"/>
                      <a:gd name="T2" fmla="*/ 17 w 42"/>
                      <a:gd name="T3" fmla="*/ 0 h 12"/>
                      <a:gd name="T4" fmla="*/ 5 w 42"/>
                      <a:gd name="T5" fmla="*/ 4 h 12"/>
                      <a:gd name="T6" fmla="*/ 0 w 42"/>
                      <a:gd name="T7" fmla="*/ 3 h 12"/>
                      <a:gd name="T8" fmla="*/ 14 w 42"/>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12">
                        <a:moveTo>
                          <a:pt x="34" y="0"/>
                        </a:moveTo>
                        <a:lnTo>
                          <a:pt x="42" y="0"/>
                        </a:lnTo>
                        <a:lnTo>
                          <a:pt x="12" y="12"/>
                        </a:lnTo>
                        <a:lnTo>
                          <a:pt x="0" y="8"/>
                        </a:lnTo>
                        <a:lnTo>
                          <a:pt x="34"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8" name="vMap : Canada (Offshore)">
                    <a:extLst>
                      <a:ext uri="{FF2B5EF4-FFF2-40B4-BE49-F238E27FC236}">
                        <a16:creationId xmlns:a16="http://schemas.microsoft.com/office/drawing/2014/main" xmlns="" id="{D4FB2383-E65C-D244-BCB6-5A1E949BABD9}"/>
                      </a:ext>
                    </a:extLst>
                  </p:cNvPr>
                  <p:cNvSpPr>
                    <a:spLocks noChangeAspect="1"/>
                  </p:cNvSpPr>
                  <p:nvPr>
                    <p:custDataLst>
                      <p:tags r:id="rId194"/>
                    </p:custDataLst>
                  </p:nvPr>
                </p:nvSpPr>
                <p:spPr bwMode="gray">
                  <a:xfrm>
                    <a:off x="3126148" y="858017"/>
                    <a:ext cx="650279" cy="435501"/>
                  </a:xfrm>
                  <a:custGeom>
                    <a:avLst/>
                    <a:gdLst>
                      <a:gd name="T0" fmla="*/ 101 w 424"/>
                      <a:gd name="T1" fmla="*/ 105 h 279"/>
                      <a:gd name="T2" fmla="*/ 82 w 424"/>
                      <a:gd name="T3" fmla="*/ 97 h 279"/>
                      <a:gd name="T4" fmla="*/ 74 w 424"/>
                      <a:gd name="T5" fmla="*/ 89 h 279"/>
                      <a:gd name="T6" fmla="*/ 58 w 424"/>
                      <a:gd name="T7" fmla="*/ 78 h 279"/>
                      <a:gd name="T8" fmla="*/ 48 w 424"/>
                      <a:gd name="T9" fmla="*/ 80 h 279"/>
                      <a:gd name="T10" fmla="*/ 42 w 424"/>
                      <a:gd name="T11" fmla="*/ 72 h 279"/>
                      <a:gd name="T12" fmla="*/ 88 w 424"/>
                      <a:gd name="T13" fmla="*/ 56 h 279"/>
                      <a:gd name="T14" fmla="*/ 86 w 424"/>
                      <a:gd name="T15" fmla="*/ 40 h 279"/>
                      <a:gd name="T16" fmla="*/ 78 w 424"/>
                      <a:gd name="T17" fmla="*/ 37 h 279"/>
                      <a:gd name="T18" fmla="*/ 65 w 424"/>
                      <a:gd name="T19" fmla="*/ 29 h 279"/>
                      <a:gd name="T20" fmla="*/ 45 w 424"/>
                      <a:gd name="T21" fmla="*/ 30 h 279"/>
                      <a:gd name="T22" fmla="*/ 14 w 424"/>
                      <a:gd name="T23" fmla="*/ 27 h 279"/>
                      <a:gd name="T24" fmla="*/ 14 w 424"/>
                      <a:gd name="T25" fmla="*/ 23 h 279"/>
                      <a:gd name="T26" fmla="*/ 9 w 424"/>
                      <a:gd name="T27" fmla="*/ 13 h 279"/>
                      <a:gd name="T28" fmla="*/ 20 w 424"/>
                      <a:gd name="T29" fmla="*/ 4 h 279"/>
                      <a:gd name="T30" fmla="*/ 32 w 424"/>
                      <a:gd name="T31" fmla="*/ 8 h 279"/>
                      <a:gd name="T32" fmla="*/ 32 w 424"/>
                      <a:gd name="T33" fmla="*/ 20 h 279"/>
                      <a:gd name="T34" fmla="*/ 36 w 424"/>
                      <a:gd name="T35" fmla="*/ 17 h 279"/>
                      <a:gd name="T36" fmla="*/ 38 w 424"/>
                      <a:gd name="T37" fmla="*/ 11 h 279"/>
                      <a:gd name="T38" fmla="*/ 42 w 424"/>
                      <a:gd name="T39" fmla="*/ 6 h 279"/>
                      <a:gd name="T40" fmla="*/ 73 w 424"/>
                      <a:gd name="T41" fmla="*/ 0 h 279"/>
                      <a:gd name="T42" fmla="*/ 73 w 424"/>
                      <a:gd name="T43" fmla="*/ 8 h 279"/>
                      <a:gd name="T44" fmla="*/ 78 w 424"/>
                      <a:gd name="T45" fmla="*/ 13 h 279"/>
                      <a:gd name="T46" fmla="*/ 104 w 424"/>
                      <a:gd name="T47" fmla="*/ 11 h 279"/>
                      <a:gd name="T48" fmla="*/ 100 w 424"/>
                      <a:gd name="T49" fmla="*/ 17 h 279"/>
                      <a:gd name="T50" fmla="*/ 109 w 424"/>
                      <a:gd name="T51" fmla="*/ 20 h 279"/>
                      <a:gd name="T52" fmla="*/ 122 w 424"/>
                      <a:gd name="T53" fmla="*/ 19 h 279"/>
                      <a:gd name="T54" fmla="*/ 125 w 424"/>
                      <a:gd name="T55" fmla="*/ 23 h 279"/>
                      <a:gd name="T56" fmla="*/ 123 w 424"/>
                      <a:gd name="T57" fmla="*/ 27 h 279"/>
                      <a:gd name="T58" fmla="*/ 132 w 424"/>
                      <a:gd name="T59" fmla="*/ 30 h 279"/>
                      <a:gd name="T60" fmla="*/ 140 w 424"/>
                      <a:gd name="T61" fmla="*/ 33 h 279"/>
                      <a:gd name="T62" fmla="*/ 126 w 424"/>
                      <a:gd name="T63" fmla="*/ 39 h 279"/>
                      <a:gd name="T64" fmla="*/ 129 w 424"/>
                      <a:gd name="T65" fmla="*/ 44 h 279"/>
                      <a:gd name="T66" fmla="*/ 132 w 424"/>
                      <a:gd name="T67" fmla="*/ 47 h 279"/>
                      <a:gd name="T68" fmla="*/ 140 w 424"/>
                      <a:gd name="T69" fmla="*/ 50 h 279"/>
                      <a:gd name="T70" fmla="*/ 152 w 424"/>
                      <a:gd name="T71" fmla="*/ 56 h 279"/>
                      <a:gd name="T72" fmla="*/ 161 w 424"/>
                      <a:gd name="T73" fmla="*/ 61 h 279"/>
                      <a:gd name="T74" fmla="*/ 152 w 424"/>
                      <a:gd name="T75" fmla="*/ 67 h 279"/>
                      <a:gd name="T76" fmla="*/ 140 w 424"/>
                      <a:gd name="T77" fmla="*/ 74 h 279"/>
                      <a:gd name="T78" fmla="*/ 112 w 424"/>
                      <a:gd name="T79" fmla="*/ 63 h 279"/>
                      <a:gd name="T80" fmla="*/ 109 w 424"/>
                      <a:gd name="T81" fmla="*/ 70 h 279"/>
                      <a:gd name="T82" fmla="*/ 123 w 424"/>
                      <a:gd name="T83" fmla="*/ 80 h 279"/>
                      <a:gd name="T84" fmla="*/ 120 w 424"/>
                      <a:gd name="T85" fmla="*/ 92 h 279"/>
                      <a:gd name="T86" fmla="*/ 114 w 424"/>
                      <a:gd name="T87" fmla="*/ 95 h 279"/>
                      <a:gd name="T88" fmla="*/ 103 w 424"/>
                      <a:gd name="T89" fmla="*/ 95 h 2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24" h="279">
                        <a:moveTo>
                          <a:pt x="251" y="253"/>
                        </a:moveTo>
                        <a:lnTo>
                          <a:pt x="271" y="267"/>
                        </a:lnTo>
                        <a:lnTo>
                          <a:pt x="267" y="279"/>
                        </a:lnTo>
                        <a:lnTo>
                          <a:pt x="259" y="279"/>
                        </a:lnTo>
                        <a:lnTo>
                          <a:pt x="217" y="267"/>
                        </a:lnTo>
                        <a:lnTo>
                          <a:pt x="217" y="257"/>
                        </a:lnTo>
                        <a:lnTo>
                          <a:pt x="183" y="253"/>
                        </a:lnTo>
                        <a:lnTo>
                          <a:pt x="179" y="237"/>
                        </a:lnTo>
                        <a:lnTo>
                          <a:pt x="195" y="237"/>
                        </a:lnTo>
                        <a:lnTo>
                          <a:pt x="167" y="229"/>
                        </a:lnTo>
                        <a:lnTo>
                          <a:pt x="167" y="213"/>
                        </a:lnTo>
                        <a:lnTo>
                          <a:pt x="154" y="207"/>
                        </a:lnTo>
                        <a:lnTo>
                          <a:pt x="146" y="207"/>
                        </a:lnTo>
                        <a:lnTo>
                          <a:pt x="142" y="217"/>
                        </a:lnTo>
                        <a:lnTo>
                          <a:pt x="126" y="213"/>
                        </a:lnTo>
                        <a:lnTo>
                          <a:pt x="104" y="221"/>
                        </a:lnTo>
                        <a:lnTo>
                          <a:pt x="84" y="209"/>
                        </a:lnTo>
                        <a:lnTo>
                          <a:pt x="110" y="191"/>
                        </a:lnTo>
                        <a:lnTo>
                          <a:pt x="179" y="191"/>
                        </a:lnTo>
                        <a:lnTo>
                          <a:pt x="175" y="175"/>
                        </a:lnTo>
                        <a:lnTo>
                          <a:pt x="233" y="150"/>
                        </a:lnTo>
                        <a:lnTo>
                          <a:pt x="229" y="116"/>
                        </a:lnTo>
                        <a:lnTo>
                          <a:pt x="213" y="112"/>
                        </a:lnTo>
                        <a:lnTo>
                          <a:pt x="225" y="108"/>
                        </a:lnTo>
                        <a:lnTo>
                          <a:pt x="179" y="116"/>
                        </a:lnTo>
                        <a:lnTo>
                          <a:pt x="187" y="108"/>
                        </a:lnTo>
                        <a:lnTo>
                          <a:pt x="205" y="100"/>
                        </a:lnTo>
                        <a:lnTo>
                          <a:pt x="183" y="88"/>
                        </a:lnTo>
                        <a:lnTo>
                          <a:pt x="191" y="80"/>
                        </a:lnTo>
                        <a:lnTo>
                          <a:pt x="171" y="76"/>
                        </a:lnTo>
                        <a:lnTo>
                          <a:pt x="160" y="76"/>
                        </a:lnTo>
                        <a:lnTo>
                          <a:pt x="164" y="88"/>
                        </a:lnTo>
                        <a:lnTo>
                          <a:pt x="118" y="80"/>
                        </a:lnTo>
                        <a:lnTo>
                          <a:pt x="122" y="92"/>
                        </a:lnTo>
                        <a:lnTo>
                          <a:pt x="42" y="84"/>
                        </a:lnTo>
                        <a:lnTo>
                          <a:pt x="38" y="72"/>
                        </a:lnTo>
                        <a:lnTo>
                          <a:pt x="8" y="76"/>
                        </a:lnTo>
                        <a:lnTo>
                          <a:pt x="0" y="66"/>
                        </a:lnTo>
                        <a:lnTo>
                          <a:pt x="38" y="62"/>
                        </a:lnTo>
                        <a:lnTo>
                          <a:pt x="0" y="54"/>
                        </a:lnTo>
                        <a:lnTo>
                          <a:pt x="12" y="42"/>
                        </a:lnTo>
                        <a:lnTo>
                          <a:pt x="22" y="34"/>
                        </a:lnTo>
                        <a:lnTo>
                          <a:pt x="22" y="30"/>
                        </a:lnTo>
                        <a:lnTo>
                          <a:pt x="42" y="22"/>
                        </a:lnTo>
                        <a:lnTo>
                          <a:pt x="54" y="12"/>
                        </a:lnTo>
                        <a:lnTo>
                          <a:pt x="96" y="0"/>
                        </a:lnTo>
                        <a:lnTo>
                          <a:pt x="134" y="0"/>
                        </a:lnTo>
                        <a:lnTo>
                          <a:pt x="84" y="22"/>
                        </a:lnTo>
                        <a:lnTo>
                          <a:pt x="84" y="30"/>
                        </a:lnTo>
                        <a:lnTo>
                          <a:pt x="72" y="42"/>
                        </a:lnTo>
                        <a:lnTo>
                          <a:pt x="84" y="54"/>
                        </a:lnTo>
                        <a:lnTo>
                          <a:pt x="50" y="62"/>
                        </a:lnTo>
                        <a:lnTo>
                          <a:pt x="84" y="62"/>
                        </a:lnTo>
                        <a:lnTo>
                          <a:pt x="96" y="46"/>
                        </a:lnTo>
                        <a:lnTo>
                          <a:pt x="80" y="38"/>
                        </a:lnTo>
                        <a:lnTo>
                          <a:pt x="110" y="30"/>
                        </a:lnTo>
                        <a:lnTo>
                          <a:pt x="100" y="30"/>
                        </a:lnTo>
                        <a:lnTo>
                          <a:pt x="104" y="20"/>
                        </a:lnTo>
                        <a:lnTo>
                          <a:pt x="130" y="22"/>
                        </a:lnTo>
                        <a:lnTo>
                          <a:pt x="110" y="16"/>
                        </a:lnTo>
                        <a:lnTo>
                          <a:pt x="142" y="16"/>
                        </a:lnTo>
                        <a:lnTo>
                          <a:pt x="126" y="12"/>
                        </a:lnTo>
                        <a:lnTo>
                          <a:pt x="191" y="0"/>
                        </a:lnTo>
                        <a:lnTo>
                          <a:pt x="191" y="12"/>
                        </a:lnTo>
                        <a:lnTo>
                          <a:pt x="183" y="12"/>
                        </a:lnTo>
                        <a:lnTo>
                          <a:pt x="191" y="22"/>
                        </a:lnTo>
                        <a:lnTo>
                          <a:pt x="167" y="42"/>
                        </a:lnTo>
                        <a:lnTo>
                          <a:pt x="199" y="26"/>
                        </a:lnTo>
                        <a:lnTo>
                          <a:pt x="205" y="34"/>
                        </a:lnTo>
                        <a:lnTo>
                          <a:pt x="237" y="22"/>
                        </a:lnTo>
                        <a:lnTo>
                          <a:pt x="267" y="26"/>
                        </a:lnTo>
                        <a:lnTo>
                          <a:pt x="275" y="30"/>
                        </a:lnTo>
                        <a:lnTo>
                          <a:pt x="267" y="38"/>
                        </a:lnTo>
                        <a:lnTo>
                          <a:pt x="283" y="38"/>
                        </a:lnTo>
                        <a:lnTo>
                          <a:pt x="263" y="46"/>
                        </a:lnTo>
                        <a:lnTo>
                          <a:pt x="291" y="42"/>
                        </a:lnTo>
                        <a:lnTo>
                          <a:pt x="275" y="54"/>
                        </a:lnTo>
                        <a:lnTo>
                          <a:pt x="287" y="54"/>
                        </a:lnTo>
                        <a:lnTo>
                          <a:pt x="291" y="50"/>
                        </a:lnTo>
                        <a:lnTo>
                          <a:pt x="305" y="46"/>
                        </a:lnTo>
                        <a:lnTo>
                          <a:pt x="321" y="50"/>
                        </a:lnTo>
                        <a:lnTo>
                          <a:pt x="321" y="58"/>
                        </a:lnTo>
                        <a:lnTo>
                          <a:pt x="301" y="62"/>
                        </a:lnTo>
                        <a:lnTo>
                          <a:pt x="329" y="62"/>
                        </a:lnTo>
                        <a:lnTo>
                          <a:pt x="317" y="72"/>
                        </a:lnTo>
                        <a:lnTo>
                          <a:pt x="337" y="66"/>
                        </a:lnTo>
                        <a:lnTo>
                          <a:pt x="325" y="72"/>
                        </a:lnTo>
                        <a:lnTo>
                          <a:pt x="359" y="72"/>
                        </a:lnTo>
                        <a:lnTo>
                          <a:pt x="329" y="80"/>
                        </a:lnTo>
                        <a:lnTo>
                          <a:pt x="347" y="80"/>
                        </a:lnTo>
                        <a:lnTo>
                          <a:pt x="337" y="84"/>
                        </a:lnTo>
                        <a:lnTo>
                          <a:pt x="359" y="76"/>
                        </a:lnTo>
                        <a:lnTo>
                          <a:pt x="371" y="88"/>
                        </a:lnTo>
                        <a:lnTo>
                          <a:pt x="333" y="96"/>
                        </a:lnTo>
                        <a:lnTo>
                          <a:pt x="371" y="100"/>
                        </a:lnTo>
                        <a:lnTo>
                          <a:pt x="333" y="104"/>
                        </a:lnTo>
                        <a:lnTo>
                          <a:pt x="345" y="108"/>
                        </a:lnTo>
                        <a:lnTo>
                          <a:pt x="337" y="112"/>
                        </a:lnTo>
                        <a:lnTo>
                          <a:pt x="341" y="116"/>
                        </a:lnTo>
                        <a:lnTo>
                          <a:pt x="329" y="118"/>
                        </a:lnTo>
                        <a:lnTo>
                          <a:pt x="351" y="122"/>
                        </a:lnTo>
                        <a:lnTo>
                          <a:pt x="347" y="126"/>
                        </a:lnTo>
                        <a:lnTo>
                          <a:pt x="359" y="134"/>
                        </a:lnTo>
                        <a:lnTo>
                          <a:pt x="379" y="130"/>
                        </a:lnTo>
                        <a:lnTo>
                          <a:pt x="371" y="134"/>
                        </a:lnTo>
                        <a:lnTo>
                          <a:pt x="391" y="146"/>
                        </a:lnTo>
                        <a:lnTo>
                          <a:pt x="383" y="150"/>
                        </a:lnTo>
                        <a:lnTo>
                          <a:pt x="401" y="150"/>
                        </a:lnTo>
                        <a:lnTo>
                          <a:pt x="391" y="157"/>
                        </a:lnTo>
                        <a:lnTo>
                          <a:pt x="412" y="157"/>
                        </a:lnTo>
                        <a:lnTo>
                          <a:pt x="424" y="163"/>
                        </a:lnTo>
                        <a:lnTo>
                          <a:pt x="412" y="171"/>
                        </a:lnTo>
                        <a:lnTo>
                          <a:pt x="397" y="171"/>
                        </a:lnTo>
                        <a:lnTo>
                          <a:pt x="401" y="179"/>
                        </a:lnTo>
                        <a:lnTo>
                          <a:pt x="383" y="187"/>
                        </a:lnTo>
                        <a:lnTo>
                          <a:pt x="371" y="187"/>
                        </a:lnTo>
                        <a:lnTo>
                          <a:pt x="371" y="195"/>
                        </a:lnTo>
                        <a:lnTo>
                          <a:pt x="359" y="207"/>
                        </a:lnTo>
                        <a:lnTo>
                          <a:pt x="321" y="167"/>
                        </a:lnTo>
                        <a:lnTo>
                          <a:pt x="295" y="167"/>
                        </a:lnTo>
                        <a:lnTo>
                          <a:pt x="305" y="179"/>
                        </a:lnTo>
                        <a:lnTo>
                          <a:pt x="295" y="179"/>
                        </a:lnTo>
                        <a:lnTo>
                          <a:pt x="287" y="187"/>
                        </a:lnTo>
                        <a:lnTo>
                          <a:pt x="301" y="187"/>
                        </a:lnTo>
                        <a:lnTo>
                          <a:pt x="297" y="207"/>
                        </a:lnTo>
                        <a:lnTo>
                          <a:pt x="325" y="213"/>
                        </a:lnTo>
                        <a:lnTo>
                          <a:pt x="317" y="225"/>
                        </a:lnTo>
                        <a:lnTo>
                          <a:pt x="325" y="233"/>
                        </a:lnTo>
                        <a:lnTo>
                          <a:pt x="317" y="245"/>
                        </a:lnTo>
                        <a:lnTo>
                          <a:pt x="313" y="241"/>
                        </a:lnTo>
                        <a:lnTo>
                          <a:pt x="313" y="253"/>
                        </a:lnTo>
                        <a:lnTo>
                          <a:pt x="301" y="253"/>
                        </a:lnTo>
                        <a:lnTo>
                          <a:pt x="297" y="263"/>
                        </a:lnTo>
                        <a:lnTo>
                          <a:pt x="295" y="253"/>
                        </a:lnTo>
                        <a:lnTo>
                          <a:pt x="271" y="253"/>
                        </a:lnTo>
                        <a:lnTo>
                          <a:pt x="249" y="233"/>
                        </a:lnTo>
                        <a:lnTo>
                          <a:pt x="251" y="253"/>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699" name="vMap : Canada (Offshore)">
                    <a:extLst>
                      <a:ext uri="{FF2B5EF4-FFF2-40B4-BE49-F238E27FC236}">
                        <a16:creationId xmlns:a16="http://schemas.microsoft.com/office/drawing/2014/main" xmlns="" id="{957E1230-61EA-0340-8724-6982B9017843}"/>
                      </a:ext>
                    </a:extLst>
                  </p:cNvPr>
                  <p:cNvSpPr>
                    <a:spLocks noChangeAspect="1"/>
                  </p:cNvSpPr>
                  <p:nvPr>
                    <p:custDataLst>
                      <p:tags r:id="rId195"/>
                    </p:custDataLst>
                  </p:nvPr>
                </p:nvSpPr>
                <p:spPr bwMode="gray">
                  <a:xfrm>
                    <a:off x="3317992" y="570230"/>
                    <a:ext cx="854581" cy="211383"/>
                  </a:xfrm>
                  <a:custGeom>
                    <a:avLst/>
                    <a:gdLst>
                      <a:gd name="T0" fmla="*/ 34 w 557"/>
                      <a:gd name="T1" fmla="*/ 36 h 133"/>
                      <a:gd name="T2" fmla="*/ 30 w 557"/>
                      <a:gd name="T3" fmla="*/ 36 h 133"/>
                      <a:gd name="T4" fmla="*/ 38 w 557"/>
                      <a:gd name="T5" fmla="*/ 31 h 133"/>
                      <a:gd name="T6" fmla="*/ 60 w 557"/>
                      <a:gd name="T7" fmla="*/ 29 h 133"/>
                      <a:gd name="T8" fmla="*/ 52 w 557"/>
                      <a:gd name="T9" fmla="*/ 27 h 133"/>
                      <a:gd name="T10" fmla="*/ 49 w 557"/>
                      <a:gd name="T11" fmla="*/ 22 h 133"/>
                      <a:gd name="T12" fmla="*/ 52 w 557"/>
                      <a:gd name="T13" fmla="*/ 21 h 133"/>
                      <a:gd name="T14" fmla="*/ 80 w 557"/>
                      <a:gd name="T15" fmla="*/ 24 h 133"/>
                      <a:gd name="T16" fmla="*/ 77 w 557"/>
                      <a:gd name="T17" fmla="*/ 24 h 133"/>
                      <a:gd name="T18" fmla="*/ 76 w 557"/>
                      <a:gd name="T19" fmla="*/ 18 h 133"/>
                      <a:gd name="T20" fmla="*/ 60 w 557"/>
                      <a:gd name="T21" fmla="*/ 16 h 133"/>
                      <a:gd name="T22" fmla="*/ 45 w 557"/>
                      <a:gd name="T23" fmla="*/ 15 h 133"/>
                      <a:gd name="T24" fmla="*/ 44 w 557"/>
                      <a:gd name="T25" fmla="*/ 13 h 133"/>
                      <a:gd name="T26" fmla="*/ 44 w 557"/>
                      <a:gd name="T27" fmla="*/ 12 h 133"/>
                      <a:gd name="T28" fmla="*/ 39 w 557"/>
                      <a:gd name="T29" fmla="*/ 9 h 133"/>
                      <a:gd name="T30" fmla="*/ 77 w 557"/>
                      <a:gd name="T31" fmla="*/ 7 h 133"/>
                      <a:gd name="T32" fmla="*/ 78 w 557"/>
                      <a:gd name="T33" fmla="*/ 4 h 133"/>
                      <a:gd name="T34" fmla="*/ 90 w 557"/>
                      <a:gd name="T35" fmla="*/ 4 h 133"/>
                      <a:gd name="T36" fmla="*/ 100 w 557"/>
                      <a:gd name="T37" fmla="*/ 1 h 133"/>
                      <a:gd name="T38" fmla="*/ 110 w 557"/>
                      <a:gd name="T39" fmla="*/ 1 h 133"/>
                      <a:gd name="T40" fmla="*/ 147 w 557"/>
                      <a:gd name="T41" fmla="*/ 3 h 133"/>
                      <a:gd name="T42" fmla="*/ 155 w 557"/>
                      <a:gd name="T43" fmla="*/ 0 h 133"/>
                      <a:gd name="T44" fmla="*/ 196 w 557"/>
                      <a:gd name="T45" fmla="*/ 1 h 133"/>
                      <a:gd name="T46" fmla="*/ 204 w 557"/>
                      <a:gd name="T47" fmla="*/ 4 h 133"/>
                      <a:gd name="T48" fmla="*/ 208 w 557"/>
                      <a:gd name="T49" fmla="*/ 4 h 133"/>
                      <a:gd name="T50" fmla="*/ 193 w 557"/>
                      <a:gd name="T51" fmla="*/ 9 h 133"/>
                      <a:gd name="T52" fmla="*/ 175 w 557"/>
                      <a:gd name="T53" fmla="*/ 10 h 133"/>
                      <a:gd name="T54" fmla="*/ 151 w 557"/>
                      <a:gd name="T55" fmla="*/ 19 h 133"/>
                      <a:gd name="T56" fmla="*/ 147 w 557"/>
                      <a:gd name="T57" fmla="*/ 21 h 133"/>
                      <a:gd name="T58" fmla="*/ 132 w 557"/>
                      <a:gd name="T59" fmla="*/ 24 h 133"/>
                      <a:gd name="T60" fmla="*/ 121 w 557"/>
                      <a:gd name="T61" fmla="*/ 24 h 133"/>
                      <a:gd name="T62" fmla="*/ 107 w 557"/>
                      <a:gd name="T63" fmla="*/ 31 h 133"/>
                      <a:gd name="T64" fmla="*/ 81 w 557"/>
                      <a:gd name="T65" fmla="*/ 37 h 133"/>
                      <a:gd name="T66" fmla="*/ 76 w 557"/>
                      <a:gd name="T67" fmla="*/ 42 h 133"/>
                      <a:gd name="T68" fmla="*/ 57 w 557"/>
                      <a:gd name="T69" fmla="*/ 42 h 133"/>
                      <a:gd name="T70" fmla="*/ 52 w 557"/>
                      <a:gd name="T71" fmla="*/ 44 h 133"/>
                      <a:gd name="T72" fmla="*/ 73 w 557"/>
                      <a:gd name="T73" fmla="*/ 44 h 133"/>
                      <a:gd name="T74" fmla="*/ 47 w 557"/>
                      <a:gd name="T75" fmla="*/ 52 h 133"/>
                      <a:gd name="T76" fmla="*/ 44 w 557"/>
                      <a:gd name="T77" fmla="*/ 47 h 133"/>
                      <a:gd name="T78" fmla="*/ 39 w 557"/>
                      <a:gd name="T79" fmla="*/ 51 h 133"/>
                      <a:gd name="T80" fmla="*/ 38 w 557"/>
                      <a:gd name="T81" fmla="*/ 47 h 133"/>
                      <a:gd name="T82" fmla="*/ 26 w 557"/>
                      <a:gd name="T83" fmla="*/ 47 h 133"/>
                      <a:gd name="T84" fmla="*/ 17 w 557"/>
                      <a:gd name="T85" fmla="*/ 47 h 133"/>
                      <a:gd name="T86" fmla="*/ 7 w 557"/>
                      <a:gd name="T87" fmla="*/ 46 h 133"/>
                      <a:gd name="T88" fmla="*/ 0 w 557"/>
                      <a:gd name="T89" fmla="*/ 49 h 133"/>
                      <a:gd name="T90" fmla="*/ 10 w 557"/>
                      <a:gd name="T91" fmla="*/ 44 h 133"/>
                      <a:gd name="T92" fmla="*/ 20 w 557"/>
                      <a:gd name="T93" fmla="*/ 39 h 133"/>
                      <a:gd name="T94" fmla="*/ 38 w 557"/>
                      <a:gd name="T95" fmla="*/ 42 h 133"/>
                      <a:gd name="T96" fmla="*/ 47 w 557"/>
                      <a:gd name="T97" fmla="*/ 40 h 133"/>
                      <a:gd name="T98" fmla="*/ 42 w 557"/>
                      <a:gd name="T99" fmla="*/ 39 h 133"/>
                      <a:gd name="T100" fmla="*/ 36 w 557"/>
                      <a:gd name="T101" fmla="*/ 37 h 133"/>
                      <a:gd name="T102" fmla="*/ 44 w 557"/>
                      <a:gd name="T103" fmla="*/ 36 h 1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57" h="133">
                        <a:moveTo>
                          <a:pt x="103" y="91"/>
                        </a:moveTo>
                        <a:lnTo>
                          <a:pt x="91" y="91"/>
                        </a:lnTo>
                        <a:lnTo>
                          <a:pt x="103" y="87"/>
                        </a:lnTo>
                        <a:lnTo>
                          <a:pt x="79" y="91"/>
                        </a:lnTo>
                        <a:lnTo>
                          <a:pt x="79" y="83"/>
                        </a:lnTo>
                        <a:lnTo>
                          <a:pt x="99" y="79"/>
                        </a:lnTo>
                        <a:lnTo>
                          <a:pt x="165" y="83"/>
                        </a:lnTo>
                        <a:lnTo>
                          <a:pt x="157" y="75"/>
                        </a:lnTo>
                        <a:lnTo>
                          <a:pt x="187" y="71"/>
                        </a:lnTo>
                        <a:lnTo>
                          <a:pt x="137" y="71"/>
                        </a:lnTo>
                        <a:lnTo>
                          <a:pt x="161" y="71"/>
                        </a:lnTo>
                        <a:lnTo>
                          <a:pt x="129" y="57"/>
                        </a:lnTo>
                        <a:lnTo>
                          <a:pt x="149" y="57"/>
                        </a:lnTo>
                        <a:lnTo>
                          <a:pt x="137" y="54"/>
                        </a:lnTo>
                        <a:lnTo>
                          <a:pt x="179" y="50"/>
                        </a:lnTo>
                        <a:lnTo>
                          <a:pt x="211" y="63"/>
                        </a:lnTo>
                        <a:lnTo>
                          <a:pt x="225" y="61"/>
                        </a:lnTo>
                        <a:lnTo>
                          <a:pt x="203" y="61"/>
                        </a:lnTo>
                        <a:lnTo>
                          <a:pt x="191" y="50"/>
                        </a:lnTo>
                        <a:lnTo>
                          <a:pt x="199" y="46"/>
                        </a:lnTo>
                        <a:lnTo>
                          <a:pt x="179" y="46"/>
                        </a:lnTo>
                        <a:lnTo>
                          <a:pt x="157" y="42"/>
                        </a:lnTo>
                        <a:lnTo>
                          <a:pt x="141" y="42"/>
                        </a:lnTo>
                        <a:lnTo>
                          <a:pt x="119" y="38"/>
                        </a:lnTo>
                        <a:lnTo>
                          <a:pt x="119" y="34"/>
                        </a:lnTo>
                        <a:lnTo>
                          <a:pt x="115" y="34"/>
                        </a:lnTo>
                        <a:lnTo>
                          <a:pt x="123" y="30"/>
                        </a:lnTo>
                        <a:lnTo>
                          <a:pt x="115" y="30"/>
                        </a:lnTo>
                        <a:lnTo>
                          <a:pt x="133" y="26"/>
                        </a:lnTo>
                        <a:lnTo>
                          <a:pt x="103" y="22"/>
                        </a:lnTo>
                        <a:lnTo>
                          <a:pt x="161" y="14"/>
                        </a:lnTo>
                        <a:lnTo>
                          <a:pt x="203" y="18"/>
                        </a:lnTo>
                        <a:lnTo>
                          <a:pt x="179" y="14"/>
                        </a:lnTo>
                        <a:lnTo>
                          <a:pt x="207" y="12"/>
                        </a:lnTo>
                        <a:lnTo>
                          <a:pt x="265" y="18"/>
                        </a:lnTo>
                        <a:lnTo>
                          <a:pt x="237" y="12"/>
                        </a:lnTo>
                        <a:lnTo>
                          <a:pt x="275" y="12"/>
                        </a:lnTo>
                        <a:lnTo>
                          <a:pt x="265" y="4"/>
                        </a:lnTo>
                        <a:lnTo>
                          <a:pt x="294" y="8"/>
                        </a:lnTo>
                        <a:lnTo>
                          <a:pt x="290" y="4"/>
                        </a:lnTo>
                        <a:lnTo>
                          <a:pt x="328" y="4"/>
                        </a:lnTo>
                        <a:lnTo>
                          <a:pt x="386" y="8"/>
                        </a:lnTo>
                        <a:lnTo>
                          <a:pt x="382" y="4"/>
                        </a:lnTo>
                        <a:lnTo>
                          <a:pt x="408" y="0"/>
                        </a:lnTo>
                        <a:lnTo>
                          <a:pt x="494" y="4"/>
                        </a:lnTo>
                        <a:lnTo>
                          <a:pt x="516" y="4"/>
                        </a:lnTo>
                        <a:lnTo>
                          <a:pt x="531" y="4"/>
                        </a:lnTo>
                        <a:lnTo>
                          <a:pt x="539" y="12"/>
                        </a:lnTo>
                        <a:lnTo>
                          <a:pt x="531" y="12"/>
                        </a:lnTo>
                        <a:lnTo>
                          <a:pt x="547" y="12"/>
                        </a:lnTo>
                        <a:lnTo>
                          <a:pt x="557" y="14"/>
                        </a:lnTo>
                        <a:lnTo>
                          <a:pt x="508" y="22"/>
                        </a:lnTo>
                        <a:lnTo>
                          <a:pt x="428" y="22"/>
                        </a:lnTo>
                        <a:lnTo>
                          <a:pt x="462" y="26"/>
                        </a:lnTo>
                        <a:lnTo>
                          <a:pt x="498" y="30"/>
                        </a:lnTo>
                        <a:lnTo>
                          <a:pt x="398" y="50"/>
                        </a:lnTo>
                        <a:lnTo>
                          <a:pt x="386" y="46"/>
                        </a:lnTo>
                        <a:lnTo>
                          <a:pt x="386" y="54"/>
                        </a:lnTo>
                        <a:lnTo>
                          <a:pt x="374" y="54"/>
                        </a:lnTo>
                        <a:lnTo>
                          <a:pt x="348" y="61"/>
                        </a:lnTo>
                        <a:lnTo>
                          <a:pt x="310" y="57"/>
                        </a:lnTo>
                        <a:lnTo>
                          <a:pt x="320" y="63"/>
                        </a:lnTo>
                        <a:lnTo>
                          <a:pt x="275" y="71"/>
                        </a:lnTo>
                        <a:lnTo>
                          <a:pt x="282" y="79"/>
                        </a:lnTo>
                        <a:lnTo>
                          <a:pt x="249" y="95"/>
                        </a:lnTo>
                        <a:lnTo>
                          <a:pt x="215" y="95"/>
                        </a:lnTo>
                        <a:lnTo>
                          <a:pt x="215" y="99"/>
                        </a:lnTo>
                        <a:lnTo>
                          <a:pt x="199" y="107"/>
                        </a:lnTo>
                        <a:lnTo>
                          <a:pt x="149" y="107"/>
                        </a:lnTo>
                        <a:lnTo>
                          <a:pt x="149" y="109"/>
                        </a:lnTo>
                        <a:lnTo>
                          <a:pt x="137" y="109"/>
                        </a:lnTo>
                        <a:lnTo>
                          <a:pt x="137" y="113"/>
                        </a:lnTo>
                        <a:lnTo>
                          <a:pt x="175" y="113"/>
                        </a:lnTo>
                        <a:lnTo>
                          <a:pt x="191" y="113"/>
                        </a:lnTo>
                        <a:lnTo>
                          <a:pt x="187" y="121"/>
                        </a:lnTo>
                        <a:lnTo>
                          <a:pt x="125" y="133"/>
                        </a:lnTo>
                        <a:lnTo>
                          <a:pt x="133" y="125"/>
                        </a:lnTo>
                        <a:lnTo>
                          <a:pt x="115" y="121"/>
                        </a:lnTo>
                        <a:lnTo>
                          <a:pt x="119" y="125"/>
                        </a:lnTo>
                        <a:lnTo>
                          <a:pt x="103" y="129"/>
                        </a:lnTo>
                        <a:lnTo>
                          <a:pt x="99" y="117"/>
                        </a:lnTo>
                        <a:lnTo>
                          <a:pt x="99" y="121"/>
                        </a:lnTo>
                        <a:lnTo>
                          <a:pt x="91" y="125"/>
                        </a:lnTo>
                        <a:lnTo>
                          <a:pt x="69" y="121"/>
                        </a:lnTo>
                        <a:lnTo>
                          <a:pt x="73" y="129"/>
                        </a:lnTo>
                        <a:lnTo>
                          <a:pt x="45" y="121"/>
                        </a:lnTo>
                        <a:lnTo>
                          <a:pt x="20" y="129"/>
                        </a:lnTo>
                        <a:lnTo>
                          <a:pt x="20" y="117"/>
                        </a:lnTo>
                        <a:lnTo>
                          <a:pt x="12" y="125"/>
                        </a:lnTo>
                        <a:lnTo>
                          <a:pt x="0" y="125"/>
                        </a:lnTo>
                        <a:lnTo>
                          <a:pt x="4" y="117"/>
                        </a:lnTo>
                        <a:lnTo>
                          <a:pt x="28" y="113"/>
                        </a:lnTo>
                        <a:lnTo>
                          <a:pt x="57" y="109"/>
                        </a:lnTo>
                        <a:lnTo>
                          <a:pt x="53" y="99"/>
                        </a:lnTo>
                        <a:lnTo>
                          <a:pt x="79" y="95"/>
                        </a:lnTo>
                        <a:lnTo>
                          <a:pt x="99" y="107"/>
                        </a:lnTo>
                        <a:lnTo>
                          <a:pt x="119" y="107"/>
                        </a:lnTo>
                        <a:lnTo>
                          <a:pt x="123" y="103"/>
                        </a:lnTo>
                        <a:lnTo>
                          <a:pt x="99" y="103"/>
                        </a:lnTo>
                        <a:lnTo>
                          <a:pt x="111" y="99"/>
                        </a:lnTo>
                        <a:lnTo>
                          <a:pt x="111" y="95"/>
                        </a:lnTo>
                        <a:lnTo>
                          <a:pt x="95" y="95"/>
                        </a:lnTo>
                        <a:lnTo>
                          <a:pt x="125" y="91"/>
                        </a:lnTo>
                        <a:lnTo>
                          <a:pt x="115" y="91"/>
                        </a:lnTo>
                        <a:lnTo>
                          <a:pt x="103" y="91"/>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0" name="vMap : Canada (Offshore)">
                    <a:extLst>
                      <a:ext uri="{FF2B5EF4-FFF2-40B4-BE49-F238E27FC236}">
                        <a16:creationId xmlns:a16="http://schemas.microsoft.com/office/drawing/2014/main" xmlns="" id="{1DB670FB-7DCC-AD4D-8364-76908EA70035}"/>
                      </a:ext>
                    </a:extLst>
                  </p:cNvPr>
                  <p:cNvSpPr>
                    <a:spLocks noChangeAspect="1"/>
                  </p:cNvSpPr>
                  <p:nvPr>
                    <p:custDataLst>
                      <p:tags r:id="rId196"/>
                    </p:custDataLst>
                  </p:nvPr>
                </p:nvSpPr>
                <p:spPr bwMode="gray">
                  <a:xfrm>
                    <a:off x="3355365" y="1043933"/>
                    <a:ext cx="74745" cy="45842"/>
                  </a:xfrm>
                  <a:custGeom>
                    <a:avLst/>
                    <a:gdLst>
                      <a:gd name="T0" fmla="*/ 11 w 49"/>
                      <a:gd name="T1" fmla="*/ 0 h 28"/>
                      <a:gd name="T2" fmla="*/ 18 w 49"/>
                      <a:gd name="T3" fmla="*/ 2 h 28"/>
                      <a:gd name="T4" fmla="*/ 14 w 49"/>
                      <a:gd name="T5" fmla="*/ 8 h 28"/>
                      <a:gd name="T6" fmla="*/ 0 w 49"/>
                      <a:gd name="T7" fmla="*/ 12 h 28"/>
                      <a:gd name="T8" fmla="*/ 1 w 49"/>
                      <a:gd name="T9" fmla="*/ 5 h 28"/>
                      <a:gd name="T10" fmla="*/ 11 w 49"/>
                      <a:gd name="T11" fmla="*/ 0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 h="28">
                        <a:moveTo>
                          <a:pt x="29" y="0"/>
                        </a:moveTo>
                        <a:lnTo>
                          <a:pt x="49" y="4"/>
                        </a:lnTo>
                        <a:lnTo>
                          <a:pt x="37" y="20"/>
                        </a:lnTo>
                        <a:lnTo>
                          <a:pt x="0" y="28"/>
                        </a:lnTo>
                        <a:lnTo>
                          <a:pt x="4" y="12"/>
                        </a:lnTo>
                        <a:lnTo>
                          <a:pt x="29"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1" name="vMap : Canada (Offshore)">
                    <a:extLst>
                      <a:ext uri="{FF2B5EF4-FFF2-40B4-BE49-F238E27FC236}">
                        <a16:creationId xmlns:a16="http://schemas.microsoft.com/office/drawing/2014/main" xmlns="" id="{18E81376-5F3F-FD41-8F40-8D16BE62729E}"/>
                      </a:ext>
                    </a:extLst>
                  </p:cNvPr>
                  <p:cNvSpPr>
                    <a:spLocks noChangeAspect="1"/>
                  </p:cNvSpPr>
                  <p:nvPr>
                    <p:custDataLst>
                      <p:tags r:id="rId197"/>
                    </p:custDataLst>
                  </p:nvPr>
                </p:nvSpPr>
                <p:spPr bwMode="gray">
                  <a:xfrm>
                    <a:off x="3021505" y="847830"/>
                    <a:ext cx="186862" cy="66216"/>
                  </a:xfrm>
                  <a:custGeom>
                    <a:avLst/>
                    <a:gdLst>
                      <a:gd name="T0" fmla="*/ 17 w 124"/>
                      <a:gd name="T1" fmla="*/ 0 h 46"/>
                      <a:gd name="T2" fmla="*/ 45 w 124"/>
                      <a:gd name="T3" fmla="*/ 1 h 46"/>
                      <a:gd name="T4" fmla="*/ 23 w 124"/>
                      <a:gd name="T5" fmla="*/ 10 h 46"/>
                      <a:gd name="T6" fmla="*/ 10 w 124"/>
                      <a:gd name="T7" fmla="*/ 10 h 46"/>
                      <a:gd name="T8" fmla="*/ 13 w 124"/>
                      <a:gd name="T9" fmla="*/ 12 h 46"/>
                      <a:gd name="T10" fmla="*/ 0 w 124"/>
                      <a:gd name="T11" fmla="*/ 15 h 46"/>
                      <a:gd name="T12" fmla="*/ 1 w 124"/>
                      <a:gd name="T13" fmla="*/ 12 h 46"/>
                      <a:gd name="T14" fmla="*/ 4 w 124"/>
                      <a:gd name="T15" fmla="*/ 11 h 46"/>
                      <a:gd name="T16" fmla="*/ 3 w 124"/>
                      <a:gd name="T17" fmla="*/ 9 h 46"/>
                      <a:gd name="T18" fmla="*/ 10 w 124"/>
                      <a:gd name="T19" fmla="*/ 3 h 46"/>
                      <a:gd name="T20" fmla="*/ 15 w 124"/>
                      <a:gd name="T21" fmla="*/ 4 h 46"/>
                      <a:gd name="T22" fmla="*/ 14 w 124"/>
                      <a:gd name="T23" fmla="*/ 1 h 46"/>
                      <a:gd name="T24" fmla="*/ 17 w 124"/>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 h="46">
                        <a:moveTo>
                          <a:pt x="46" y="0"/>
                        </a:moveTo>
                        <a:lnTo>
                          <a:pt x="124" y="4"/>
                        </a:lnTo>
                        <a:lnTo>
                          <a:pt x="62" y="30"/>
                        </a:lnTo>
                        <a:lnTo>
                          <a:pt x="28" y="30"/>
                        </a:lnTo>
                        <a:lnTo>
                          <a:pt x="36" y="38"/>
                        </a:lnTo>
                        <a:lnTo>
                          <a:pt x="0" y="46"/>
                        </a:lnTo>
                        <a:lnTo>
                          <a:pt x="4" y="38"/>
                        </a:lnTo>
                        <a:lnTo>
                          <a:pt x="12" y="34"/>
                        </a:lnTo>
                        <a:lnTo>
                          <a:pt x="8" y="28"/>
                        </a:lnTo>
                        <a:lnTo>
                          <a:pt x="28" y="8"/>
                        </a:lnTo>
                        <a:lnTo>
                          <a:pt x="42" y="12"/>
                        </a:lnTo>
                        <a:lnTo>
                          <a:pt x="38" y="4"/>
                        </a:lnTo>
                        <a:lnTo>
                          <a:pt x="46"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2" name="vMap : Canada (Offshore)">
                    <a:extLst>
                      <a:ext uri="{FF2B5EF4-FFF2-40B4-BE49-F238E27FC236}">
                        <a16:creationId xmlns:a16="http://schemas.microsoft.com/office/drawing/2014/main" xmlns="" id="{E35D36F1-CCAD-954F-9C67-3843368CC897}"/>
                      </a:ext>
                    </a:extLst>
                  </p:cNvPr>
                  <p:cNvSpPr>
                    <a:spLocks noChangeAspect="1"/>
                  </p:cNvSpPr>
                  <p:nvPr>
                    <p:custDataLst>
                      <p:tags r:id="rId198"/>
                    </p:custDataLst>
                  </p:nvPr>
                </p:nvSpPr>
                <p:spPr bwMode="gray">
                  <a:xfrm>
                    <a:off x="3300552" y="618619"/>
                    <a:ext cx="234200" cy="94231"/>
                  </a:xfrm>
                  <a:custGeom>
                    <a:avLst/>
                    <a:gdLst>
                      <a:gd name="T0" fmla="*/ 12 w 153"/>
                      <a:gd name="T1" fmla="*/ 7 h 61"/>
                      <a:gd name="T2" fmla="*/ 7 w 153"/>
                      <a:gd name="T3" fmla="*/ 6 h 61"/>
                      <a:gd name="T4" fmla="*/ 14 w 153"/>
                      <a:gd name="T5" fmla="*/ 4 h 61"/>
                      <a:gd name="T6" fmla="*/ 20 w 153"/>
                      <a:gd name="T7" fmla="*/ 6 h 61"/>
                      <a:gd name="T8" fmla="*/ 17 w 153"/>
                      <a:gd name="T9" fmla="*/ 3 h 61"/>
                      <a:gd name="T10" fmla="*/ 32 w 153"/>
                      <a:gd name="T11" fmla="*/ 1 h 61"/>
                      <a:gd name="T12" fmla="*/ 25 w 153"/>
                      <a:gd name="T13" fmla="*/ 0 h 61"/>
                      <a:gd name="T14" fmla="*/ 36 w 153"/>
                      <a:gd name="T15" fmla="*/ 0 h 61"/>
                      <a:gd name="T16" fmla="*/ 37 w 153"/>
                      <a:gd name="T17" fmla="*/ 6 h 61"/>
                      <a:gd name="T18" fmla="*/ 47 w 153"/>
                      <a:gd name="T19" fmla="*/ 6 h 61"/>
                      <a:gd name="T20" fmla="*/ 45 w 153"/>
                      <a:gd name="T21" fmla="*/ 9 h 61"/>
                      <a:gd name="T22" fmla="*/ 48 w 153"/>
                      <a:gd name="T23" fmla="*/ 9 h 61"/>
                      <a:gd name="T24" fmla="*/ 49 w 153"/>
                      <a:gd name="T25" fmla="*/ 6 h 61"/>
                      <a:gd name="T26" fmla="*/ 53 w 153"/>
                      <a:gd name="T27" fmla="*/ 7 h 61"/>
                      <a:gd name="T28" fmla="*/ 49 w 153"/>
                      <a:gd name="T29" fmla="*/ 9 h 61"/>
                      <a:gd name="T30" fmla="*/ 52 w 153"/>
                      <a:gd name="T31" fmla="*/ 10 h 61"/>
                      <a:gd name="T32" fmla="*/ 47 w 153"/>
                      <a:gd name="T33" fmla="*/ 12 h 61"/>
                      <a:gd name="T34" fmla="*/ 58 w 153"/>
                      <a:gd name="T35" fmla="*/ 13 h 61"/>
                      <a:gd name="T36" fmla="*/ 44 w 153"/>
                      <a:gd name="T37" fmla="*/ 15 h 61"/>
                      <a:gd name="T38" fmla="*/ 36 w 153"/>
                      <a:gd name="T39" fmla="*/ 18 h 61"/>
                      <a:gd name="T40" fmla="*/ 37 w 153"/>
                      <a:gd name="T41" fmla="*/ 15 h 61"/>
                      <a:gd name="T42" fmla="*/ 34 w 153"/>
                      <a:gd name="T43" fmla="*/ 16 h 61"/>
                      <a:gd name="T44" fmla="*/ 32 w 153"/>
                      <a:gd name="T45" fmla="*/ 19 h 61"/>
                      <a:gd name="T46" fmla="*/ 29 w 153"/>
                      <a:gd name="T47" fmla="*/ 18 h 61"/>
                      <a:gd name="T48" fmla="*/ 25 w 153"/>
                      <a:gd name="T49" fmla="*/ 22 h 61"/>
                      <a:gd name="T50" fmla="*/ 22 w 153"/>
                      <a:gd name="T51" fmla="*/ 18 h 61"/>
                      <a:gd name="T52" fmla="*/ 20 w 153"/>
                      <a:gd name="T53" fmla="*/ 22 h 61"/>
                      <a:gd name="T54" fmla="*/ 6 w 153"/>
                      <a:gd name="T55" fmla="*/ 22 h 61"/>
                      <a:gd name="T56" fmla="*/ 4 w 153"/>
                      <a:gd name="T57" fmla="*/ 19 h 61"/>
                      <a:gd name="T58" fmla="*/ 12 w 153"/>
                      <a:gd name="T59" fmla="*/ 19 h 61"/>
                      <a:gd name="T60" fmla="*/ 4 w 153"/>
                      <a:gd name="T61" fmla="*/ 15 h 61"/>
                      <a:gd name="T62" fmla="*/ 28 w 153"/>
                      <a:gd name="T63" fmla="*/ 13 h 61"/>
                      <a:gd name="T64" fmla="*/ 0 w 153"/>
                      <a:gd name="T65" fmla="*/ 12 h 61"/>
                      <a:gd name="T66" fmla="*/ 1 w 153"/>
                      <a:gd name="T67" fmla="*/ 12 h 61"/>
                      <a:gd name="T68" fmla="*/ 3 w 153"/>
                      <a:gd name="T69" fmla="*/ 9 h 61"/>
                      <a:gd name="T70" fmla="*/ 12 w 153"/>
                      <a:gd name="T71" fmla="*/ 7 h 6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3" h="61">
                        <a:moveTo>
                          <a:pt x="32" y="20"/>
                        </a:moveTo>
                        <a:lnTo>
                          <a:pt x="20" y="16"/>
                        </a:lnTo>
                        <a:lnTo>
                          <a:pt x="36" y="12"/>
                        </a:lnTo>
                        <a:lnTo>
                          <a:pt x="53" y="16"/>
                        </a:lnTo>
                        <a:lnTo>
                          <a:pt x="46" y="8"/>
                        </a:lnTo>
                        <a:lnTo>
                          <a:pt x="85" y="4"/>
                        </a:lnTo>
                        <a:lnTo>
                          <a:pt x="65" y="0"/>
                        </a:lnTo>
                        <a:lnTo>
                          <a:pt x="95" y="0"/>
                        </a:lnTo>
                        <a:lnTo>
                          <a:pt x="99" y="16"/>
                        </a:lnTo>
                        <a:lnTo>
                          <a:pt x="123" y="16"/>
                        </a:lnTo>
                        <a:lnTo>
                          <a:pt x="119" y="24"/>
                        </a:lnTo>
                        <a:lnTo>
                          <a:pt x="127" y="24"/>
                        </a:lnTo>
                        <a:lnTo>
                          <a:pt x="131" y="16"/>
                        </a:lnTo>
                        <a:lnTo>
                          <a:pt x="141" y="20"/>
                        </a:lnTo>
                        <a:lnTo>
                          <a:pt x="131" y="24"/>
                        </a:lnTo>
                        <a:lnTo>
                          <a:pt x="137" y="27"/>
                        </a:lnTo>
                        <a:lnTo>
                          <a:pt x="123" y="31"/>
                        </a:lnTo>
                        <a:lnTo>
                          <a:pt x="153" y="37"/>
                        </a:lnTo>
                        <a:lnTo>
                          <a:pt x="115" y="41"/>
                        </a:lnTo>
                        <a:lnTo>
                          <a:pt x="95" y="49"/>
                        </a:lnTo>
                        <a:lnTo>
                          <a:pt x="99" y="41"/>
                        </a:lnTo>
                        <a:lnTo>
                          <a:pt x="89" y="45"/>
                        </a:lnTo>
                        <a:lnTo>
                          <a:pt x="85" y="53"/>
                        </a:lnTo>
                        <a:lnTo>
                          <a:pt x="77" y="49"/>
                        </a:lnTo>
                        <a:lnTo>
                          <a:pt x="65" y="61"/>
                        </a:lnTo>
                        <a:lnTo>
                          <a:pt x="57" y="49"/>
                        </a:lnTo>
                        <a:lnTo>
                          <a:pt x="53" y="61"/>
                        </a:lnTo>
                        <a:lnTo>
                          <a:pt x="16" y="61"/>
                        </a:lnTo>
                        <a:lnTo>
                          <a:pt x="12" y="53"/>
                        </a:lnTo>
                        <a:lnTo>
                          <a:pt x="32" y="53"/>
                        </a:lnTo>
                        <a:lnTo>
                          <a:pt x="12" y="41"/>
                        </a:lnTo>
                        <a:lnTo>
                          <a:pt x="73" y="37"/>
                        </a:lnTo>
                        <a:lnTo>
                          <a:pt x="0" y="33"/>
                        </a:lnTo>
                        <a:lnTo>
                          <a:pt x="4" y="31"/>
                        </a:lnTo>
                        <a:lnTo>
                          <a:pt x="8" y="24"/>
                        </a:lnTo>
                        <a:lnTo>
                          <a:pt x="32" y="2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3" name="vMap : Canada (Offshore)">
                    <a:extLst>
                      <a:ext uri="{FF2B5EF4-FFF2-40B4-BE49-F238E27FC236}">
                        <a16:creationId xmlns:a16="http://schemas.microsoft.com/office/drawing/2014/main" xmlns="" id="{86756907-099B-BF40-9F00-44F8B4285017}"/>
                      </a:ext>
                    </a:extLst>
                  </p:cNvPr>
                  <p:cNvSpPr>
                    <a:spLocks noChangeAspect="1"/>
                  </p:cNvSpPr>
                  <p:nvPr>
                    <p:custDataLst>
                      <p:tags r:id="rId199"/>
                    </p:custDataLst>
                  </p:nvPr>
                </p:nvSpPr>
                <p:spPr bwMode="gray">
                  <a:xfrm>
                    <a:off x="2822186" y="697570"/>
                    <a:ext cx="107135" cy="10187"/>
                  </a:xfrm>
                  <a:custGeom>
                    <a:avLst/>
                    <a:gdLst>
                      <a:gd name="T0" fmla="*/ 23 w 70"/>
                      <a:gd name="T1" fmla="*/ 0 h 8"/>
                      <a:gd name="T2" fmla="*/ 26 w 70"/>
                      <a:gd name="T3" fmla="*/ 1 h 8"/>
                      <a:gd name="T4" fmla="*/ 23 w 70"/>
                      <a:gd name="T5" fmla="*/ 2 h 8"/>
                      <a:gd name="T6" fmla="*/ 0 w 70"/>
                      <a:gd name="T7" fmla="*/ 2 h 8"/>
                      <a:gd name="T8" fmla="*/ 23 w 70"/>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 h="8">
                        <a:moveTo>
                          <a:pt x="62" y="0"/>
                        </a:moveTo>
                        <a:lnTo>
                          <a:pt x="70" y="4"/>
                        </a:lnTo>
                        <a:lnTo>
                          <a:pt x="62" y="8"/>
                        </a:lnTo>
                        <a:lnTo>
                          <a:pt x="0" y="8"/>
                        </a:lnTo>
                        <a:lnTo>
                          <a:pt x="6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4" name="vMap : Canada (Offshore)">
                    <a:extLst>
                      <a:ext uri="{FF2B5EF4-FFF2-40B4-BE49-F238E27FC236}">
                        <a16:creationId xmlns:a16="http://schemas.microsoft.com/office/drawing/2014/main" xmlns="" id="{B0749272-0E3B-C449-A516-FB007B7422F4}"/>
                      </a:ext>
                    </a:extLst>
                  </p:cNvPr>
                  <p:cNvSpPr>
                    <a:spLocks noChangeAspect="1"/>
                  </p:cNvSpPr>
                  <p:nvPr>
                    <p:custDataLst>
                      <p:tags r:id="rId200"/>
                    </p:custDataLst>
                  </p:nvPr>
                </p:nvSpPr>
                <p:spPr bwMode="gray">
                  <a:xfrm>
                    <a:off x="2797272" y="712850"/>
                    <a:ext cx="99659" cy="25467"/>
                  </a:xfrm>
                  <a:custGeom>
                    <a:avLst/>
                    <a:gdLst>
                      <a:gd name="T0" fmla="*/ 18 w 66"/>
                      <a:gd name="T1" fmla="*/ 3 h 16"/>
                      <a:gd name="T2" fmla="*/ 15 w 66"/>
                      <a:gd name="T3" fmla="*/ 5 h 16"/>
                      <a:gd name="T4" fmla="*/ 0 w 66"/>
                      <a:gd name="T5" fmla="*/ 6 h 16"/>
                      <a:gd name="T6" fmla="*/ 0 w 66"/>
                      <a:gd name="T7" fmla="*/ 3 h 16"/>
                      <a:gd name="T8" fmla="*/ 12 w 66"/>
                      <a:gd name="T9" fmla="*/ 0 h 16"/>
                      <a:gd name="T10" fmla="*/ 24 w 66"/>
                      <a:gd name="T11" fmla="*/ 0 h 16"/>
                      <a:gd name="T12" fmla="*/ 18 w 66"/>
                      <a:gd name="T13" fmla="*/ 3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6" h="16">
                        <a:moveTo>
                          <a:pt x="50" y="8"/>
                        </a:moveTo>
                        <a:lnTo>
                          <a:pt x="40" y="12"/>
                        </a:lnTo>
                        <a:lnTo>
                          <a:pt x="0" y="16"/>
                        </a:lnTo>
                        <a:lnTo>
                          <a:pt x="0" y="8"/>
                        </a:lnTo>
                        <a:lnTo>
                          <a:pt x="32" y="0"/>
                        </a:lnTo>
                        <a:lnTo>
                          <a:pt x="66" y="0"/>
                        </a:lnTo>
                        <a:lnTo>
                          <a:pt x="50" y="8"/>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5" name="vMap : Canada (Offshore)">
                    <a:extLst>
                      <a:ext uri="{FF2B5EF4-FFF2-40B4-BE49-F238E27FC236}">
                        <a16:creationId xmlns:a16="http://schemas.microsoft.com/office/drawing/2014/main" xmlns="" id="{89923084-2B05-304A-8D0C-F53837CF6E04}"/>
                      </a:ext>
                    </a:extLst>
                  </p:cNvPr>
                  <p:cNvSpPr>
                    <a:spLocks noChangeAspect="1"/>
                  </p:cNvSpPr>
                  <p:nvPr>
                    <p:custDataLst>
                      <p:tags r:id="rId201"/>
                    </p:custDataLst>
                  </p:nvPr>
                </p:nvSpPr>
                <p:spPr bwMode="gray">
                  <a:xfrm>
                    <a:off x="3033962" y="677196"/>
                    <a:ext cx="134540" cy="50936"/>
                  </a:xfrm>
                  <a:custGeom>
                    <a:avLst/>
                    <a:gdLst>
                      <a:gd name="T0" fmla="*/ 32 w 88"/>
                      <a:gd name="T1" fmla="*/ 5 h 32"/>
                      <a:gd name="T2" fmla="*/ 33 w 88"/>
                      <a:gd name="T3" fmla="*/ 5 h 32"/>
                      <a:gd name="T4" fmla="*/ 29 w 88"/>
                      <a:gd name="T5" fmla="*/ 6 h 32"/>
                      <a:gd name="T6" fmla="*/ 30 w 88"/>
                      <a:gd name="T7" fmla="*/ 9 h 32"/>
                      <a:gd name="T8" fmla="*/ 22 w 88"/>
                      <a:gd name="T9" fmla="*/ 13 h 32"/>
                      <a:gd name="T10" fmla="*/ 20 w 88"/>
                      <a:gd name="T11" fmla="*/ 8 h 32"/>
                      <a:gd name="T12" fmla="*/ 0 w 88"/>
                      <a:gd name="T13" fmla="*/ 8 h 32"/>
                      <a:gd name="T14" fmla="*/ 0 w 88"/>
                      <a:gd name="T15" fmla="*/ 5 h 32"/>
                      <a:gd name="T16" fmla="*/ 9 w 88"/>
                      <a:gd name="T17" fmla="*/ 6 h 32"/>
                      <a:gd name="T18" fmla="*/ 7 w 88"/>
                      <a:gd name="T19" fmla="*/ 5 h 32"/>
                      <a:gd name="T20" fmla="*/ 11 w 88"/>
                      <a:gd name="T21" fmla="*/ 5 h 32"/>
                      <a:gd name="T22" fmla="*/ 4 w 88"/>
                      <a:gd name="T23" fmla="*/ 3 h 32"/>
                      <a:gd name="T24" fmla="*/ 7 w 88"/>
                      <a:gd name="T25" fmla="*/ 2 h 32"/>
                      <a:gd name="T26" fmla="*/ 3 w 88"/>
                      <a:gd name="T27" fmla="*/ 2 h 32"/>
                      <a:gd name="T28" fmla="*/ 14 w 88"/>
                      <a:gd name="T29" fmla="*/ 0 h 32"/>
                      <a:gd name="T30" fmla="*/ 16 w 88"/>
                      <a:gd name="T31" fmla="*/ 2 h 32"/>
                      <a:gd name="T32" fmla="*/ 22 w 88"/>
                      <a:gd name="T33" fmla="*/ 0 h 32"/>
                      <a:gd name="T34" fmla="*/ 32 w 88"/>
                      <a:gd name="T35" fmla="*/ 5 h 3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8" h="32">
                        <a:moveTo>
                          <a:pt x="84" y="12"/>
                        </a:moveTo>
                        <a:lnTo>
                          <a:pt x="88" y="12"/>
                        </a:lnTo>
                        <a:lnTo>
                          <a:pt x="76" y="16"/>
                        </a:lnTo>
                        <a:lnTo>
                          <a:pt x="80" y="24"/>
                        </a:lnTo>
                        <a:lnTo>
                          <a:pt x="58" y="32"/>
                        </a:lnTo>
                        <a:lnTo>
                          <a:pt x="54" y="20"/>
                        </a:lnTo>
                        <a:lnTo>
                          <a:pt x="0" y="20"/>
                        </a:lnTo>
                        <a:lnTo>
                          <a:pt x="0" y="12"/>
                        </a:lnTo>
                        <a:lnTo>
                          <a:pt x="24" y="16"/>
                        </a:lnTo>
                        <a:lnTo>
                          <a:pt x="20" y="12"/>
                        </a:lnTo>
                        <a:lnTo>
                          <a:pt x="30" y="12"/>
                        </a:lnTo>
                        <a:lnTo>
                          <a:pt x="12" y="8"/>
                        </a:lnTo>
                        <a:lnTo>
                          <a:pt x="20" y="4"/>
                        </a:lnTo>
                        <a:lnTo>
                          <a:pt x="8" y="4"/>
                        </a:lnTo>
                        <a:lnTo>
                          <a:pt x="38" y="0"/>
                        </a:lnTo>
                        <a:lnTo>
                          <a:pt x="42" y="4"/>
                        </a:lnTo>
                        <a:lnTo>
                          <a:pt x="58" y="0"/>
                        </a:lnTo>
                        <a:lnTo>
                          <a:pt x="84" y="12"/>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6" name="vMap : Canada (Offshore)">
                    <a:extLst>
                      <a:ext uri="{FF2B5EF4-FFF2-40B4-BE49-F238E27FC236}">
                        <a16:creationId xmlns:a16="http://schemas.microsoft.com/office/drawing/2014/main" xmlns="" id="{7A7CFCBB-6161-2244-AA57-9734F6F7F642}"/>
                      </a:ext>
                    </a:extLst>
                  </p:cNvPr>
                  <p:cNvSpPr>
                    <a:spLocks noChangeAspect="1"/>
                  </p:cNvSpPr>
                  <p:nvPr>
                    <p:custDataLst>
                      <p:tags r:id="rId202"/>
                    </p:custDataLst>
                  </p:nvPr>
                </p:nvSpPr>
                <p:spPr bwMode="gray">
                  <a:xfrm>
                    <a:off x="3185944" y="687383"/>
                    <a:ext cx="84711" cy="40749"/>
                  </a:xfrm>
                  <a:custGeom>
                    <a:avLst/>
                    <a:gdLst>
                      <a:gd name="T0" fmla="*/ 13 w 58"/>
                      <a:gd name="T1" fmla="*/ 9 h 24"/>
                      <a:gd name="T2" fmla="*/ 1 w 58"/>
                      <a:gd name="T3" fmla="*/ 11 h 24"/>
                      <a:gd name="T4" fmla="*/ 0 w 58"/>
                      <a:gd name="T5" fmla="*/ 7 h 24"/>
                      <a:gd name="T6" fmla="*/ 7 w 58"/>
                      <a:gd name="T7" fmla="*/ 7 h 24"/>
                      <a:gd name="T8" fmla="*/ 3 w 58"/>
                      <a:gd name="T9" fmla="*/ 2 h 24"/>
                      <a:gd name="T10" fmla="*/ 8 w 58"/>
                      <a:gd name="T11" fmla="*/ 0 h 24"/>
                      <a:gd name="T12" fmla="*/ 16 w 58"/>
                      <a:gd name="T13" fmla="*/ 2 h 24"/>
                      <a:gd name="T14" fmla="*/ 20 w 58"/>
                      <a:gd name="T15" fmla="*/ 3 h 24"/>
                      <a:gd name="T16" fmla="*/ 13 w 58"/>
                      <a:gd name="T17" fmla="*/ 9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8" h="24">
                        <a:moveTo>
                          <a:pt x="38" y="20"/>
                        </a:moveTo>
                        <a:lnTo>
                          <a:pt x="4" y="24"/>
                        </a:lnTo>
                        <a:lnTo>
                          <a:pt x="0" y="16"/>
                        </a:lnTo>
                        <a:lnTo>
                          <a:pt x="20" y="16"/>
                        </a:lnTo>
                        <a:lnTo>
                          <a:pt x="8" y="4"/>
                        </a:lnTo>
                        <a:lnTo>
                          <a:pt x="22" y="0"/>
                        </a:lnTo>
                        <a:lnTo>
                          <a:pt x="46" y="4"/>
                        </a:lnTo>
                        <a:lnTo>
                          <a:pt x="58" y="8"/>
                        </a:lnTo>
                        <a:lnTo>
                          <a:pt x="38" y="2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7" name="vMap : Canada (Offshore)">
                    <a:extLst>
                      <a:ext uri="{FF2B5EF4-FFF2-40B4-BE49-F238E27FC236}">
                        <a16:creationId xmlns:a16="http://schemas.microsoft.com/office/drawing/2014/main" xmlns="" id="{EBBB27C3-8CCD-B14C-8E66-CF6587681F3F}"/>
                      </a:ext>
                    </a:extLst>
                  </p:cNvPr>
                  <p:cNvSpPr>
                    <a:spLocks noChangeAspect="1"/>
                  </p:cNvSpPr>
                  <p:nvPr>
                    <p:custDataLst>
                      <p:tags r:id="rId203"/>
                    </p:custDataLst>
                  </p:nvPr>
                </p:nvSpPr>
                <p:spPr bwMode="gray">
                  <a:xfrm>
                    <a:off x="2852084" y="852924"/>
                    <a:ext cx="174404" cy="91685"/>
                  </a:xfrm>
                  <a:custGeom>
                    <a:avLst/>
                    <a:gdLst>
                      <a:gd name="T0" fmla="*/ 34 w 113"/>
                      <a:gd name="T1" fmla="*/ 7 h 62"/>
                      <a:gd name="T2" fmla="*/ 37 w 113"/>
                      <a:gd name="T3" fmla="*/ 12 h 62"/>
                      <a:gd name="T4" fmla="*/ 34 w 113"/>
                      <a:gd name="T5" fmla="*/ 12 h 62"/>
                      <a:gd name="T6" fmla="*/ 31 w 113"/>
                      <a:gd name="T7" fmla="*/ 16 h 62"/>
                      <a:gd name="T8" fmla="*/ 17 w 113"/>
                      <a:gd name="T9" fmla="*/ 18 h 62"/>
                      <a:gd name="T10" fmla="*/ 17 w 113"/>
                      <a:gd name="T11" fmla="*/ 20 h 62"/>
                      <a:gd name="T12" fmla="*/ 13 w 113"/>
                      <a:gd name="T13" fmla="*/ 21 h 62"/>
                      <a:gd name="T14" fmla="*/ 9 w 113"/>
                      <a:gd name="T15" fmla="*/ 16 h 62"/>
                      <a:gd name="T16" fmla="*/ 0 w 113"/>
                      <a:gd name="T17" fmla="*/ 9 h 62"/>
                      <a:gd name="T18" fmla="*/ 6 w 113"/>
                      <a:gd name="T19" fmla="*/ 8 h 62"/>
                      <a:gd name="T20" fmla="*/ 7 w 113"/>
                      <a:gd name="T21" fmla="*/ 10 h 62"/>
                      <a:gd name="T22" fmla="*/ 15 w 113"/>
                      <a:gd name="T23" fmla="*/ 9 h 62"/>
                      <a:gd name="T24" fmla="*/ 16 w 113"/>
                      <a:gd name="T25" fmla="*/ 3 h 62"/>
                      <a:gd name="T26" fmla="*/ 25 w 113"/>
                      <a:gd name="T27" fmla="*/ 0 h 62"/>
                      <a:gd name="T28" fmla="*/ 42 w 113"/>
                      <a:gd name="T29" fmla="*/ 0 h 62"/>
                      <a:gd name="T30" fmla="*/ 43 w 113"/>
                      <a:gd name="T31" fmla="*/ 1 h 62"/>
                      <a:gd name="T32" fmla="*/ 38 w 113"/>
                      <a:gd name="T33" fmla="*/ 3 h 62"/>
                      <a:gd name="T34" fmla="*/ 38 w 113"/>
                      <a:gd name="T35" fmla="*/ 5 h 62"/>
                      <a:gd name="T36" fmla="*/ 34 w 113"/>
                      <a:gd name="T37" fmla="*/ 7 h 6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3" h="62">
                        <a:moveTo>
                          <a:pt x="88" y="20"/>
                        </a:moveTo>
                        <a:lnTo>
                          <a:pt x="96" y="34"/>
                        </a:lnTo>
                        <a:lnTo>
                          <a:pt x="88" y="34"/>
                        </a:lnTo>
                        <a:lnTo>
                          <a:pt x="80" y="46"/>
                        </a:lnTo>
                        <a:lnTo>
                          <a:pt x="46" y="54"/>
                        </a:lnTo>
                        <a:lnTo>
                          <a:pt x="46" y="58"/>
                        </a:lnTo>
                        <a:lnTo>
                          <a:pt x="34" y="62"/>
                        </a:lnTo>
                        <a:lnTo>
                          <a:pt x="22" y="46"/>
                        </a:lnTo>
                        <a:lnTo>
                          <a:pt x="0" y="26"/>
                        </a:lnTo>
                        <a:lnTo>
                          <a:pt x="14" y="24"/>
                        </a:lnTo>
                        <a:lnTo>
                          <a:pt x="18" y="30"/>
                        </a:lnTo>
                        <a:lnTo>
                          <a:pt x="38" y="26"/>
                        </a:lnTo>
                        <a:lnTo>
                          <a:pt x="42" y="8"/>
                        </a:lnTo>
                        <a:lnTo>
                          <a:pt x="64" y="0"/>
                        </a:lnTo>
                        <a:lnTo>
                          <a:pt x="109" y="0"/>
                        </a:lnTo>
                        <a:lnTo>
                          <a:pt x="113" y="4"/>
                        </a:lnTo>
                        <a:lnTo>
                          <a:pt x="98" y="8"/>
                        </a:lnTo>
                        <a:lnTo>
                          <a:pt x="98" y="16"/>
                        </a:lnTo>
                        <a:lnTo>
                          <a:pt x="88" y="2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8" name="vMap : Canada (Offshore)">
                    <a:extLst>
                      <a:ext uri="{FF2B5EF4-FFF2-40B4-BE49-F238E27FC236}">
                        <a16:creationId xmlns:a16="http://schemas.microsoft.com/office/drawing/2014/main" xmlns="" id="{24D981FF-CBB4-8149-AFDC-4AC5795F87CC}"/>
                      </a:ext>
                    </a:extLst>
                  </p:cNvPr>
                  <p:cNvSpPr>
                    <a:spLocks noChangeAspect="1"/>
                  </p:cNvSpPr>
                  <p:nvPr>
                    <p:custDataLst>
                      <p:tags r:id="rId204"/>
                    </p:custDataLst>
                  </p:nvPr>
                </p:nvSpPr>
                <p:spPr bwMode="gray">
                  <a:xfrm>
                    <a:off x="3151063" y="748505"/>
                    <a:ext cx="366249" cy="84044"/>
                  </a:xfrm>
                  <a:custGeom>
                    <a:avLst/>
                    <a:gdLst>
                      <a:gd name="T0" fmla="*/ 15 w 241"/>
                      <a:gd name="T1" fmla="*/ 0 h 54"/>
                      <a:gd name="T2" fmla="*/ 0 w 241"/>
                      <a:gd name="T3" fmla="*/ 1 h 54"/>
                      <a:gd name="T4" fmla="*/ 6 w 241"/>
                      <a:gd name="T5" fmla="*/ 6 h 54"/>
                      <a:gd name="T6" fmla="*/ 18 w 241"/>
                      <a:gd name="T7" fmla="*/ 6 h 54"/>
                      <a:gd name="T8" fmla="*/ 17 w 241"/>
                      <a:gd name="T9" fmla="*/ 12 h 54"/>
                      <a:gd name="T10" fmla="*/ 12 w 241"/>
                      <a:gd name="T11" fmla="*/ 15 h 54"/>
                      <a:gd name="T12" fmla="*/ 15 w 241"/>
                      <a:gd name="T13" fmla="*/ 17 h 54"/>
                      <a:gd name="T14" fmla="*/ 10 w 241"/>
                      <a:gd name="T15" fmla="*/ 17 h 54"/>
                      <a:gd name="T16" fmla="*/ 12 w 241"/>
                      <a:gd name="T17" fmla="*/ 19 h 54"/>
                      <a:gd name="T18" fmla="*/ 17 w 241"/>
                      <a:gd name="T19" fmla="*/ 17 h 54"/>
                      <a:gd name="T20" fmla="*/ 21 w 241"/>
                      <a:gd name="T21" fmla="*/ 20 h 54"/>
                      <a:gd name="T22" fmla="*/ 30 w 241"/>
                      <a:gd name="T23" fmla="*/ 17 h 54"/>
                      <a:gd name="T24" fmla="*/ 45 w 241"/>
                      <a:gd name="T25" fmla="*/ 20 h 54"/>
                      <a:gd name="T26" fmla="*/ 30 w 241"/>
                      <a:gd name="T27" fmla="*/ 17 h 54"/>
                      <a:gd name="T28" fmla="*/ 30 w 241"/>
                      <a:gd name="T29" fmla="*/ 20 h 54"/>
                      <a:gd name="T30" fmla="*/ 51 w 241"/>
                      <a:gd name="T31" fmla="*/ 20 h 54"/>
                      <a:gd name="T32" fmla="*/ 60 w 241"/>
                      <a:gd name="T33" fmla="*/ 20 h 54"/>
                      <a:gd name="T34" fmla="*/ 65 w 241"/>
                      <a:gd name="T35" fmla="*/ 17 h 54"/>
                      <a:gd name="T36" fmla="*/ 63 w 241"/>
                      <a:gd name="T37" fmla="*/ 17 h 54"/>
                      <a:gd name="T38" fmla="*/ 70 w 241"/>
                      <a:gd name="T39" fmla="*/ 20 h 54"/>
                      <a:gd name="T40" fmla="*/ 82 w 241"/>
                      <a:gd name="T41" fmla="*/ 20 h 54"/>
                      <a:gd name="T42" fmla="*/ 83 w 241"/>
                      <a:gd name="T43" fmla="*/ 17 h 54"/>
                      <a:gd name="T44" fmla="*/ 90 w 241"/>
                      <a:gd name="T45" fmla="*/ 13 h 54"/>
                      <a:gd name="T46" fmla="*/ 79 w 241"/>
                      <a:gd name="T47" fmla="*/ 9 h 54"/>
                      <a:gd name="T48" fmla="*/ 54 w 241"/>
                      <a:gd name="T49" fmla="*/ 13 h 54"/>
                      <a:gd name="T50" fmla="*/ 37 w 241"/>
                      <a:gd name="T51" fmla="*/ 10 h 54"/>
                      <a:gd name="T52" fmla="*/ 35 w 241"/>
                      <a:gd name="T53" fmla="*/ 13 h 54"/>
                      <a:gd name="T54" fmla="*/ 30 w 241"/>
                      <a:gd name="T55" fmla="*/ 12 h 54"/>
                      <a:gd name="T56" fmla="*/ 36 w 241"/>
                      <a:gd name="T57" fmla="*/ 9 h 54"/>
                      <a:gd name="T58" fmla="*/ 23 w 241"/>
                      <a:gd name="T59" fmla="*/ 9 h 54"/>
                      <a:gd name="T60" fmla="*/ 32 w 241"/>
                      <a:gd name="T61" fmla="*/ 9 h 54"/>
                      <a:gd name="T62" fmla="*/ 26 w 241"/>
                      <a:gd name="T63" fmla="*/ 7 h 54"/>
                      <a:gd name="T64" fmla="*/ 40 w 241"/>
                      <a:gd name="T65" fmla="*/ 6 h 54"/>
                      <a:gd name="T66" fmla="*/ 29 w 241"/>
                      <a:gd name="T67" fmla="*/ 4 h 54"/>
                      <a:gd name="T68" fmla="*/ 36 w 241"/>
                      <a:gd name="T69" fmla="*/ 4 h 54"/>
                      <a:gd name="T70" fmla="*/ 32 w 241"/>
                      <a:gd name="T71" fmla="*/ 1 h 54"/>
                      <a:gd name="T72" fmla="*/ 16 w 241"/>
                      <a:gd name="T73" fmla="*/ 4 h 54"/>
                      <a:gd name="T74" fmla="*/ 21 w 241"/>
                      <a:gd name="T75" fmla="*/ 1 h 54"/>
                      <a:gd name="T76" fmla="*/ 15 w 241"/>
                      <a:gd name="T77" fmla="*/ 0 h 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41" h="54">
                        <a:moveTo>
                          <a:pt x="40" y="0"/>
                        </a:moveTo>
                        <a:lnTo>
                          <a:pt x="0" y="4"/>
                        </a:lnTo>
                        <a:lnTo>
                          <a:pt x="16" y="16"/>
                        </a:lnTo>
                        <a:lnTo>
                          <a:pt x="50" y="16"/>
                        </a:lnTo>
                        <a:lnTo>
                          <a:pt x="46" y="32"/>
                        </a:lnTo>
                        <a:lnTo>
                          <a:pt x="32" y="40"/>
                        </a:lnTo>
                        <a:lnTo>
                          <a:pt x="40" y="44"/>
                        </a:lnTo>
                        <a:lnTo>
                          <a:pt x="28" y="46"/>
                        </a:lnTo>
                        <a:lnTo>
                          <a:pt x="32" y="50"/>
                        </a:lnTo>
                        <a:lnTo>
                          <a:pt x="46" y="46"/>
                        </a:lnTo>
                        <a:lnTo>
                          <a:pt x="58" y="54"/>
                        </a:lnTo>
                        <a:lnTo>
                          <a:pt x="82" y="46"/>
                        </a:lnTo>
                        <a:lnTo>
                          <a:pt x="120" y="54"/>
                        </a:lnTo>
                        <a:lnTo>
                          <a:pt x="82" y="46"/>
                        </a:lnTo>
                        <a:lnTo>
                          <a:pt x="82" y="54"/>
                        </a:lnTo>
                        <a:lnTo>
                          <a:pt x="136" y="54"/>
                        </a:lnTo>
                        <a:lnTo>
                          <a:pt x="161" y="54"/>
                        </a:lnTo>
                        <a:lnTo>
                          <a:pt x="173" y="46"/>
                        </a:lnTo>
                        <a:lnTo>
                          <a:pt x="169" y="44"/>
                        </a:lnTo>
                        <a:lnTo>
                          <a:pt x="189" y="54"/>
                        </a:lnTo>
                        <a:lnTo>
                          <a:pt x="219" y="54"/>
                        </a:lnTo>
                        <a:lnTo>
                          <a:pt x="223" y="44"/>
                        </a:lnTo>
                        <a:lnTo>
                          <a:pt x="241" y="36"/>
                        </a:lnTo>
                        <a:lnTo>
                          <a:pt x="211" y="24"/>
                        </a:lnTo>
                        <a:lnTo>
                          <a:pt x="146" y="36"/>
                        </a:lnTo>
                        <a:lnTo>
                          <a:pt x="100" y="28"/>
                        </a:lnTo>
                        <a:lnTo>
                          <a:pt x="94" y="36"/>
                        </a:lnTo>
                        <a:lnTo>
                          <a:pt x="82" y="32"/>
                        </a:lnTo>
                        <a:lnTo>
                          <a:pt x="96" y="24"/>
                        </a:lnTo>
                        <a:lnTo>
                          <a:pt x="62" y="24"/>
                        </a:lnTo>
                        <a:lnTo>
                          <a:pt x="86" y="24"/>
                        </a:lnTo>
                        <a:lnTo>
                          <a:pt x="70" y="20"/>
                        </a:lnTo>
                        <a:lnTo>
                          <a:pt x="108" y="16"/>
                        </a:lnTo>
                        <a:lnTo>
                          <a:pt x="78" y="12"/>
                        </a:lnTo>
                        <a:lnTo>
                          <a:pt x="96" y="12"/>
                        </a:lnTo>
                        <a:lnTo>
                          <a:pt x="86" y="4"/>
                        </a:lnTo>
                        <a:lnTo>
                          <a:pt x="44" y="12"/>
                        </a:lnTo>
                        <a:lnTo>
                          <a:pt x="58" y="4"/>
                        </a:lnTo>
                        <a:lnTo>
                          <a:pt x="40"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09" name="vMap : Canada (Offshore)">
                    <a:extLst>
                      <a:ext uri="{FF2B5EF4-FFF2-40B4-BE49-F238E27FC236}">
                        <a16:creationId xmlns:a16="http://schemas.microsoft.com/office/drawing/2014/main" xmlns="" id="{7DD4786F-1CCA-6F4A-A035-A7DCC2FFAEE9}"/>
                      </a:ext>
                    </a:extLst>
                  </p:cNvPr>
                  <p:cNvSpPr>
                    <a:spLocks noChangeAspect="1"/>
                  </p:cNvSpPr>
                  <p:nvPr>
                    <p:custDataLst>
                      <p:tags r:id="rId205"/>
                    </p:custDataLst>
                  </p:nvPr>
                </p:nvSpPr>
                <p:spPr bwMode="gray">
                  <a:xfrm>
                    <a:off x="3542225" y="1298611"/>
                    <a:ext cx="24915" cy="12734"/>
                  </a:xfrm>
                  <a:custGeom>
                    <a:avLst/>
                    <a:gdLst>
                      <a:gd name="T0" fmla="*/ 5 w 16"/>
                      <a:gd name="T1" fmla="*/ 0 h 8"/>
                      <a:gd name="T2" fmla="*/ 6 w 16"/>
                      <a:gd name="T3" fmla="*/ 3 h 8"/>
                      <a:gd name="T4" fmla="*/ 0 w 16"/>
                      <a:gd name="T5" fmla="*/ 2 h 8"/>
                      <a:gd name="T6" fmla="*/ 5 w 16"/>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 h="8">
                        <a:moveTo>
                          <a:pt x="12" y="0"/>
                        </a:moveTo>
                        <a:lnTo>
                          <a:pt x="16" y="8"/>
                        </a:lnTo>
                        <a:lnTo>
                          <a:pt x="0" y="4"/>
                        </a:lnTo>
                        <a:lnTo>
                          <a:pt x="1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0" name="vMap : Canada (Offshore)">
                    <a:extLst>
                      <a:ext uri="{FF2B5EF4-FFF2-40B4-BE49-F238E27FC236}">
                        <a16:creationId xmlns:a16="http://schemas.microsoft.com/office/drawing/2014/main" xmlns="" id="{E443730F-7211-7642-A2E8-A26BD4B633C1}"/>
                      </a:ext>
                    </a:extLst>
                  </p:cNvPr>
                  <p:cNvSpPr>
                    <a:spLocks noChangeAspect="1"/>
                  </p:cNvSpPr>
                  <p:nvPr>
                    <p:custDataLst>
                      <p:tags r:id="rId206"/>
                    </p:custDataLst>
                  </p:nvPr>
                </p:nvSpPr>
                <p:spPr bwMode="gray">
                  <a:xfrm>
                    <a:off x="3425126" y="863110"/>
                    <a:ext cx="109625" cy="22922"/>
                  </a:xfrm>
                  <a:custGeom>
                    <a:avLst/>
                    <a:gdLst>
                      <a:gd name="T0" fmla="*/ 16 w 72"/>
                      <a:gd name="T1" fmla="*/ 0 h 16"/>
                      <a:gd name="T2" fmla="*/ 24 w 72"/>
                      <a:gd name="T3" fmla="*/ 0 h 16"/>
                      <a:gd name="T4" fmla="*/ 27 w 72"/>
                      <a:gd name="T5" fmla="*/ 5 h 16"/>
                      <a:gd name="T6" fmla="*/ 1 w 72"/>
                      <a:gd name="T7" fmla="*/ 5 h 16"/>
                      <a:gd name="T8" fmla="*/ 0 w 72"/>
                      <a:gd name="T9" fmla="*/ 3 h 16"/>
                      <a:gd name="T10" fmla="*/ 3 w 72"/>
                      <a:gd name="T11" fmla="*/ 0 h 16"/>
                      <a:gd name="T12" fmla="*/ 16 w 72"/>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2" h="16">
                        <a:moveTo>
                          <a:pt x="42" y="0"/>
                        </a:moveTo>
                        <a:lnTo>
                          <a:pt x="64" y="0"/>
                        </a:lnTo>
                        <a:lnTo>
                          <a:pt x="72" y="16"/>
                        </a:lnTo>
                        <a:lnTo>
                          <a:pt x="4" y="16"/>
                        </a:lnTo>
                        <a:lnTo>
                          <a:pt x="0" y="8"/>
                        </a:lnTo>
                        <a:lnTo>
                          <a:pt x="8" y="0"/>
                        </a:lnTo>
                        <a:lnTo>
                          <a:pt x="4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1" name="vMap : Canada (Offshore)">
                    <a:extLst>
                      <a:ext uri="{FF2B5EF4-FFF2-40B4-BE49-F238E27FC236}">
                        <a16:creationId xmlns:a16="http://schemas.microsoft.com/office/drawing/2014/main" xmlns="" id="{1D893E0E-F283-8C47-AE2E-8E5EE4AEDB69}"/>
                      </a:ext>
                    </a:extLst>
                  </p:cNvPr>
                  <p:cNvSpPr>
                    <a:spLocks noChangeAspect="1"/>
                  </p:cNvSpPr>
                  <p:nvPr>
                    <p:custDataLst>
                      <p:tags r:id="rId207"/>
                    </p:custDataLst>
                  </p:nvPr>
                </p:nvSpPr>
                <p:spPr bwMode="gray">
                  <a:xfrm>
                    <a:off x="3215841" y="654274"/>
                    <a:ext cx="29898" cy="7640"/>
                  </a:xfrm>
                  <a:custGeom>
                    <a:avLst/>
                    <a:gdLst>
                      <a:gd name="T0" fmla="*/ 4 w 20"/>
                      <a:gd name="T1" fmla="*/ 0 h 3"/>
                      <a:gd name="T2" fmla="*/ 7 w 20"/>
                      <a:gd name="T3" fmla="*/ 3 h 3"/>
                      <a:gd name="T4" fmla="*/ 0 w 20"/>
                      <a:gd name="T5" fmla="*/ 3 h 3"/>
                      <a:gd name="T6" fmla="*/ 4 w 20"/>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3">
                        <a:moveTo>
                          <a:pt x="12" y="0"/>
                        </a:moveTo>
                        <a:lnTo>
                          <a:pt x="20" y="3"/>
                        </a:lnTo>
                        <a:lnTo>
                          <a:pt x="0" y="3"/>
                        </a:lnTo>
                        <a:lnTo>
                          <a:pt x="1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2" name="vMap : Canada (Offshore)">
                    <a:extLst>
                      <a:ext uri="{FF2B5EF4-FFF2-40B4-BE49-F238E27FC236}">
                        <a16:creationId xmlns:a16="http://schemas.microsoft.com/office/drawing/2014/main" xmlns="" id="{BAD8A410-1F18-D44C-AB27-F2725230A555}"/>
                      </a:ext>
                    </a:extLst>
                  </p:cNvPr>
                  <p:cNvSpPr>
                    <a:spLocks noChangeAspect="1"/>
                  </p:cNvSpPr>
                  <p:nvPr>
                    <p:custDataLst>
                      <p:tags r:id="rId208"/>
                    </p:custDataLst>
                  </p:nvPr>
                </p:nvSpPr>
                <p:spPr bwMode="gray">
                  <a:xfrm>
                    <a:off x="2954234" y="756146"/>
                    <a:ext cx="169421" cy="61123"/>
                  </a:xfrm>
                  <a:custGeom>
                    <a:avLst/>
                    <a:gdLst>
                      <a:gd name="T0" fmla="*/ 0 w 107"/>
                      <a:gd name="T1" fmla="*/ 8 h 40"/>
                      <a:gd name="T2" fmla="*/ 13 w 107"/>
                      <a:gd name="T3" fmla="*/ 7 h 40"/>
                      <a:gd name="T4" fmla="*/ 11 w 107"/>
                      <a:gd name="T5" fmla="*/ 4 h 40"/>
                      <a:gd name="T6" fmla="*/ 17 w 107"/>
                      <a:gd name="T7" fmla="*/ 3 h 40"/>
                      <a:gd name="T8" fmla="*/ 25 w 107"/>
                      <a:gd name="T9" fmla="*/ 6 h 40"/>
                      <a:gd name="T10" fmla="*/ 22 w 107"/>
                      <a:gd name="T11" fmla="*/ 3 h 40"/>
                      <a:gd name="T12" fmla="*/ 28 w 107"/>
                      <a:gd name="T13" fmla="*/ 1 h 40"/>
                      <a:gd name="T14" fmla="*/ 40 w 107"/>
                      <a:gd name="T15" fmla="*/ 0 h 40"/>
                      <a:gd name="T16" fmla="*/ 43 w 107"/>
                      <a:gd name="T17" fmla="*/ 3 h 40"/>
                      <a:gd name="T18" fmla="*/ 38 w 107"/>
                      <a:gd name="T19" fmla="*/ 6 h 40"/>
                      <a:gd name="T20" fmla="*/ 34 w 107"/>
                      <a:gd name="T21" fmla="*/ 7 h 40"/>
                      <a:gd name="T22" fmla="*/ 37 w 107"/>
                      <a:gd name="T23" fmla="*/ 7 h 40"/>
                      <a:gd name="T24" fmla="*/ 32 w 107"/>
                      <a:gd name="T25" fmla="*/ 11 h 40"/>
                      <a:gd name="T26" fmla="*/ 32 w 107"/>
                      <a:gd name="T27" fmla="*/ 8 h 40"/>
                      <a:gd name="T28" fmla="*/ 28 w 107"/>
                      <a:gd name="T29" fmla="*/ 11 h 40"/>
                      <a:gd name="T30" fmla="*/ 28 w 107"/>
                      <a:gd name="T31" fmla="*/ 13 h 40"/>
                      <a:gd name="T32" fmla="*/ 25 w 107"/>
                      <a:gd name="T33" fmla="*/ 14 h 40"/>
                      <a:gd name="T34" fmla="*/ 10 w 107"/>
                      <a:gd name="T35" fmla="*/ 14 h 40"/>
                      <a:gd name="T36" fmla="*/ 13 w 107"/>
                      <a:gd name="T37" fmla="*/ 11 h 40"/>
                      <a:gd name="T38" fmla="*/ 12 w 107"/>
                      <a:gd name="T39" fmla="*/ 10 h 40"/>
                      <a:gd name="T40" fmla="*/ 0 w 107"/>
                      <a:gd name="T41" fmla="*/ 8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7" h="40">
                        <a:moveTo>
                          <a:pt x="0" y="24"/>
                        </a:moveTo>
                        <a:lnTo>
                          <a:pt x="33" y="20"/>
                        </a:lnTo>
                        <a:lnTo>
                          <a:pt x="28" y="12"/>
                        </a:lnTo>
                        <a:lnTo>
                          <a:pt x="41" y="8"/>
                        </a:lnTo>
                        <a:lnTo>
                          <a:pt x="61" y="16"/>
                        </a:lnTo>
                        <a:lnTo>
                          <a:pt x="53" y="8"/>
                        </a:lnTo>
                        <a:lnTo>
                          <a:pt x="69" y="4"/>
                        </a:lnTo>
                        <a:lnTo>
                          <a:pt x="99" y="0"/>
                        </a:lnTo>
                        <a:lnTo>
                          <a:pt x="107" y="8"/>
                        </a:lnTo>
                        <a:lnTo>
                          <a:pt x="95" y="16"/>
                        </a:lnTo>
                        <a:lnTo>
                          <a:pt x="83" y="20"/>
                        </a:lnTo>
                        <a:lnTo>
                          <a:pt x="91" y="20"/>
                        </a:lnTo>
                        <a:lnTo>
                          <a:pt x="79" y="32"/>
                        </a:lnTo>
                        <a:lnTo>
                          <a:pt x="79" y="24"/>
                        </a:lnTo>
                        <a:lnTo>
                          <a:pt x="69" y="32"/>
                        </a:lnTo>
                        <a:lnTo>
                          <a:pt x="69" y="36"/>
                        </a:lnTo>
                        <a:lnTo>
                          <a:pt x="61" y="40"/>
                        </a:lnTo>
                        <a:lnTo>
                          <a:pt x="24" y="40"/>
                        </a:lnTo>
                        <a:lnTo>
                          <a:pt x="33" y="32"/>
                        </a:lnTo>
                        <a:lnTo>
                          <a:pt x="30" y="28"/>
                        </a:lnTo>
                        <a:lnTo>
                          <a:pt x="0" y="24"/>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3" name="vMap : Canada (Offshore)">
                    <a:extLst>
                      <a:ext uri="{FF2B5EF4-FFF2-40B4-BE49-F238E27FC236}">
                        <a16:creationId xmlns:a16="http://schemas.microsoft.com/office/drawing/2014/main" xmlns="" id="{790FEDBD-2639-324D-BD49-B3ADB7A11685}"/>
                      </a:ext>
                    </a:extLst>
                  </p:cNvPr>
                  <p:cNvSpPr>
                    <a:spLocks noChangeAspect="1"/>
                  </p:cNvSpPr>
                  <p:nvPr>
                    <p:custDataLst>
                      <p:tags r:id="rId209"/>
                    </p:custDataLst>
                  </p:nvPr>
                </p:nvSpPr>
                <p:spPr bwMode="gray">
                  <a:xfrm>
                    <a:off x="2949251" y="761239"/>
                    <a:ext cx="39864" cy="12734"/>
                  </a:xfrm>
                  <a:custGeom>
                    <a:avLst/>
                    <a:gdLst>
                      <a:gd name="T0" fmla="*/ 5 w 24"/>
                      <a:gd name="T1" fmla="*/ 0 h 8"/>
                      <a:gd name="T2" fmla="*/ 11 w 24"/>
                      <a:gd name="T3" fmla="*/ 2 h 8"/>
                      <a:gd name="T4" fmla="*/ 0 w 24"/>
                      <a:gd name="T5" fmla="*/ 3 h 8"/>
                      <a:gd name="T6" fmla="*/ 0 w 24"/>
                      <a:gd name="T7" fmla="*/ 0 h 8"/>
                      <a:gd name="T8" fmla="*/ 5 w 24"/>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8">
                        <a:moveTo>
                          <a:pt x="12" y="0"/>
                        </a:moveTo>
                        <a:lnTo>
                          <a:pt x="24" y="4"/>
                        </a:lnTo>
                        <a:lnTo>
                          <a:pt x="0" y="8"/>
                        </a:lnTo>
                        <a:lnTo>
                          <a:pt x="0" y="0"/>
                        </a:lnTo>
                        <a:lnTo>
                          <a:pt x="12"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4" name="vMap : Canada (Offshore)">
                    <a:extLst>
                      <a:ext uri="{FF2B5EF4-FFF2-40B4-BE49-F238E27FC236}">
                        <a16:creationId xmlns:a16="http://schemas.microsoft.com/office/drawing/2014/main" xmlns="" id="{E9747A0D-F765-1845-9179-7DFAA7515F4E}"/>
                      </a:ext>
                    </a:extLst>
                  </p:cNvPr>
                  <p:cNvSpPr>
                    <a:spLocks noChangeAspect="1"/>
                  </p:cNvSpPr>
                  <p:nvPr>
                    <p:custDataLst>
                      <p:tags r:id="rId210"/>
                    </p:custDataLst>
                  </p:nvPr>
                </p:nvSpPr>
                <p:spPr bwMode="gray">
                  <a:xfrm>
                    <a:off x="2969183" y="728130"/>
                    <a:ext cx="24915" cy="15280"/>
                  </a:xfrm>
                  <a:custGeom>
                    <a:avLst/>
                    <a:gdLst>
                      <a:gd name="T0" fmla="*/ 6 w 16"/>
                      <a:gd name="T1" fmla="*/ 0 h 10"/>
                      <a:gd name="T2" fmla="*/ 6 w 16"/>
                      <a:gd name="T3" fmla="*/ 4 h 10"/>
                      <a:gd name="T4" fmla="*/ 0 w 16"/>
                      <a:gd name="T5" fmla="*/ 4 h 10"/>
                      <a:gd name="T6" fmla="*/ 2 w 16"/>
                      <a:gd name="T7" fmla="*/ 0 h 10"/>
                      <a:gd name="T8" fmla="*/ 6 w 16"/>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10">
                        <a:moveTo>
                          <a:pt x="16" y="0"/>
                        </a:moveTo>
                        <a:lnTo>
                          <a:pt x="16" y="10"/>
                        </a:lnTo>
                        <a:lnTo>
                          <a:pt x="0" y="10"/>
                        </a:lnTo>
                        <a:lnTo>
                          <a:pt x="4" y="0"/>
                        </a:lnTo>
                        <a:lnTo>
                          <a:pt x="16"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5" name="vMap : Canada (Offshore)">
                    <a:extLst>
                      <a:ext uri="{FF2B5EF4-FFF2-40B4-BE49-F238E27FC236}">
                        <a16:creationId xmlns:a16="http://schemas.microsoft.com/office/drawing/2014/main" xmlns="" id="{C68377F5-F447-9A4D-A7D7-7EBC1E67991F}"/>
                      </a:ext>
                    </a:extLst>
                  </p:cNvPr>
                  <p:cNvSpPr>
                    <a:spLocks noChangeAspect="1"/>
                  </p:cNvSpPr>
                  <p:nvPr>
                    <p:custDataLst>
                      <p:tags r:id="rId211"/>
                    </p:custDataLst>
                  </p:nvPr>
                </p:nvSpPr>
                <p:spPr bwMode="gray">
                  <a:xfrm>
                    <a:off x="3093758" y="791801"/>
                    <a:ext cx="79728" cy="30562"/>
                  </a:xfrm>
                  <a:custGeom>
                    <a:avLst/>
                    <a:gdLst>
                      <a:gd name="T0" fmla="*/ 14 w 54"/>
                      <a:gd name="T1" fmla="*/ 0 h 18"/>
                      <a:gd name="T2" fmla="*/ 19 w 54"/>
                      <a:gd name="T3" fmla="*/ 3 h 18"/>
                      <a:gd name="T4" fmla="*/ 14 w 54"/>
                      <a:gd name="T5" fmla="*/ 8 h 18"/>
                      <a:gd name="T6" fmla="*/ 0 w 54"/>
                      <a:gd name="T7" fmla="*/ 7 h 18"/>
                      <a:gd name="T8" fmla="*/ 7 w 54"/>
                      <a:gd name="T9" fmla="*/ 3 h 18"/>
                      <a:gd name="T10" fmla="*/ 7 w 54"/>
                      <a:gd name="T11" fmla="*/ 2 h 18"/>
                      <a:gd name="T12" fmla="*/ 14 w 54"/>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 h="18">
                        <a:moveTo>
                          <a:pt x="38" y="0"/>
                        </a:moveTo>
                        <a:lnTo>
                          <a:pt x="54" y="8"/>
                        </a:lnTo>
                        <a:lnTo>
                          <a:pt x="38" y="18"/>
                        </a:lnTo>
                        <a:lnTo>
                          <a:pt x="0" y="16"/>
                        </a:lnTo>
                        <a:lnTo>
                          <a:pt x="20" y="8"/>
                        </a:lnTo>
                        <a:lnTo>
                          <a:pt x="20" y="4"/>
                        </a:lnTo>
                        <a:lnTo>
                          <a:pt x="38"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6" name="vMap : Canada (Offshore)">
                    <a:extLst>
                      <a:ext uri="{FF2B5EF4-FFF2-40B4-BE49-F238E27FC236}">
                        <a16:creationId xmlns:a16="http://schemas.microsoft.com/office/drawing/2014/main" xmlns="" id="{26199926-E8A6-0C43-BC28-20EADB2ED73C}"/>
                      </a:ext>
                    </a:extLst>
                  </p:cNvPr>
                  <p:cNvSpPr>
                    <a:spLocks noChangeAspect="1"/>
                  </p:cNvSpPr>
                  <p:nvPr>
                    <p:custDataLst>
                      <p:tags r:id="rId212"/>
                    </p:custDataLst>
                  </p:nvPr>
                </p:nvSpPr>
                <p:spPr bwMode="gray">
                  <a:xfrm>
                    <a:off x="3208366" y="728130"/>
                    <a:ext cx="67271" cy="10187"/>
                  </a:xfrm>
                  <a:custGeom>
                    <a:avLst/>
                    <a:gdLst>
                      <a:gd name="T0" fmla="*/ 6 w 46"/>
                      <a:gd name="T1" fmla="*/ 0 h 8"/>
                      <a:gd name="T2" fmla="*/ 16 w 46"/>
                      <a:gd name="T3" fmla="*/ 0 h 8"/>
                      <a:gd name="T4" fmla="*/ 4 w 46"/>
                      <a:gd name="T5" fmla="*/ 2 h 8"/>
                      <a:gd name="T6" fmla="*/ 0 w 46"/>
                      <a:gd name="T7" fmla="*/ 0 h 8"/>
                      <a:gd name="T8" fmla="*/ 6 w 46"/>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6" h="8">
                        <a:moveTo>
                          <a:pt x="18" y="0"/>
                        </a:moveTo>
                        <a:lnTo>
                          <a:pt x="46" y="0"/>
                        </a:lnTo>
                        <a:lnTo>
                          <a:pt x="10" y="8"/>
                        </a:lnTo>
                        <a:lnTo>
                          <a:pt x="0" y="0"/>
                        </a:lnTo>
                        <a:lnTo>
                          <a:pt x="18" y="0"/>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7" name="vMap : Canada (Mainland)">
                    <a:extLst>
                      <a:ext uri="{FF2B5EF4-FFF2-40B4-BE49-F238E27FC236}">
                        <a16:creationId xmlns:a16="http://schemas.microsoft.com/office/drawing/2014/main" xmlns="" id="{C7B82FD3-B9AA-754D-B62B-B1174C69E812}"/>
                      </a:ext>
                    </a:extLst>
                  </p:cNvPr>
                  <p:cNvSpPr>
                    <a:spLocks noChangeAspect="1"/>
                  </p:cNvSpPr>
                  <p:nvPr>
                    <p:custDataLst>
                      <p:tags r:id="rId213"/>
                    </p:custDataLst>
                  </p:nvPr>
                </p:nvSpPr>
                <p:spPr bwMode="gray">
                  <a:xfrm>
                    <a:off x="1272481" y="919141"/>
                    <a:ext cx="2409269" cy="1194445"/>
                  </a:xfrm>
                  <a:custGeom>
                    <a:avLst/>
                    <a:gdLst>
                      <a:gd name="T0" fmla="*/ 336 w 1576"/>
                      <a:gd name="T1" fmla="*/ 133 h 761"/>
                      <a:gd name="T2" fmla="*/ 350 w 1576"/>
                      <a:gd name="T3" fmla="*/ 97 h 761"/>
                      <a:gd name="T4" fmla="*/ 376 w 1576"/>
                      <a:gd name="T5" fmla="*/ 84 h 761"/>
                      <a:gd name="T6" fmla="*/ 415 w 1576"/>
                      <a:gd name="T7" fmla="*/ 68 h 761"/>
                      <a:gd name="T8" fmla="*/ 441 w 1576"/>
                      <a:gd name="T9" fmla="*/ 47 h 761"/>
                      <a:gd name="T10" fmla="*/ 484 w 1576"/>
                      <a:gd name="T11" fmla="*/ 41 h 761"/>
                      <a:gd name="T12" fmla="*/ 496 w 1576"/>
                      <a:gd name="T13" fmla="*/ 25 h 761"/>
                      <a:gd name="T14" fmla="*/ 469 w 1576"/>
                      <a:gd name="T15" fmla="*/ 27 h 761"/>
                      <a:gd name="T16" fmla="*/ 445 w 1576"/>
                      <a:gd name="T17" fmla="*/ 30 h 761"/>
                      <a:gd name="T18" fmla="*/ 430 w 1576"/>
                      <a:gd name="T19" fmla="*/ 22 h 761"/>
                      <a:gd name="T20" fmla="*/ 432 w 1576"/>
                      <a:gd name="T21" fmla="*/ 9 h 761"/>
                      <a:gd name="T22" fmla="*/ 410 w 1576"/>
                      <a:gd name="T23" fmla="*/ 9 h 761"/>
                      <a:gd name="T24" fmla="*/ 410 w 1576"/>
                      <a:gd name="T25" fmla="*/ 29 h 761"/>
                      <a:gd name="T26" fmla="*/ 391 w 1576"/>
                      <a:gd name="T27" fmla="*/ 32 h 761"/>
                      <a:gd name="T28" fmla="*/ 382 w 1576"/>
                      <a:gd name="T29" fmla="*/ 33 h 761"/>
                      <a:gd name="T30" fmla="*/ 332 w 1576"/>
                      <a:gd name="T31" fmla="*/ 33 h 761"/>
                      <a:gd name="T32" fmla="*/ 306 w 1576"/>
                      <a:gd name="T33" fmla="*/ 42 h 761"/>
                      <a:gd name="T34" fmla="*/ 261 w 1576"/>
                      <a:gd name="T35" fmla="*/ 36 h 761"/>
                      <a:gd name="T36" fmla="*/ 235 w 1576"/>
                      <a:gd name="T37" fmla="*/ 17 h 761"/>
                      <a:gd name="T38" fmla="*/ 202 w 1576"/>
                      <a:gd name="T39" fmla="*/ 22 h 761"/>
                      <a:gd name="T40" fmla="*/ 15 w 1576"/>
                      <a:gd name="T41" fmla="*/ 106 h 761"/>
                      <a:gd name="T42" fmla="*/ 40 w 1576"/>
                      <a:gd name="T43" fmla="*/ 147 h 761"/>
                      <a:gd name="T44" fmla="*/ 19 w 1576"/>
                      <a:gd name="T45" fmla="*/ 190 h 761"/>
                      <a:gd name="T46" fmla="*/ 26 w 1576"/>
                      <a:gd name="T47" fmla="*/ 200 h 761"/>
                      <a:gd name="T48" fmla="*/ 40 w 1576"/>
                      <a:gd name="T49" fmla="*/ 209 h 761"/>
                      <a:gd name="T50" fmla="*/ 264 w 1576"/>
                      <a:gd name="T51" fmla="*/ 213 h 761"/>
                      <a:gd name="T52" fmla="*/ 321 w 1576"/>
                      <a:gd name="T53" fmla="*/ 218 h 761"/>
                      <a:gd name="T54" fmla="*/ 333 w 1576"/>
                      <a:gd name="T55" fmla="*/ 243 h 761"/>
                      <a:gd name="T56" fmla="*/ 355 w 1576"/>
                      <a:gd name="T57" fmla="*/ 263 h 761"/>
                      <a:gd name="T58" fmla="*/ 332 w 1576"/>
                      <a:gd name="T59" fmla="*/ 286 h 761"/>
                      <a:gd name="T60" fmla="*/ 363 w 1576"/>
                      <a:gd name="T61" fmla="*/ 276 h 761"/>
                      <a:gd name="T62" fmla="*/ 405 w 1576"/>
                      <a:gd name="T63" fmla="*/ 259 h 761"/>
                      <a:gd name="T64" fmla="*/ 466 w 1576"/>
                      <a:gd name="T65" fmla="*/ 251 h 761"/>
                      <a:gd name="T66" fmla="*/ 477 w 1576"/>
                      <a:gd name="T67" fmla="*/ 263 h 761"/>
                      <a:gd name="T68" fmla="*/ 498 w 1576"/>
                      <a:gd name="T69" fmla="*/ 261 h 761"/>
                      <a:gd name="T70" fmla="*/ 498 w 1576"/>
                      <a:gd name="T71" fmla="*/ 237 h 761"/>
                      <a:gd name="T72" fmla="*/ 509 w 1576"/>
                      <a:gd name="T73" fmla="*/ 216 h 761"/>
                      <a:gd name="T74" fmla="*/ 498 w 1576"/>
                      <a:gd name="T75" fmla="*/ 203 h 761"/>
                      <a:gd name="T76" fmla="*/ 590 w 1576"/>
                      <a:gd name="T77" fmla="*/ 183 h 761"/>
                      <a:gd name="T78" fmla="*/ 587 w 1576"/>
                      <a:gd name="T79" fmla="*/ 169 h 761"/>
                      <a:gd name="T80" fmla="*/ 560 w 1576"/>
                      <a:gd name="T81" fmla="*/ 172 h 761"/>
                      <a:gd name="T82" fmla="*/ 571 w 1576"/>
                      <a:gd name="T83" fmla="*/ 153 h 761"/>
                      <a:gd name="T84" fmla="*/ 563 w 1576"/>
                      <a:gd name="T85" fmla="*/ 139 h 761"/>
                      <a:gd name="T86" fmla="*/ 559 w 1576"/>
                      <a:gd name="T87" fmla="*/ 128 h 761"/>
                      <a:gd name="T88" fmla="*/ 563 w 1576"/>
                      <a:gd name="T89" fmla="*/ 115 h 761"/>
                      <a:gd name="T90" fmla="*/ 550 w 1576"/>
                      <a:gd name="T91" fmla="*/ 113 h 761"/>
                      <a:gd name="T92" fmla="*/ 526 w 1576"/>
                      <a:gd name="T93" fmla="*/ 122 h 761"/>
                      <a:gd name="T94" fmla="*/ 513 w 1576"/>
                      <a:gd name="T95" fmla="*/ 117 h 761"/>
                      <a:gd name="T96" fmla="*/ 520 w 1576"/>
                      <a:gd name="T97" fmla="*/ 109 h 761"/>
                      <a:gd name="T98" fmla="*/ 513 w 1576"/>
                      <a:gd name="T99" fmla="*/ 94 h 761"/>
                      <a:gd name="T100" fmla="*/ 504 w 1576"/>
                      <a:gd name="T101" fmla="*/ 84 h 761"/>
                      <a:gd name="T102" fmla="*/ 462 w 1576"/>
                      <a:gd name="T103" fmla="*/ 100 h 761"/>
                      <a:gd name="T104" fmla="*/ 462 w 1576"/>
                      <a:gd name="T105" fmla="*/ 110 h 761"/>
                      <a:gd name="T106" fmla="*/ 452 w 1576"/>
                      <a:gd name="T107" fmla="*/ 125 h 761"/>
                      <a:gd name="T108" fmla="*/ 410 w 1576"/>
                      <a:gd name="T109" fmla="*/ 182 h 761"/>
                      <a:gd name="T110" fmla="*/ 395 w 1576"/>
                      <a:gd name="T111" fmla="*/ 196 h 76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576" h="761">
                        <a:moveTo>
                          <a:pt x="998" y="404"/>
                        </a:moveTo>
                        <a:lnTo>
                          <a:pt x="960" y="390"/>
                        </a:lnTo>
                        <a:lnTo>
                          <a:pt x="944" y="367"/>
                        </a:lnTo>
                        <a:lnTo>
                          <a:pt x="914" y="357"/>
                        </a:lnTo>
                        <a:lnTo>
                          <a:pt x="877" y="363"/>
                        </a:lnTo>
                        <a:lnTo>
                          <a:pt x="892" y="349"/>
                        </a:lnTo>
                        <a:lnTo>
                          <a:pt x="898" y="317"/>
                        </a:lnTo>
                        <a:lnTo>
                          <a:pt x="885" y="317"/>
                        </a:lnTo>
                        <a:lnTo>
                          <a:pt x="877" y="321"/>
                        </a:lnTo>
                        <a:lnTo>
                          <a:pt x="873" y="309"/>
                        </a:lnTo>
                        <a:lnTo>
                          <a:pt x="902" y="271"/>
                        </a:lnTo>
                        <a:lnTo>
                          <a:pt x="930" y="257"/>
                        </a:lnTo>
                        <a:lnTo>
                          <a:pt x="926" y="249"/>
                        </a:lnTo>
                        <a:lnTo>
                          <a:pt x="948" y="245"/>
                        </a:lnTo>
                        <a:lnTo>
                          <a:pt x="972" y="229"/>
                        </a:lnTo>
                        <a:lnTo>
                          <a:pt x="976" y="233"/>
                        </a:lnTo>
                        <a:lnTo>
                          <a:pt x="988" y="221"/>
                        </a:lnTo>
                        <a:lnTo>
                          <a:pt x="998" y="221"/>
                        </a:lnTo>
                        <a:lnTo>
                          <a:pt x="994" y="215"/>
                        </a:lnTo>
                        <a:lnTo>
                          <a:pt x="1034" y="211"/>
                        </a:lnTo>
                        <a:lnTo>
                          <a:pt x="1038" y="199"/>
                        </a:lnTo>
                        <a:lnTo>
                          <a:pt x="1040" y="199"/>
                        </a:lnTo>
                        <a:lnTo>
                          <a:pt x="1068" y="183"/>
                        </a:lnTo>
                        <a:lnTo>
                          <a:pt x="1102" y="179"/>
                        </a:lnTo>
                        <a:lnTo>
                          <a:pt x="1143" y="153"/>
                        </a:lnTo>
                        <a:lnTo>
                          <a:pt x="1106" y="153"/>
                        </a:lnTo>
                        <a:lnTo>
                          <a:pt x="1098" y="137"/>
                        </a:lnTo>
                        <a:lnTo>
                          <a:pt x="1139" y="153"/>
                        </a:lnTo>
                        <a:lnTo>
                          <a:pt x="1179" y="133"/>
                        </a:lnTo>
                        <a:lnTo>
                          <a:pt x="1171" y="125"/>
                        </a:lnTo>
                        <a:lnTo>
                          <a:pt x="1179" y="121"/>
                        </a:lnTo>
                        <a:lnTo>
                          <a:pt x="1221" y="133"/>
                        </a:lnTo>
                        <a:lnTo>
                          <a:pt x="1225" y="119"/>
                        </a:lnTo>
                        <a:lnTo>
                          <a:pt x="1231" y="125"/>
                        </a:lnTo>
                        <a:lnTo>
                          <a:pt x="1247" y="121"/>
                        </a:lnTo>
                        <a:lnTo>
                          <a:pt x="1285" y="108"/>
                        </a:lnTo>
                        <a:lnTo>
                          <a:pt x="1281" y="92"/>
                        </a:lnTo>
                        <a:lnTo>
                          <a:pt x="1289" y="84"/>
                        </a:lnTo>
                        <a:lnTo>
                          <a:pt x="1285" y="76"/>
                        </a:lnTo>
                        <a:lnTo>
                          <a:pt x="1309" y="76"/>
                        </a:lnTo>
                        <a:lnTo>
                          <a:pt x="1305" y="70"/>
                        </a:lnTo>
                        <a:lnTo>
                          <a:pt x="1317" y="66"/>
                        </a:lnTo>
                        <a:lnTo>
                          <a:pt x="1305" y="62"/>
                        </a:lnTo>
                        <a:lnTo>
                          <a:pt x="1305" y="50"/>
                        </a:lnTo>
                        <a:lnTo>
                          <a:pt x="1259" y="46"/>
                        </a:lnTo>
                        <a:lnTo>
                          <a:pt x="1247" y="58"/>
                        </a:lnTo>
                        <a:lnTo>
                          <a:pt x="1259" y="66"/>
                        </a:lnTo>
                        <a:lnTo>
                          <a:pt x="1247" y="70"/>
                        </a:lnTo>
                        <a:lnTo>
                          <a:pt x="1251" y="70"/>
                        </a:lnTo>
                        <a:lnTo>
                          <a:pt x="1231" y="74"/>
                        </a:lnTo>
                        <a:lnTo>
                          <a:pt x="1189" y="104"/>
                        </a:lnTo>
                        <a:lnTo>
                          <a:pt x="1175" y="108"/>
                        </a:lnTo>
                        <a:lnTo>
                          <a:pt x="1171" y="88"/>
                        </a:lnTo>
                        <a:lnTo>
                          <a:pt x="1181" y="80"/>
                        </a:lnTo>
                        <a:lnTo>
                          <a:pt x="1185" y="80"/>
                        </a:lnTo>
                        <a:lnTo>
                          <a:pt x="1189" y="70"/>
                        </a:lnTo>
                        <a:lnTo>
                          <a:pt x="1179" y="58"/>
                        </a:lnTo>
                        <a:lnTo>
                          <a:pt x="1143" y="80"/>
                        </a:lnTo>
                        <a:lnTo>
                          <a:pt x="1151" y="70"/>
                        </a:lnTo>
                        <a:lnTo>
                          <a:pt x="1143" y="58"/>
                        </a:lnTo>
                        <a:lnTo>
                          <a:pt x="1159" y="54"/>
                        </a:lnTo>
                        <a:lnTo>
                          <a:pt x="1130" y="50"/>
                        </a:lnTo>
                        <a:lnTo>
                          <a:pt x="1147" y="42"/>
                        </a:lnTo>
                        <a:lnTo>
                          <a:pt x="1143" y="38"/>
                        </a:lnTo>
                        <a:lnTo>
                          <a:pt x="1159" y="38"/>
                        </a:lnTo>
                        <a:lnTo>
                          <a:pt x="1147" y="24"/>
                        </a:lnTo>
                        <a:lnTo>
                          <a:pt x="1159" y="12"/>
                        </a:lnTo>
                        <a:lnTo>
                          <a:pt x="1139" y="0"/>
                        </a:lnTo>
                        <a:lnTo>
                          <a:pt x="1118" y="8"/>
                        </a:lnTo>
                        <a:lnTo>
                          <a:pt x="1114" y="16"/>
                        </a:lnTo>
                        <a:lnTo>
                          <a:pt x="1102" y="16"/>
                        </a:lnTo>
                        <a:lnTo>
                          <a:pt x="1090" y="24"/>
                        </a:lnTo>
                        <a:lnTo>
                          <a:pt x="1094" y="26"/>
                        </a:lnTo>
                        <a:lnTo>
                          <a:pt x="1072" y="42"/>
                        </a:lnTo>
                        <a:lnTo>
                          <a:pt x="1110" y="54"/>
                        </a:lnTo>
                        <a:lnTo>
                          <a:pt x="1076" y="74"/>
                        </a:lnTo>
                        <a:lnTo>
                          <a:pt x="1090" y="66"/>
                        </a:lnTo>
                        <a:lnTo>
                          <a:pt x="1090" y="76"/>
                        </a:lnTo>
                        <a:lnTo>
                          <a:pt x="1060" y="88"/>
                        </a:lnTo>
                        <a:lnTo>
                          <a:pt x="1044" y="88"/>
                        </a:lnTo>
                        <a:lnTo>
                          <a:pt x="1030" y="108"/>
                        </a:lnTo>
                        <a:lnTo>
                          <a:pt x="1018" y="100"/>
                        </a:lnTo>
                        <a:lnTo>
                          <a:pt x="1030" y="96"/>
                        </a:lnTo>
                        <a:lnTo>
                          <a:pt x="1040" y="84"/>
                        </a:lnTo>
                        <a:lnTo>
                          <a:pt x="1026" y="88"/>
                        </a:lnTo>
                        <a:lnTo>
                          <a:pt x="1034" y="80"/>
                        </a:lnTo>
                        <a:lnTo>
                          <a:pt x="1022" y="76"/>
                        </a:lnTo>
                        <a:lnTo>
                          <a:pt x="994" y="80"/>
                        </a:lnTo>
                        <a:lnTo>
                          <a:pt x="994" y="92"/>
                        </a:lnTo>
                        <a:lnTo>
                          <a:pt x="1014" y="88"/>
                        </a:lnTo>
                        <a:lnTo>
                          <a:pt x="1002" y="96"/>
                        </a:lnTo>
                        <a:lnTo>
                          <a:pt x="990" y="88"/>
                        </a:lnTo>
                        <a:lnTo>
                          <a:pt x="988" y="96"/>
                        </a:lnTo>
                        <a:lnTo>
                          <a:pt x="914" y="96"/>
                        </a:lnTo>
                        <a:lnTo>
                          <a:pt x="906" y="88"/>
                        </a:lnTo>
                        <a:lnTo>
                          <a:pt x="881" y="88"/>
                        </a:lnTo>
                        <a:lnTo>
                          <a:pt x="877" y="66"/>
                        </a:lnTo>
                        <a:lnTo>
                          <a:pt x="815" y="80"/>
                        </a:lnTo>
                        <a:lnTo>
                          <a:pt x="823" y="84"/>
                        </a:lnTo>
                        <a:lnTo>
                          <a:pt x="865" y="76"/>
                        </a:lnTo>
                        <a:lnTo>
                          <a:pt x="811" y="96"/>
                        </a:lnTo>
                        <a:lnTo>
                          <a:pt x="811" y="111"/>
                        </a:lnTo>
                        <a:lnTo>
                          <a:pt x="797" y="119"/>
                        </a:lnTo>
                        <a:lnTo>
                          <a:pt x="793" y="111"/>
                        </a:lnTo>
                        <a:lnTo>
                          <a:pt x="803" y="108"/>
                        </a:lnTo>
                        <a:lnTo>
                          <a:pt x="803" y="104"/>
                        </a:lnTo>
                        <a:lnTo>
                          <a:pt x="785" y="88"/>
                        </a:lnTo>
                        <a:lnTo>
                          <a:pt x="693" y="96"/>
                        </a:lnTo>
                        <a:lnTo>
                          <a:pt x="681" y="88"/>
                        </a:lnTo>
                        <a:lnTo>
                          <a:pt x="719" y="80"/>
                        </a:lnTo>
                        <a:lnTo>
                          <a:pt x="723" y="76"/>
                        </a:lnTo>
                        <a:lnTo>
                          <a:pt x="715" y="70"/>
                        </a:lnTo>
                        <a:lnTo>
                          <a:pt x="681" y="70"/>
                        </a:lnTo>
                        <a:lnTo>
                          <a:pt x="624" y="46"/>
                        </a:lnTo>
                        <a:lnTo>
                          <a:pt x="564" y="58"/>
                        </a:lnTo>
                        <a:lnTo>
                          <a:pt x="578" y="50"/>
                        </a:lnTo>
                        <a:lnTo>
                          <a:pt x="586" y="38"/>
                        </a:lnTo>
                        <a:lnTo>
                          <a:pt x="566" y="42"/>
                        </a:lnTo>
                        <a:lnTo>
                          <a:pt x="544" y="58"/>
                        </a:lnTo>
                        <a:lnTo>
                          <a:pt x="536" y="58"/>
                        </a:lnTo>
                        <a:lnTo>
                          <a:pt x="532" y="30"/>
                        </a:lnTo>
                        <a:lnTo>
                          <a:pt x="375" y="66"/>
                        </a:lnTo>
                        <a:lnTo>
                          <a:pt x="369" y="76"/>
                        </a:lnTo>
                        <a:lnTo>
                          <a:pt x="279" y="50"/>
                        </a:lnTo>
                        <a:lnTo>
                          <a:pt x="0" y="279"/>
                        </a:lnTo>
                        <a:lnTo>
                          <a:pt x="40" y="279"/>
                        </a:lnTo>
                        <a:lnTo>
                          <a:pt x="32" y="283"/>
                        </a:lnTo>
                        <a:lnTo>
                          <a:pt x="32" y="313"/>
                        </a:lnTo>
                        <a:lnTo>
                          <a:pt x="96" y="291"/>
                        </a:lnTo>
                        <a:lnTo>
                          <a:pt x="100" y="317"/>
                        </a:lnTo>
                        <a:lnTo>
                          <a:pt x="86" y="371"/>
                        </a:lnTo>
                        <a:lnTo>
                          <a:pt x="108" y="387"/>
                        </a:lnTo>
                        <a:lnTo>
                          <a:pt x="82" y="412"/>
                        </a:lnTo>
                        <a:lnTo>
                          <a:pt x="62" y="428"/>
                        </a:lnTo>
                        <a:lnTo>
                          <a:pt x="66" y="452"/>
                        </a:lnTo>
                        <a:lnTo>
                          <a:pt x="50" y="478"/>
                        </a:lnTo>
                        <a:lnTo>
                          <a:pt x="66" y="478"/>
                        </a:lnTo>
                        <a:lnTo>
                          <a:pt x="50" y="500"/>
                        </a:lnTo>
                        <a:lnTo>
                          <a:pt x="62" y="504"/>
                        </a:lnTo>
                        <a:lnTo>
                          <a:pt x="50" y="508"/>
                        </a:lnTo>
                        <a:lnTo>
                          <a:pt x="54" y="508"/>
                        </a:lnTo>
                        <a:lnTo>
                          <a:pt x="44" y="516"/>
                        </a:lnTo>
                        <a:lnTo>
                          <a:pt x="70" y="516"/>
                        </a:lnTo>
                        <a:lnTo>
                          <a:pt x="70" y="528"/>
                        </a:lnTo>
                        <a:lnTo>
                          <a:pt x="58" y="532"/>
                        </a:lnTo>
                        <a:lnTo>
                          <a:pt x="92" y="532"/>
                        </a:lnTo>
                        <a:lnTo>
                          <a:pt x="86" y="546"/>
                        </a:lnTo>
                        <a:lnTo>
                          <a:pt x="100" y="544"/>
                        </a:lnTo>
                        <a:lnTo>
                          <a:pt x="96" y="558"/>
                        </a:lnTo>
                        <a:lnTo>
                          <a:pt x="108" y="550"/>
                        </a:lnTo>
                        <a:lnTo>
                          <a:pt x="100" y="566"/>
                        </a:lnTo>
                        <a:lnTo>
                          <a:pt x="112" y="566"/>
                        </a:lnTo>
                        <a:lnTo>
                          <a:pt x="104" y="566"/>
                        </a:lnTo>
                        <a:lnTo>
                          <a:pt x="104" y="574"/>
                        </a:lnTo>
                        <a:lnTo>
                          <a:pt x="693" y="574"/>
                        </a:lnTo>
                        <a:lnTo>
                          <a:pt x="701" y="562"/>
                        </a:lnTo>
                        <a:lnTo>
                          <a:pt x="701" y="578"/>
                        </a:lnTo>
                        <a:lnTo>
                          <a:pt x="793" y="600"/>
                        </a:lnTo>
                        <a:lnTo>
                          <a:pt x="835" y="578"/>
                        </a:lnTo>
                        <a:lnTo>
                          <a:pt x="827" y="586"/>
                        </a:lnTo>
                        <a:lnTo>
                          <a:pt x="843" y="574"/>
                        </a:lnTo>
                        <a:lnTo>
                          <a:pt x="853" y="574"/>
                        </a:lnTo>
                        <a:lnTo>
                          <a:pt x="853" y="590"/>
                        </a:lnTo>
                        <a:lnTo>
                          <a:pt x="861" y="578"/>
                        </a:lnTo>
                        <a:lnTo>
                          <a:pt x="877" y="578"/>
                        </a:lnTo>
                        <a:lnTo>
                          <a:pt x="877" y="600"/>
                        </a:lnTo>
                        <a:lnTo>
                          <a:pt x="894" y="600"/>
                        </a:lnTo>
                        <a:lnTo>
                          <a:pt x="885" y="640"/>
                        </a:lnTo>
                        <a:lnTo>
                          <a:pt x="889" y="640"/>
                        </a:lnTo>
                        <a:lnTo>
                          <a:pt x="960" y="654"/>
                        </a:lnTo>
                        <a:lnTo>
                          <a:pt x="972" y="685"/>
                        </a:lnTo>
                        <a:lnTo>
                          <a:pt x="960" y="685"/>
                        </a:lnTo>
                        <a:lnTo>
                          <a:pt x="956" y="691"/>
                        </a:lnTo>
                        <a:lnTo>
                          <a:pt x="942" y="691"/>
                        </a:lnTo>
                        <a:lnTo>
                          <a:pt x="934" y="673"/>
                        </a:lnTo>
                        <a:lnTo>
                          <a:pt x="934" y="687"/>
                        </a:lnTo>
                        <a:lnTo>
                          <a:pt x="906" y="723"/>
                        </a:lnTo>
                        <a:lnTo>
                          <a:pt x="889" y="731"/>
                        </a:lnTo>
                        <a:lnTo>
                          <a:pt x="881" y="745"/>
                        </a:lnTo>
                        <a:lnTo>
                          <a:pt x="881" y="753"/>
                        </a:lnTo>
                        <a:lnTo>
                          <a:pt x="869" y="749"/>
                        </a:lnTo>
                        <a:lnTo>
                          <a:pt x="861" y="761"/>
                        </a:lnTo>
                        <a:lnTo>
                          <a:pt x="877" y="761"/>
                        </a:lnTo>
                        <a:lnTo>
                          <a:pt x="914" y="741"/>
                        </a:lnTo>
                        <a:lnTo>
                          <a:pt x="964" y="737"/>
                        </a:lnTo>
                        <a:lnTo>
                          <a:pt x="964" y="727"/>
                        </a:lnTo>
                        <a:lnTo>
                          <a:pt x="948" y="727"/>
                        </a:lnTo>
                        <a:lnTo>
                          <a:pt x="968" y="711"/>
                        </a:lnTo>
                        <a:lnTo>
                          <a:pt x="1018" y="711"/>
                        </a:lnTo>
                        <a:lnTo>
                          <a:pt x="1018" y="703"/>
                        </a:lnTo>
                        <a:lnTo>
                          <a:pt x="1056" y="691"/>
                        </a:lnTo>
                        <a:lnTo>
                          <a:pt x="1076" y="681"/>
                        </a:lnTo>
                        <a:lnTo>
                          <a:pt x="1147" y="681"/>
                        </a:lnTo>
                        <a:lnTo>
                          <a:pt x="1175" y="673"/>
                        </a:lnTo>
                        <a:lnTo>
                          <a:pt x="1201" y="632"/>
                        </a:lnTo>
                        <a:lnTo>
                          <a:pt x="1225" y="612"/>
                        </a:lnTo>
                        <a:lnTo>
                          <a:pt x="1255" y="624"/>
                        </a:lnTo>
                        <a:lnTo>
                          <a:pt x="1239" y="662"/>
                        </a:lnTo>
                        <a:lnTo>
                          <a:pt x="1251" y="673"/>
                        </a:lnTo>
                        <a:lnTo>
                          <a:pt x="1281" y="673"/>
                        </a:lnTo>
                        <a:lnTo>
                          <a:pt x="1313" y="654"/>
                        </a:lnTo>
                        <a:lnTo>
                          <a:pt x="1305" y="670"/>
                        </a:lnTo>
                        <a:lnTo>
                          <a:pt x="1335" y="670"/>
                        </a:lnTo>
                        <a:lnTo>
                          <a:pt x="1267" y="691"/>
                        </a:lnTo>
                        <a:lnTo>
                          <a:pt x="1271" y="691"/>
                        </a:lnTo>
                        <a:lnTo>
                          <a:pt x="1259" y="711"/>
                        </a:lnTo>
                        <a:lnTo>
                          <a:pt x="1271" y="719"/>
                        </a:lnTo>
                        <a:lnTo>
                          <a:pt x="1309" y="691"/>
                        </a:lnTo>
                        <a:lnTo>
                          <a:pt x="1321" y="691"/>
                        </a:lnTo>
                        <a:lnTo>
                          <a:pt x="1323" y="687"/>
                        </a:lnTo>
                        <a:lnTo>
                          <a:pt x="1384" y="670"/>
                        </a:lnTo>
                        <a:lnTo>
                          <a:pt x="1369" y="654"/>
                        </a:lnTo>
                        <a:lnTo>
                          <a:pt x="1351" y="662"/>
                        </a:lnTo>
                        <a:lnTo>
                          <a:pt x="1327" y="654"/>
                        </a:lnTo>
                        <a:lnTo>
                          <a:pt x="1317" y="640"/>
                        </a:lnTo>
                        <a:lnTo>
                          <a:pt x="1321" y="624"/>
                        </a:lnTo>
                        <a:lnTo>
                          <a:pt x="1309" y="624"/>
                        </a:lnTo>
                        <a:lnTo>
                          <a:pt x="1327" y="604"/>
                        </a:lnTo>
                        <a:lnTo>
                          <a:pt x="1293" y="596"/>
                        </a:lnTo>
                        <a:lnTo>
                          <a:pt x="1321" y="596"/>
                        </a:lnTo>
                        <a:lnTo>
                          <a:pt x="1347" y="586"/>
                        </a:lnTo>
                        <a:lnTo>
                          <a:pt x="1351" y="570"/>
                        </a:lnTo>
                        <a:lnTo>
                          <a:pt x="1335" y="566"/>
                        </a:lnTo>
                        <a:lnTo>
                          <a:pt x="1259" y="582"/>
                        </a:lnTo>
                        <a:lnTo>
                          <a:pt x="1181" y="632"/>
                        </a:lnTo>
                        <a:lnTo>
                          <a:pt x="1251" y="574"/>
                        </a:lnTo>
                        <a:lnTo>
                          <a:pt x="1289" y="562"/>
                        </a:lnTo>
                        <a:lnTo>
                          <a:pt x="1323" y="536"/>
                        </a:lnTo>
                        <a:lnTo>
                          <a:pt x="1454" y="536"/>
                        </a:lnTo>
                        <a:lnTo>
                          <a:pt x="1500" y="508"/>
                        </a:lnTo>
                        <a:lnTo>
                          <a:pt x="1538" y="504"/>
                        </a:lnTo>
                        <a:lnTo>
                          <a:pt x="1564" y="490"/>
                        </a:lnTo>
                        <a:lnTo>
                          <a:pt x="1560" y="482"/>
                        </a:lnTo>
                        <a:lnTo>
                          <a:pt x="1568" y="482"/>
                        </a:lnTo>
                        <a:lnTo>
                          <a:pt x="1564" y="478"/>
                        </a:lnTo>
                        <a:lnTo>
                          <a:pt x="1568" y="474"/>
                        </a:lnTo>
                        <a:lnTo>
                          <a:pt x="1564" y="458"/>
                        </a:lnTo>
                        <a:lnTo>
                          <a:pt x="1576" y="458"/>
                        </a:lnTo>
                        <a:lnTo>
                          <a:pt x="1576" y="452"/>
                        </a:lnTo>
                        <a:lnTo>
                          <a:pt x="1558" y="444"/>
                        </a:lnTo>
                        <a:lnTo>
                          <a:pt x="1546" y="454"/>
                        </a:lnTo>
                        <a:lnTo>
                          <a:pt x="1558" y="432"/>
                        </a:lnTo>
                        <a:lnTo>
                          <a:pt x="1530" y="436"/>
                        </a:lnTo>
                        <a:lnTo>
                          <a:pt x="1546" y="436"/>
                        </a:lnTo>
                        <a:lnTo>
                          <a:pt x="1480" y="458"/>
                        </a:lnTo>
                        <a:lnTo>
                          <a:pt x="1488" y="452"/>
                        </a:lnTo>
                        <a:lnTo>
                          <a:pt x="1472" y="448"/>
                        </a:lnTo>
                        <a:lnTo>
                          <a:pt x="1488" y="448"/>
                        </a:lnTo>
                        <a:lnTo>
                          <a:pt x="1558" y="424"/>
                        </a:lnTo>
                        <a:lnTo>
                          <a:pt x="1526" y="408"/>
                        </a:lnTo>
                        <a:lnTo>
                          <a:pt x="1514" y="416"/>
                        </a:lnTo>
                        <a:lnTo>
                          <a:pt x="1518" y="402"/>
                        </a:lnTo>
                        <a:lnTo>
                          <a:pt x="1504" y="404"/>
                        </a:lnTo>
                        <a:lnTo>
                          <a:pt x="1510" y="394"/>
                        </a:lnTo>
                        <a:lnTo>
                          <a:pt x="1484" y="383"/>
                        </a:lnTo>
                        <a:lnTo>
                          <a:pt x="1492" y="371"/>
                        </a:lnTo>
                        <a:lnTo>
                          <a:pt x="1468" y="371"/>
                        </a:lnTo>
                        <a:lnTo>
                          <a:pt x="1496" y="367"/>
                        </a:lnTo>
                        <a:lnTo>
                          <a:pt x="1508" y="359"/>
                        </a:lnTo>
                        <a:lnTo>
                          <a:pt x="1488" y="353"/>
                        </a:lnTo>
                        <a:lnTo>
                          <a:pt x="1504" y="345"/>
                        </a:lnTo>
                        <a:lnTo>
                          <a:pt x="1492" y="337"/>
                        </a:lnTo>
                        <a:lnTo>
                          <a:pt x="1500" y="333"/>
                        </a:lnTo>
                        <a:lnTo>
                          <a:pt x="1484" y="337"/>
                        </a:lnTo>
                        <a:lnTo>
                          <a:pt x="1500" y="325"/>
                        </a:lnTo>
                        <a:lnTo>
                          <a:pt x="1480" y="321"/>
                        </a:lnTo>
                        <a:lnTo>
                          <a:pt x="1500" y="317"/>
                        </a:lnTo>
                        <a:lnTo>
                          <a:pt x="1496" y="307"/>
                        </a:lnTo>
                        <a:lnTo>
                          <a:pt x="1476" y="309"/>
                        </a:lnTo>
                        <a:lnTo>
                          <a:pt x="1496" y="303"/>
                        </a:lnTo>
                        <a:lnTo>
                          <a:pt x="1484" y="299"/>
                        </a:lnTo>
                        <a:lnTo>
                          <a:pt x="1492" y="299"/>
                        </a:lnTo>
                        <a:lnTo>
                          <a:pt x="1480" y="287"/>
                        </a:lnTo>
                        <a:lnTo>
                          <a:pt x="1488" y="279"/>
                        </a:lnTo>
                        <a:lnTo>
                          <a:pt x="1462" y="291"/>
                        </a:lnTo>
                        <a:lnTo>
                          <a:pt x="1462" y="299"/>
                        </a:lnTo>
                        <a:lnTo>
                          <a:pt x="1438" y="313"/>
                        </a:lnTo>
                        <a:lnTo>
                          <a:pt x="1438" y="317"/>
                        </a:lnTo>
                        <a:lnTo>
                          <a:pt x="1430" y="325"/>
                        </a:lnTo>
                        <a:lnTo>
                          <a:pt x="1430" y="313"/>
                        </a:lnTo>
                        <a:lnTo>
                          <a:pt x="1392" y="333"/>
                        </a:lnTo>
                        <a:lnTo>
                          <a:pt x="1396" y="321"/>
                        </a:lnTo>
                        <a:lnTo>
                          <a:pt x="1380" y="333"/>
                        </a:lnTo>
                        <a:lnTo>
                          <a:pt x="1359" y="341"/>
                        </a:lnTo>
                        <a:lnTo>
                          <a:pt x="1380" y="333"/>
                        </a:lnTo>
                        <a:lnTo>
                          <a:pt x="1388" y="313"/>
                        </a:lnTo>
                        <a:lnTo>
                          <a:pt x="1339" y="325"/>
                        </a:lnTo>
                        <a:lnTo>
                          <a:pt x="1363" y="309"/>
                        </a:lnTo>
                        <a:lnTo>
                          <a:pt x="1377" y="309"/>
                        </a:lnTo>
                        <a:lnTo>
                          <a:pt x="1373" y="307"/>
                        </a:lnTo>
                        <a:lnTo>
                          <a:pt x="1380" y="303"/>
                        </a:lnTo>
                        <a:lnTo>
                          <a:pt x="1373" y="303"/>
                        </a:lnTo>
                        <a:lnTo>
                          <a:pt x="1380" y="295"/>
                        </a:lnTo>
                        <a:lnTo>
                          <a:pt x="1380" y="287"/>
                        </a:lnTo>
                        <a:lnTo>
                          <a:pt x="1355" y="283"/>
                        </a:lnTo>
                        <a:lnTo>
                          <a:pt x="1388" y="283"/>
                        </a:lnTo>
                        <a:lnTo>
                          <a:pt x="1388" y="271"/>
                        </a:lnTo>
                        <a:lnTo>
                          <a:pt x="1400" y="261"/>
                        </a:lnTo>
                        <a:lnTo>
                          <a:pt x="1363" y="257"/>
                        </a:lnTo>
                        <a:lnTo>
                          <a:pt x="1363" y="249"/>
                        </a:lnTo>
                        <a:lnTo>
                          <a:pt x="1369" y="245"/>
                        </a:lnTo>
                        <a:lnTo>
                          <a:pt x="1359" y="245"/>
                        </a:lnTo>
                        <a:lnTo>
                          <a:pt x="1363" y="237"/>
                        </a:lnTo>
                        <a:lnTo>
                          <a:pt x="1351" y="241"/>
                        </a:lnTo>
                        <a:lnTo>
                          <a:pt x="1359" y="229"/>
                        </a:lnTo>
                        <a:lnTo>
                          <a:pt x="1339" y="221"/>
                        </a:lnTo>
                        <a:lnTo>
                          <a:pt x="1313" y="229"/>
                        </a:lnTo>
                        <a:lnTo>
                          <a:pt x="1273" y="221"/>
                        </a:lnTo>
                        <a:lnTo>
                          <a:pt x="1255" y="229"/>
                        </a:lnTo>
                        <a:lnTo>
                          <a:pt x="1247" y="241"/>
                        </a:lnTo>
                        <a:lnTo>
                          <a:pt x="1259" y="241"/>
                        </a:lnTo>
                        <a:lnTo>
                          <a:pt x="1227" y="263"/>
                        </a:lnTo>
                        <a:lnTo>
                          <a:pt x="1243" y="267"/>
                        </a:lnTo>
                        <a:lnTo>
                          <a:pt x="1235" y="267"/>
                        </a:lnTo>
                        <a:lnTo>
                          <a:pt x="1231" y="279"/>
                        </a:lnTo>
                        <a:lnTo>
                          <a:pt x="1225" y="287"/>
                        </a:lnTo>
                        <a:lnTo>
                          <a:pt x="1235" y="287"/>
                        </a:lnTo>
                        <a:lnTo>
                          <a:pt x="1227" y="291"/>
                        </a:lnTo>
                        <a:lnTo>
                          <a:pt x="1231" y="295"/>
                        </a:lnTo>
                        <a:lnTo>
                          <a:pt x="1221" y="295"/>
                        </a:lnTo>
                        <a:lnTo>
                          <a:pt x="1213" y="303"/>
                        </a:lnTo>
                        <a:lnTo>
                          <a:pt x="1189" y="307"/>
                        </a:lnTo>
                        <a:lnTo>
                          <a:pt x="1185" y="317"/>
                        </a:lnTo>
                        <a:lnTo>
                          <a:pt x="1201" y="329"/>
                        </a:lnTo>
                        <a:lnTo>
                          <a:pt x="1185" y="379"/>
                        </a:lnTo>
                        <a:lnTo>
                          <a:pt x="1197" y="375"/>
                        </a:lnTo>
                        <a:lnTo>
                          <a:pt x="1197" y="383"/>
                        </a:lnTo>
                        <a:lnTo>
                          <a:pt x="1102" y="424"/>
                        </a:lnTo>
                        <a:lnTo>
                          <a:pt x="1106" y="440"/>
                        </a:lnTo>
                        <a:lnTo>
                          <a:pt x="1090" y="478"/>
                        </a:lnTo>
                        <a:lnTo>
                          <a:pt x="1102" y="486"/>
                        </a:lnTo>
                        <a:lnTo>
                          <a:pt x="1076" y="498"/>
                        </a:lnTo>
                        <a:lnTo>
                          <a:pt x="1076" y="504"/>
                        </a:lnTo>
                        <a:lnTo>
                          <a:pt x="1068" y="512"/>
                        </a:lnTo>
                        <a:lnTo>
                          <a:pt x="1064" y="500"/>
                        </a:lnTo>
                        <a:lnTo>
                          <a:pt x="1048" y="516"/>
                        </a:lnTo>
                        <a:lnTo>
                          <a:pt x="1038" y="508"/>
                        </a:lnTo>
                        <a:lnTo>
                          <a:pt x="1030" y="486"/>
                        </a:lnTo>
                        <a:lnTo>
                          <a:pt x="1022" y="466"/>
                        </a:lnTo>
                        <a:lnTo>
                          <a:pt x="1056" y="408"/>
                        </a:lnTo>
                        <a:lnTo>
                          <a:pt x="998" y="404"/>
                        </a:lnTo>
                      </a:path>
                    </a:pathLst>
                  </a:custGeom>
                  <a:grpFill/>
                  <a:ln w="3175" cap="flat" cmpd="sng">
                    <a:noFill/>
                    <a:prstDash val="solid"/>
                    <a:round/>
                    <a:headEnd type="none" w="med" len="med"/>
                    <a:tailEnd type="none" w="med" len="med"/>
                  </a:ln>
                  <a:effectLst/>
                </p:spPr>
                <p:txBody>
                  <a:bodyPr/>
                  <a:lstStyle/>
                  <a:p>
                    <a:endParaRPr lang="en-GB">
                      <a:solidFill>
                        <a:srgbClr val="283E36"/>
                      </a:solidFill>
                      <a:latin typeface="SwissReSans"/>
                    </a:endParaRPr>
                  </a:p>
                </p:txBody>
              </p:sp>
              <p:sp>
                <p:nvSpPr>
                  <p:cNvPr id="718" name="vMap : Canada (Water)">
                    <a:extLst>
                      <a:ext uri="{FF2B5EF4-FFF2-40B4-BE49-F238E27FC236}">
                        <a16:creationId xmlns:a16="http://schemas.microsoft.com/office/drawing/2014/main" xmlns="" id="{F5313146-9BE1-A244-9AD3-EE16D132A37F}"/>
                      </a:ext>
                    </a:extLst>
                  </p:cNvPr>
                  <p:cNvSpPr>
                    <a:spLocks noChangeAspect="1"/>
                  </p:cNvSpPr>
                  <p:nvPr>
                    <p:custDataLst>
                      <p:tags r:id="rId214"/>
                    </p:custDataLst>
                  </p:nvPr>
                </p:nvSpPr>
                <p:spPr bwMode="gray">
                  <a:xfrm>
                    <a:off x="2308940" y="1601679"/>
                    <a:ext cx="72254" cy="155354"/>
                  </a:xfrm>
                  <a:custGeom>
                    <a:avLst/>
                    <a:gdLst>
                      <a:gd name="T0" fmla="*/ 13 w 46"/>
                      <a:gd name="T1" fmla="*/ 0 h 104"/>
                      <a:gd name="T2" fmla="*/ 18 w 46"/>
                      <a:gd name="T3" fmla="*/ 0 h 104"/>
                      <a:gd name="T4" fmla="*/ 18 w 46"/>
                      <a:gd name="T5" fmla="*/ 3 h 104"/>
                      <a:gd name="T6" fmla="*/ 15 w 46"/>
                      <a:gd name="T7" fmla="*/ 5 h 104"/>
                      <a:gd name="T8" fmla="*/ 11 w 46"/>
                      <a:gd name="T9" fmla="*/ 20 h 104"/>
                      <a:gd name="T10" fmla="*/ 12 w 46"/>
                      <a:gd name="T11" fmla="*/ 28 h 104"/>
                      <a:gd name="T12" fmla="*/ 3 w 46"/>
                      <a:gd name="T13" fmla="*/ 36 h 104"/>
                      <a:gd name="T14" fmla="*/ 2 w 46"/>
                      <a:gd name="T15" fmla="*/ 33 h 104"/>
                      <a:gd name="T16" fmla="*/ 8 w 46"/>
                      <a:gd name="T17" fmla="*/ 25 h 104"/>
                      <a:gd name="T18" fmla="*/ 5 w 46"/>
                      <a:gd name="T19" fmla="*/ 25 h 104"/>
                      <a:gd name="T20" fmla="*/ 6 w 46"/>
                      <a:gd name="T21" fmla="*/ 20 h 104"/>
                      <a:gd name="T22" fmla="*/ 0 w 46"/>
                      <a:gd name="T23" fmla="*/ 21 h 104"/>
                      <a:gd name="T24" fmla="*/ 0 w 46"/>
                      <a:gd name="T25" fmla="*/ 15 h 104"/>
                      <a:gd name="T26" fmla="*/ 5 w 46"/>
                      <a:gd name="T27" fmla="*/ 11 h 104"/>
                      <a:gd name="T28" fmla="*/ 0 w 46"/>
                      <a:gd name="T29" fmla="*/ 9 h 104"/>
                      <a:gd name="T30" fmla="*/ 8 w 46"/>
                      <a:gd name="T31" fmla="*/ 4 h 104"/>
                      <a:gd name="T32" fmla="*/ 13 w 46"/>
                      <a:gd name="T33" fmla="*/ 0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04">
                        <a:moveTo>
                          <a:pt x="34" y="0"/>
                        </a:moveTo>
                        <a:lnTo>
                          <a:pt x="46" y="0"/>
                        </a:lnTo>
                        <a:lnTo>
                          <a:pt x="46" y="8"/>
                        </a:lnTo>
                        <a:lnTo>
                          <a:pt x="38" y="16"/>
                        </a:lnTo>
                        <a:lnTo>
                          <a:pt x="28" y="58"/>
                        </a:lnTo>
                        <a:lnTo>
                          <a:pt x="30" y="80"/>
                        </a:lnTo>
                        <a:lnTo>
                          <a:pt x="8" y="104"/>
                        </a:lnTo>
                        <a:lnTo>
                          <a:pt x="4" y="96"/>
                        </a:lnTo>
                        <a:lnTo>
                          <a:pt x="20" y="72"/>
                        </a:lnTo>
                        <a:lnTo>
                          <a:pt x="12" y="72"/>
                        </a:lnTo>
                        <a:lnTo>
                          <a:pt x="16" y="58"/>
                        </a:lnTo>
                        <a:lnTo>
                          <a:pt x="0" y="62"/>
                        </a:lnTo>
                        <a:lnTo>
                          <a:pt x="0" y="42"/>
                        </a:lnTo>
                        <a:lnTo>
                          <a:pt x="12" y="30"/>
                        </a:lnTo>
                        <a:lnTo>
                          <a:pt x="0" y="26"/>
                        </a:lnTo>
                        <a:lnTo>
                          <a:pt x="20" y="12"/>
                        </a:lnTo>
                        <a:lnTo>
                          <a:pt x="34" y="0"/>
                        </a:lnTo>
                      </a:path>
                    </a:pathLst>
                  </a:custGeom>
                  <a:grpFill/>
                  <a:ln w="3175" cap="flat" cmpd="sng">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solidFill>
                        <a:srgbClr val="283E36"/>
                      </a:solidFill>
                      <a:latin typeface="SwissReSans"/>
                    </a:endParaRPr>
                  </a:p>
                </p:txBody>
              </p:sp>
            </p:grpSp>
            <p:sp>
              <p:nvSpPr>
                <p:cNvPr id="674" name="vMap : Lake Victoria">
                  <a:extLst>
                    <a:ext uri="{FF2B5EF4-FFF2-40B4-BE49-F238E27FC236}">
                      <a16:creationId xmlns:a16="http://schemas.microsoft.com/office/drawing/2014/main" xmlns="" id="{8A23F500-A12C-EF40-BC0D-7178471C0A12}"/>
                    </a:ext>
                  </a:extLst>
                </p:cNvPr>
                <p:cNvSpPr/>
                <p:nvPr>
                  <p:custDataLst>
                    <p:tags r:id="rId171"/>
                  </p:custDataLst>
                </p:nvPr>
              </p:nvSpPr>
              <p:spPr>
                <a:xfrm>
                  <a:off x="4799445" y="4222752"/>
                  <a:ext cx="64068" cy="84277"/>
                </a:xfrm>
                <a:custGeom>
                  <a:avLst/>
                  <a:gdLst>
                    <a:gd name="connsiteX0" fmla="*/ 55040 w 104927"/>
                    <a:gd name="connsiteY0" fmla="*/ 0 h 138029"/>
                    <a:gd name="connsiteX1" fmla="*/ 74639 w 104927"/>
                    <a:gd name="connsiteY1" fmla="*/ 5783 h 138029"/>
                    <a:gd name="connsiteX2" fmla="*/ 80508 w 104927"/>
                    <a:gd name="connsiteY2" fmla="*/ 26908 h 138029"/>
                    <a:gd name="connsiteX3" fmla="*/ 104927 w 104927"/>
                    <a:gd name="connsiteY3" fmla="*/ 20630 h 138029"/>
                    <a:gd name="connsiteX4" fmla="*/ 86613 w 104927"/>
                    <a:gd name="connsiteY4" fmla="*/ 33187 h 138029"/>
                    <a:gd name="connsiteX5" fmla="*/ 86613 w 104927"/>
                    <a:gd name="connsiteY5" fmla="*/ 58299 h 138029"/>
                    <a:gd name="connsiteX6" fmla="*/ 89952 w 104927"/>
                    <a:gd name="connsiteY6" fmla="*/ 60534 h 138029"/>
                    <a:gd name="connsiteX7" fmla="*/ 56549 w 104927"/>
                    <a:gd name="connsiteY7" fmla="*/ 106777 h 138029"/>
                    <a:gd name="connsiteX8" fmla="*/ 71941 w 104927"/>
                    <a:gd name="connsiteY8" fmla="*/ 113028 h 138029"/>
                    <a:gd name="connsiteX9" fmla="*/ 44236 w 104927"/>
                    <a:gd name="connsiteY9" fmla="*/ 119278 h 138029"/>
                    <a:gd name="connsiteX10" fmla="*/ 38080 w 104927"/>
                    <a:gd name="connsiteY10" fmla="*/ 138029 h 138029"/>
                    <a:gd name="connsiteX11" fmla="*/ 13453 w 104927"/>
                    <a:gd name="connsiteY11" fmla="*/ 113028 h 138029"/>
                    <a:gd name="connsiteX12" fmla="*/ 1140 w 104927"/>
                    <a:gd name="connsiteY12" fmla="*/ 138029 h 138029"/>
                    <a:gd name="connsiteX13" fmla="*/ 1140 w 104927"/>
                    <a:gd name="connsiteY13" fmla="*/ 59899 h 138029"/>
                    <a:gd name="connsiteX14" fmla="*/ 0 w 104927"/>
                    <a:gd name="connsiteY14" fmla="*/ 59899 h 138029"/>
                    <a:gd name="connsiteX15" fmla="*/ 0 w 104927"/>
                    <a:gd name="connsiteY15" fmla="*/ 15790 h 13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927" h="138029">
                      <a:moveTo>
                        <a:pt x="55040" y="0"/>
                      </a:moveTo>
                      <a:lnTo>
                        <a:pt x="74639" y="5783"/>
                      </a:lnTo>
                      <a:lnTo>
                        <a:pt x="80508" y="26908"/>
                      </a:lnTo>
                      <a:lnTo>
                        <a:pt x="104927" y="20630"/>
                      </a:lnTo>
                      <a:lnTo>
                        <a:pt x="86613" y="33187"/>
                      </a:lnTo>
                      <a:lnTo>
                        <a:pt x="86613" y="58299"/>
                      </a:lnTo>
                      <a:lnTo>
                        <a:pt x="89952" y="60534"/>
                      </a:lnTo>
                      <a:lnTo>
                        <a:pt x="56549" y="106777"/>
                      </a:lnTo>
                      <a:lnTo>
                        <a:pt x="71941" y="113028"/>
                      </a:lnTo>
                      <a:lnTo>
                        <a:pt x="44236" y="119278"/>
                      </a:lnTo>
                      <a:lnTo>
                        <a:pt x="38080" y="138029"/>
                      </a:lnTo>
                      <a:lnTo>
                        <a:pt x="13453" y="113028"/>
                      </a:lnTo>
                      <a:lnTo>
                        <a:pt x="1140" y="138029"/>
                      </a:lnTo>
                      <a:lnTo>
                        <a:pt x="1140" y="59899"/>
                      </a:lnTo>
                      <a:lnTo>
                        <a:pt x="0" y="59899"/>
                      </a:lnTo>
                      <a:lnTo>
                        <a:pt x="0" y="15790"/>
                      </a:lnTo>
                      <a:close/>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5" name="vMap : Lake Malawi">
                  <a:extLst>
                    <a:ext uri="{FF2B5EF4-FFF2-40B4-BE49-F238E27FC236}">
                      <a16:creationId xmlns:a16="http://schemas.microsoft.com/office/drawing/2014/main" xmlns="" id="{7341534D-D007-4144-A3FE-C8FA74648A6D}"/>
                    </a:ext>
                  </a:extLst>
                </p:cNvPr>
                <p:cNvSpPr/>
                <p:nvPr>
                  <p:custDataLst>
                    <p:tags r:id="rId172"/>
                  </p:custDataLst>
                </p:nvPr>
              </p:nvSpPr>
              <p:spPr>
                <a:xfrm>
                  <a:off x="4835228" y="4479767"/>
                  <a:ext cx="44657" cy="128990"/>
                </a:xfrm>
                <a:custGeom>
                  <a:avLst/>
                  <a:gdLst>
                    <a:gd name="connsiteX0" fmla="*/ 0 w 73137"/>
                    <a:gd name="connsiteY0" fmla="*/ 0 h 211260"/>
                    <a:gd name="connsiteX1" fmla="*/ 19494 w 73137"/>
                    <a:gd name="connsiteY1" fmla="*/ 3045 h 211260"/>
                    <a:gd name="connsiteX2" fmla="*/ 37964 w 73137"/>
                    <a:gd name="connsiteY2" fmla="*/ 21796 h 211260"/>
                    <a:gd name="connsiteX3" fmla="*/ 50277 w 73137"/>
                    <a:gd name="connsiteY3" fmla="*/ 93676 h 211260"/>
                    <a:gd name="connsiteX4" fmla="*/ 73137 w 73137"/>
                    <a:gd name="connsiteY4" fmla="*/ 96119 h 211260"/>
                    <a:gd name="connsiteX5" fmla="*/ 73129 w 73137"/>
                    <a:gd name="connsiteY5" fmla="*/ 96499 h 211260"/>
                    <a:gd name="connsiteX6" fmla="*/ 49975 w 73137"/>
                    <a:gd name="connsiteY6" fmla="*/ 94023 h 211260"/>
                    <a:gd name="connsiteX7" fmla="*/ 43810 w 73137"/>
                    <a:gd name="connsiteY7" fmla="*/ 128483 h 211260"/>
                    <a:gd name="connsiteX8" fmla="*/ 49975 w 73137"/>
                    <a:gd name="connsiteY8" fmla="*/ 178608 h 211260"/>
                    <a:gd name="connsiteX9" fmla="*/ 52097 w 73137"/>
                    <a:gd name="connsiteY9" fmla="*/ 182331 h 211260"/>
                    <a:gd name="connsiteX10" fmla="*/ 49175 w 73137"/>
                    <a:gd name="connsiteY10" fmla="*/ 177271 h 211260"/>
                    <a:gd name="connsiteX11" fmla="*/ 61501 w 73137"/>
                    <a:gd name="connsiteY11" fmla="*/ 211260 h 211260"/>
                    <a:gd name="connsiteX12" fmla="*/ 30685 w 73137"/>
                    <a:gd name="connsiteY12" fmla="*/ 205080 h 211260"/>
                    <a:gd name="connsiteX13" fmla="*/ 12195 w 73137"/>
                    <a:gd name="connsiteY13" fmla="*/ 121652 h 211260"/>
                    <a:gd name="connsiteX14" fmla="*/ 24522 w 73137"/>
                    <a:gd name="connsiteY14" fmla="*/ 100022 h 211260"/>
                    <a:gd name="connsiteX15" fmla="*/ 18359 w 73137"/>
                    <a:gd name="connsiteY15" fmla="*/ 4234 h 211260"/>
                    <a:gd name="connsiteX16" fmla="*/ 121 w 73137"/>
                    <a:gd name="connsiteY16" fmla="*/ 1421 h 21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137" h="211260">
                      <a:moveTo>
                        <a:pt x="0" y="0"/>
                      </a:moveTo>
                      <a:lnTo>
                        <a:pt x="19494" y="3045"/>
                      </a:lnTo>
                      <a:lnTo>
                        <a:pt x="37964" y="21796"/>
                      </a:lnTo>
                      <a:lnTo>
                        <a:pt x="50277" y="93676"/>
                      </a:lnTo>
                      <a:lnTo>
                        <a:pt x="73137" y="96119"/>
                      </a:lnTo>
                      <a:lnTo>
                        <a:pt x="73129" y="96499"/>
                      </a:lnTo>
                      <a:lnTo>
                        <a:pt x="49975" y="94023"/>
                      </a:lnTo>
                      <a:lnTo>
                        <a:pt x="43810" y="128483"/>
                      </a:lnTo>
                      <a:lnTo>
                        <a:pt x="49975" y="178608"/>
                      </a:lnTo>
                      <a:lnTo>
                        <a:pt x="52097" y="182331"/>
                      </a:lnTo>
                      <a:lnTo>
                        <a:pt x="49175" y="177271"/>
                      </a:lnTo>
                      <a:lnTo>
                        <a:pt x="61501" y="211260"/>
                      </a:lnTo>
                      <a:lnTo>
                        <a:pt x="30685" y="205080"/>
                      </a:lnTo>
                      <a:lnTo>
                        <a:pt x="12195" y="121652"/>
                      </a:lnTo>
                      <a:lnTo>
                        <a:pt x="24522" y="100022"/>
                      </a:lnTo>
                      <a:lnTo>
                        <a:pt x="18359" y="4234"/>
                      </a:lnTo>
                      <a:lnTo>
                        <a:pt x="121" y="1421"/>
                      </a:lnTo>
                      <a:close/>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6" name="vMap : Tanzania">
                  <a:extLst>
                    <a:ext uri="{FF2B5EF4-FFF2-40B4-BE49-F238E27FC236}">
                      <a16:creationId xmlns:a16="http://schemas.microsoft.com/office/drawing/2014/main" xmlns="" id="{DD6D7F83-0142-4442-8F2B-FBC0665D549C}"/>
                    </a:ext>
                  </a:extLst>
                </p:cNvPr>
                <p:cNvSpPr>
                  <a:spLocks noChangeAspect="1"/>
                </p:cNvSpPr>
                <p:nvPr>
                  <p:custDataLst>
                    <p:tags r:id="rId173"/>
                  </p:custDataLst>
                </p:nvPr>
              </p:nvSpPr>
              <p:spPr bwMode="gray">
                <a:xfrm>
                  <a:off x="4747512" y="4259324"/>
                  <a:ext cx="243405" cy="281455"/>
                </a:xfrm>
                <a:custGeom>
                  <a:avLst/>
                  <a:gdLst>
                    <a:gd name="T0" fmla="*/ 48 w 259"/>
                    <a:gd name="T1" fmla="*/ 110 h 295"/>
                    <a:gd name="T2" fmla="*/ 62 w 259"/>
                    <a:gd name="T3" fmla="*/ 111 h 295"/>
                    <a:gd name="T4" fmla="*/ 86 w 259"/>
                    <a:gd name="T5" fmla="*/ 107 h 295"/>
                    <a:gd name="T6" fmla="*/ 99 w 259"/>
                    <a:gd name="T7" fmla="*/ 98 h 295"/>
                    <a:gd name="T8" fmla="*/ 95 w 259"/>
                    <a:gd name="T9" fmla="*/ 94 h 295"/>
                    <a:gd name="T10" fmla="*/ 91 w 259"/>
                    <a:gd name="T11" fmla="*/ 82 h 295"/>
                    <a:gd name="T12" fmla="*/ 91 w 259"/>
                    <a:gd name="T13" fmla="*/ 63 h 295"/>
                    <a:gd name="T14" fmla="*/ 86 w 259"/>
                    <a:gd name="T15" fmla="*/ 55 h 295"/>
                    <a:gd name="T16" fmla="*/ 90 w 259"/>
                    <a:gd name="T17" fmla="*/ 37 h 295"/>
                    <a:gd name="T18" fmla="*/ 77 w 259"/>
                    <a:gd name="T19" fmla="*/ 29 h 295"/>
                    <a:gd name="T20" fmla="*/ 75 w 259"/>
                    <a:gd name="T21" fmla="*/ 20 h 295"/>
                    <a:gd name="T22" fmla="*/ 43 w 259"/>
                    <a:gd name="T23" fmla="*/ 0 h 295"/>
                    <a:gd name="T24" fmla="*/ 35 w 259"/>
                    <a:gd name="T25" fmla="*/ 11 h 295"/>
                    <a:gd name="T26" fmla="*/ 39 w 259"/>
                    <a:gd name="T27" fmla="*/ 13 h 295"/>
                    <a:gd name="T28" fmla="*/ 32 w 259"/>
                    <a:gd name="T29" fmla="*/ 14 h 295"/>
                    <a:gd name="T30" fmla="*/ 30 w 259"/>
                    <a:gd name="T31" fmla="*/ 19 h 295"/>
                    <a:gd name="T32" fmla="*/ 25 w 259"/>
                    <a:gd name="T33" fmla="*/ 13 h 295"/>
                    <a:gd name="T34" fmla="*/ 22 w 259"/>
                    <a:gd name="T35" fmla="*/ 19 h 295"/>
                    <a:gd name="T36" fmla="*/ 22 w 259"/>
                    <a:gd name="T37" fmla="*/ 0 h 295"/>
                    <a:gd name="T38" fmla="*/ 9 w 259"/>
                    <a:gd name="T39" fmla="*/ 0 h 295"/>
                    <a:gd name="T40" fmla="*/ 12 w 259"/>
                    <a:gd name="T41" fmla="*/ 8 h 295"/>
                    <a:gd name="T42" fmla="*/ 10 w 259"/>
                    <a:gd name="T43" fmla="*/ 14 h 295"/>
                    <a:gd name="T44" fmla="*/ 12 w 259"/>
                    <a:gd name="T45" fmla="*/ 22 h 295"/>
                    <a:gd name="T46" fmla="*/ 6 w 259"/>
                    <a:gd name="T47" fmla="*/ 33 h 295"/>
                    <a:gd name="T48" fmla="*/ 0 w 259"/>
                    <a:gd name="T49" fmla="*/ 34 h 295"/>
                    <a:gd name="T50" fmla="*/ 2 w 259"/>
                    <a:gd name="T51" fmla="*/ 56 h 295"/>
                    <a:gd name="T52" fmla="*/ 9 w 259"/>
                    <a:gd name="T53" fmla="*/ 61 h 295"/>
                    <a:gd name="T54" fmla="*/ 14 w 259"/>
                    <a:gd name="T55" fmla="*/ 78 h 295"/>
                    <a:gd name="T56" fmla="*/ 30 w 259"/>
                    <a:gd name="T57" fmla="*/ 87 h 295"/>
                    <a:gd name="T58" fmla="*/ 40 w 259"/>
                    <a:gd name="T59" fmla="*/ 88 h 295"/>
                    <a:gd name="T60" fmla="*/ 45 w 259"/>
                    <a:gd name="T61" fmla="*/ 92 h 295"/>
                    <a:gd name="T62" fmla="*/ 48 w 259"/>
                    <a:gd name="T63" fmla="*/ 110 h 2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59" h="295">
                      <a:moveTo>
                        <a:pt x="126" y="291"/>
                      </a:moveTo>
                      <a:lnTo>
                        <a:pt x="164" y="295"/>
                      </a:lnTo>
                      <a:lnTo>
                        <a:pt x="225" y="283"/>
                      </a:lnTo>
                      <a:lnTo>
                        <a:pt x="259" y="259"/>
                      </a:lnTo>
                      <a:lnTo>
                        <a:pt x="247" y="249"/>
                      </a:lnTo>
                      <a:lnTo>
                        <a:pt x="239" y="217"/>
                      </a:lnTo>
                      <a:lnTo>
                        <a:pt x="239" y="167"/>
                      </a:lnTo>
                      <a:lnTo>
                        <a:pt x="225" y="145"/>
                      </a:lnTo>
                      <a:lnTo>
                        <a:pt x="237" y="100"/>
                      </a:lnTo>
                      <a:lnTo>
                        <a:pt x="201" y="76"/>
                      </a:lnTo>
                      <a:lnTo>
                        <a:pt x="197" y="54"/>
                      </a:lnTo>
                      <a:lnTo>
                        <a:pt x="114" y="0"/>
                      </a:lnTo>
                      <a:lnTo>
                        <a:pt x="92" y="30"/>
                      </a:lnTo>
                      <a:lnTo>
                        <a:pt x="102" y="34"/>
                      </a:lnTo>
                      <a:lnTo>
                        <a:pt x="84" y="38"/>
                      </a:lnTo>
                      <a:lnTo>
                        <a:pt x="80" y="50"/>
                      </a:lnTo>
                      <a:lnTo>
                        <a:pt x="64" y="34"/>
                      </a:lnTo>
                      <a:lnTo>
                        <a:pt x="56" y="50"/>
                      </a:lnTo>
                      <a:lnTo>
                        <a:pt x="56" y="0"/>
                      </a:lnTo>
                      <a:lnTo>
                        <a:pt x="22" y="0"/>
                      </a:lnTo>
                      <a:lnTo>
                        <a:pt x="30" y="22"/>
                      </a:lnTo>
                      <a:lnTo>
                        <a:pt x="26" y="38"/>
                      </a:lnTo>
                      <a:lnTo>
                        <a:pt x="30" y="58"/>
                      </a:lnTo>
                      <a:lnTo>
                        <a:pt x="14" y="88"/>
                      </a:lnTo>
                      <a:lnTo>
                        <a:pt x="0" y="92"/>
                      </a:lnTo>
                      <a:lnTo>
                        <a:pt x="6" y="149"/>
                      </a:lnTo>
                      <a:lnTo>
                        <a:pt x="22" y="163"/>
                      </a:lnTo>
                      <a:lnTo>
                        <a:pt x="38" y="207"/>
                      </a:lnTo>
                      <a:lnTo>
                        <a:pt x="80" y="229"/>
                      </a:lnTo>
                      <a:lnTo>
                        <a:pt x="106" y="233"/>
                      </a:lnTo>
                      <a:lnTo>
                        <a:pt x="118" y="245"/>
                      </a:lnTo>
                      <a:lnTo>
                        <a:pt x="126" y="291"/>
                      </a:lnTo>
                    </a:path>
                  </a:pathLst>
                </a:custGeom>
                <a:solidFill>
                  <a:srgbClr val="0F4DBC"/>
                </a:solidFill>
                <a:ln w="3175" cap="flat" cmpd="sng">
                  <a:solidFill>
                    <a:srgbClr val="FFFFFF"/>
                  </a:solidFill>
                  <a:prstDash val="solid"/>
                  <a:round/>
                  <a:headEnd type="none" w="med" len="med"/>
                  <a:tailEnd type="none" w="med" len="med"/>
                </a:ln>
                <a:effectLst/>
              </p:spPr>
              <p:txBody>
                <a:bodyPr/>
                <a:lstStyle/>
                <a:p>
                  <a:endParaRPr lang="en-GB">
                    <a:solidFill>
                      <a:srgbClr val="283E36"/>
                    </a:solidFill>
                    <a:latin typeface="SwissReSans"/>
                  </a:endParaRPr>
                </a:p>
              </p:txBody>
            </p:sp>
            <p:sp>
              <p:nvSpPr>
                <p:cNvPr id="677" name="vMap : Lac Tanganyika">
                  <a:extLst>
                    <a:ext uri="{FF2B5EF4-FFF2-40B4-BE49-F238E27FC236}">
                      <a16:creationId xmlns:a16="http://schemas.microsoft.com/office/drawing/2014/main" xmlns="" id="{089038DC-C85D-5842-A9A3-1B708E5AAD56}"/>
                    </a:ext>
                  </a:extLst>
                </p:cNvPr>
                <p:cNvSpPr/>
                <p:nvPr>
                  <p:custDataLst>
                    <p:tags r:id="rId174"/>
                  </p:custDataLst>
                </p:nvPr>
              </p:nvSpPr>
              <p:spPr>
                <a:xfrm>
                  <a:off x="4740649" y="4323723"/>
                  <a:ext cx="42576" cy="135119"/>
                </a:xfrm>
                <a:custGeom>
                  <a:avLst/>
                  <a:gdLst>
                    <a:gd name="connsiteX0" fmla="*/ 0 w 69729"/>
                    <a:gd name="connsiteY0" fmla="*/ 0 h 221299"/>
                    <a:gd name="connsiteX1" fmla="*/ 9818 w 69729"/>
                    <a:gd name="connsiteY1" fmla="*/ 37150 h 221299"/>
                    <a:gd name="connsiteX2" fmla="*/ 31411 w 69729"/>
                    <a:gd name="connsiteY2" fmla="*/ 30925 h 221299"/>
                    <a:gd name="connsiteX3" fmla="*/ 47432 w 69729"/>
                    <a:gd name="connsiteY3" fmla="*/ 611 h 221299"/>
                    <a:gd name="connsiteX4" fmla="*/ 49013 w 69729"/>
                    <a:gd name="connsiteY4" fmla="*/ 1156 h 221299"/>
                    <a:gd name="connsiteX5" fmla="*/ 32789 w 69729"/>
                    <a:gd name="connsiteY5" fmla="*/ 32038 h 221299"/>
                    <a:gd name="connsiteX6" fmla="*/ 11241 w 69729"/>
                    <a:gd name="connsiteY6" fmla="*/ 38289 h 221299"/>
                    <a:gd name="connsiteX7" fmla="*/ 20476 w 69729"/>
                    <a:gd name="connsiteY7" fmla="*/ 127357 h 221299"/>
                    <a:gd name="connsiteX8" fmla="*/ 45102 w 69729"/>
                    <a:gd name="connsiteY8" fmla="*/ 149234 h 221299"/>
                    <a:gd name="connsiteX9" fmla="*/ 69729 w 69729"/>
                    <a:gd name="connsiteY9" fmla="*/ 217988 h 221299"/>
                    <a:gd name="connsiteX10" fmla="*/ 69471 w 69729"/>
                    <a:gd name="connsiteY10" fmla="*/ 221299 h 221299"/>
                    <a:gd name="connsiteX11" fmla="*/ 44821 w 69729"/>
                    <a:gd name="connsiteY11" fmla="*/ 221299 h 221299"/>
                    <a:gd name="connsiteX12" fmla="*/ 44821 w 69729"/>
                    <a:gd name="connsiteY12" fmla="*/ 202691 h 221299"/>
                    <a:gd name="connsiteX13" fmla="*/ 45416 w 69729"/>
                    <a:gd name="connsiteY13" fmla="*/ 197054 h 221299"/>
                    <a:gd name="connsiteX14" fmla="*/ 39294 w 69729"/>
                    <a:gd name="connsiteY14" fmla="*/ 172027 h 221299"/>
                    <a:gd name="connsiteX15" fmla="*/ 5627 w 69729"/>
                    <a:gd name="connsiteY15" fmla="*/ 125102 h 221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729" h="221299">
                      <a:moveTo>
                        <a:pt x="0" y="0"/>
                      </a:moveTo>
                      <a:lnTo>
                        <a:pt x="9818" y="37150"/>
                      </a:lnTo>
                      <a:lnTo>
                        <a:pt x="31411" y="30925"/>
                      </a:lnTo>
                      <a:lnTo>
                        <a:pt x="47432" y="611"/>
                      </a:lnTo>
                      <a:lnTo>
                        <a:pt x="49013" y="1156"/>
                      </a:lnTo>
                      <a:lnTo>
                        <a:pt x="32789" y="32038"/>
                      </a:lnTo>
                      <a:lnTo>
                        <a:pt x="11241" y="38289"/>
                      </a:lnTo>
                      <a:lnTo>
                        <a:pt x="20476" y="127357"/>
                      </a:lnTo>
                      <a:lnTo>
                        <a:pt x="45102" y="149234"/>
                      </a:lnTo>
                      <a:lnTo>
                        <a:pt x="69729" y="217988"/>
                      </a:lnTo>
                      <a:lnTo>
                        <a:pt x="69471" y="221299"/>
                      </a:lnTo>
                      <a:lnTo>
                        <a:pt x="44821" y="221299"/>
                      </a:lnTo>
                      <a:lnTo>
                        <a:pt x="44821" y="202691"/>
                      </a:lnTo>
                      <a:cubicBezTo>
                        <a:pt x="45019" y="200812"/>
                        <a:pt x="45218" y="198933"/>
                        <a:pt x="45416" y="197054"/>
                      </a:cubicBezTo>
                      <a:lnTo>
                        <a:pt x="39294" y="172027"/>
                      </a:lnTo>
                      <a:lnTo>
                        <a:pt x="5627" y="125102"/>
                      </a:lnTo>
                      <a:close/>
                    </a:path>
                  </a:pathLst>
                </a:custGeom>
                <a:solidFill>
                  <a:srgbClr val="0F4DBC"/>
                </a:solidFill>
                <a:ln w="3175" cap="flat" cmpd="sng">
                  <a:solidFill>
                    <a:srgbClr val="FFFFFF"/>
                  </a:solidFill>
                  <a:prstDash val="solid"/>
                  <a:round/>
                  <a:headEnd type="none" w="med" len="med"/>
                  <a:tailEnd type="none" w="med" len="med"/>
                </a:ln>
                <a:effectLst/>
              </p:spPr>
              <p:txBody>
                <a:bodyPr wrap="square">
                  <a:noAutofit/>
                </a:bodyPr>
                <a:lstStyle/>
                <a:p>
                  <a:endParaRPr lang="en-GB">
                    <a:solidFill>
                      <a:srgbClr val="283E36"/>
                    </a:solidFill>
                    <a:latin typeface="SwissReSans"/>
                  </a:endParaRPr>
                </a:p>
              </p:txBody>
            </p:sp>
          </p:grpSp>
        </p:grpSp>
        <p:sp>
          <p:nvSpPr>
            <p:cNvPr id="516" name="Rectangle 515"/>
            <p:cNvSpPr/>
            <p:nvPr/>
          </p:nvSpPr>
          <p:spPr>
            <a:xfrm>
              <a:off x="5656290" y="4432041"/>
              <a:ext cx="1379899" cy="461665"/>
            </a:xfrm>
            <a:prstGeom prst="rect">
              <a:avLst/>
            </a:prstGeom>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Australia </a:t>
              </a:r>
            </a:p>
            <a:p>
              <a:pPr marL="180975" indent="-180975">
                <a:buFont typeface="Arial" panose="020B0604020202020204" pitchFamily="34" charset="0"/>
                <a:buChar char="•"/>
              </a:pPr>
              <a:r>
                <a:rPr lang="en-GB" sz="1200">
                  <a:solidFill>
                    <a:srgbClr val="283E36"/>
                  </a:solidFill>
                  <a:latin typeface="SwissReSans Light"/>
                </a:rPr>
                <a:t>New Zealand</a:t>
              </a:r>
            </a:p>
          </p:txBody>
        </p:sp>
        <p:sp>
          <p:nvSpPr>
            <p:cNvPr id="665" name="Rectangle 664"/>
            <p:cNvSpPr/>
            <p:nvPr/>
          </p:nvSpPr>
          <p:spPr>
            <a:xfrm>
              <a:off x="7258974" y="2163552"/>
              <a:ext cx="1227593" cy="1384995"/>
            </a:xfrm>
            <a:prstGeom prst="rect">
              <a:avLst/>
            </a:prstGeom>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China </a:t>
              </a:r>
            </a:p>
            <a:p>
              <a:pPr marL="180975" indent="-180975">
                <a:buFont typeface="Arial" panose="020B0604020202020204" pitchFamily="34" charset="0"/>
                <a:buChar char="•"/>
              </a:pPr>
              <a:r>
                <a:rPr lang="en-GB" sz="1200">
                  <a:solidFill>
                    <a:srgbClr val="283E36"/>
                  </a:solidFill>
                  <a:latin typeface="SwissReSans Light"/>
                </a:rPr>
                <a:t>Hong Kong</a:t>
              </a:r>
            </a:p>
            <a:p>
              <a:pPr marL="180975" indent="-180975">
                <a:buFont typeface="Arial" panose="020B0604020202020204" pitchFamily="34" charset="0"/>
                <a:buChar char="•"/>
              </a:pPr>
              <a:r>
                <a:rPr lang="en-GB" sz="1200">
                  <a:solidFill>
                    <a:srgbClr val="283E36"/>
                  </a:solidFill>
                  <a:latin typeface="SwissReSans Light"/>
                </a:rPr>
                <a:t>Singapore</a:t>
              </a:r>
            </a:p>
            <a:p>
              <a:pPr marL="180975" indent="-180975">
                <a:buFont typeface="Arial" panose="020B0604020202020204" pitchFamily="34" charset="0"/>
                <a:buChar char="•"/>
              </a:pPr>
              <a:r>
                <a:rPr lang="en-GB" sz="1200">
                  <a:solidFill>
                    <a:srgbClr val="283E36"/>
                  </a:solidFill>
                  <a:latin typeface="SwissReSans Light"/>
                </a:rPr>
                <a:t>Malaysia</a:t>
              </a:r>
            </a:p>
            <a:p>
              <a:pPr marL="180975" indent="-180975">
                <a:buFont typeface="Arial" panose="020B0604020202020204" pitchFamily="34" charset="0"/>
                <a:buChar char="•"/>
              </a:pPr>
              <a:r>
                <a:rPr lang="en-GB" sz="1200">
                  <a:solidFill>
                    <a:srgbClr val="283E36"/>
                  </a:solidFill>
                  <a:latin typeface="SwissReSans Light"/>
                </a:rPr>
                <a:t>India </a:t>
              </a:r>
            </a:p>
            <a:p>
              <a:pPr marL="180975" indent="-180975">
                <a:buFont typeface="Arial" panose="020B0604020202020204" pitchFamily="34" charset="0"/>
                <a:buChar char="•"/>
              </a:pPr>
              <a:r>
                <a:rPr lang="en-GB" sz="1200">
                  <a:solidFill>
                    <a:srgbClr val="283E36"/>
                  </a:solidFill>
                  <a:latin typeface="SwissReSans Light"/>
                </a:rPr>
                <a:t>Japan </a:t>
              </a:r>
            </a:p>
            <a:p>
              <a:pPr marL="180975" indent="-180975">
                <a:buFont typeface="Arial" panose="020B0604020202020204" pitchFamily="34" charset="0"/>
                <a:buChar char="•"/>
              </a:pPr>
              <a:r>
                <a:rPr lang="en-GB" sz="1200">
                  <a:solidFill>
                    <a:srgbClr val="283E36"/>
                  </a:solidFill>
                  <a:latin typeface="SwissReSans Light"/>
                </a:rPr>
                <a:t>South Korea</a:t>
              </a:r>
            </a:p>
          </p:txBody>
        </p:sp>
        <p:sp>
          <p:nvSpPr>
            <p:cNvPr id="685" name="Rectangle 684"/>
            <p:cNvSpPr/>
            <p:nvPr/>
          </p:nvSpPr>
          <p:spPr>
            <a:xfrm>
              <a:off x="3081489" y="2175454"/>
              <a:ext cx="895566" cy="1015663"/>
            </a:xfrm>
            <a:prstGeom prst="rect">
              <a:avLst/>
            </a:prstGeom>
            <a:noFill/>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UK</a:t>
              </a:r>
            </a:p>
            <a:p>
              <a:pPr marL="180975" indent="-180975">
                <a:buFont typeface="Arial" panose="020B0604020202020204" pitchFamily="34" charset="0"/>
                <a:buChar char="•"/>
              </a:pPr>
              <a:r>
                <a:rPr lang="en-GB" sz="1200">
                  <a:solidFill>
                    <a:srgbClr val="283E36"/>
                  </a:solidFill>
                  <a:latin typeface="SwissReSans Light"/>
                </a:rPr>
                <a:t>Ireland </a:t>
              </a:r>
            </a:p>
            <a:p>
              <a:pPr marL="180975" indent="-180975">
                <a:buFont typeface="Arial" panose="020B0604020202020204" pitchFamily="34" charset="0"/>
                <a:buChar char="•"/>
              </a:pPr>
              <a:r>
                <a:rPr lang="en-GB" sz="1200">
                  <a:solidFill>
                    <a:srgbClr val="283E36"/>
                  </a:solidFill>
                  <a:latin typeface="SwissReSans Light"/>
                </a:rPr>
                <a:t>Jersey</a:t>
              </a:r>
            </a:p>
            <a:p>
              <a:pPr marL="180975" indent="-180975">
                <a:buFont typeface="Arial" panose="020B0604020202020204" pitchFamily="34" charset="0"/>
                <a:buChar char="•"/>
              </a:pPr>
              <a:r>
                <a:rPr lang="en-GB" sz="1200">
                  <a:solidFill>
                    <a:srgbClr val="283E36"/>
                  </a:solidFill>
                  <a:latin typeface="SwissReSans Light"/>
                </a:rPr>
                <a:t>Slovakia</a:t>
              </a:r>
            </a:p>
            <a:p>
              <a:pPr marL="180975" indent="-180975">
                <a:buFont typeface="Arial" panose="020B0604020202020204" pitchFamily="34" charset="0"/>
                <a:buChar char="•"/>
              </a:pPr>
              <a:endParaRPr lang="en-GB" sz="1200">
                <a:solidFill>
                  <a:srgbClr val="283E36"/>
                </a:solidFill>
                <a:latin typeface="SwissReSans Light"/>
              </a:endParaRPr>
            </a:p>
          </p:txBody>
        </p:sp>
        <p:sp>
          <p:nvSpPr>
            <p:cNvPr id="875" name="Rectangle 874"/>
            <p:cNvSpPr/>
            <p:nvPr/>
          </p:nvSpPr>
          <p:spPr>
            <a:xfrm>
              <a:off x="3916388" y="4604532"/>
              <a:ext cx="1194686" cy="276999"/>
            </a:xfrm>
            <a:prstGeom prst="rect">
              <a:avLst/>
            </a:prstGeom>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South Africa </a:t>
              </a:r>
            </a:p>
          </p:txBody>
        </p:sp>
        <p:sp>
          <p:nvSpPr>
            <p:cNvPr id="876" name="Rectangle 875"/>
            <p:cNvSpPr/>
            <p:nvPr/>
          </p:nvSpPr>
          <p:spPr>
            <a:xfrm>
              <a:off x="1003848" y="3229879"/>
              <a:ext cx="982961" cy="646331"/>
            </a:xfrm>
            <a:prstGeom prst="rect">
              <a:avLst/>
            </a:prstGeom>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Brazil</a:t>
              </a:r>
            </a:p>
            <a:p>
              <a:pPr marL="180975" indent="-180975">
                <a:buFont typeface="Arial" panose="020B0604020202020204" pitchFamily="34" charset="0"/>
                <a:buChar char="•"/>
              </a:pPr>
              <a:r>
                <a:rPr lang="en-GB" sz="1200">
                  <a:solidFill>
                    <a:srgbClr val="283E36"/>
                  </a:solidFill>
                  <a:latin typeface="SwissReSans Light"/>
                </a:rPr>
                <a:t>Mexico</a:t>
              </a:r>
            </a:p>
            <a:p>
              <a:pPr marL="180975" indent="-180975">
                <a:buFont typeface="Arial" panose="020B0604020202020204" pitchFamily="34" charset="0"/>
                <a:buChar char="•"/>
              </a:pPr>
              <a:r>
                <a:rPr lang="en-GB" sz="1200">
                  <a:solidFill>
                    <a:srgbClr val="283E36"/>
                  </a:solidFill>
                  <a:latin typeface="SwissReSans Light"/>
                </a:rPr>
                <a:t>Colombia</a:t>
              </a:r>
            </a:p>
          </p:txBody>
        </p:sp>
        <p:sp>
          <p:nvSpPr>
            <p:cNvPr id="877" name="Rectangle 876"/>
            <p:cNvSpPr/>
            <p:nvPr/>
          </p:nvSpPr>
          <p:spPr>
            <a:xfrm>
              <a:off x="685954" y="2424946"/>
              <a:ext cx="861133" cy="276999"/>
            </a:xfrm>
            <a:prstGeom prst="rect">
              <a:avLst/>
            </a:prstGeom>
          </p:spPr>
          <p:txBody>
            <a:bodyPr wrap="square">
              <a:spAutoFit/>
            </a:bodyPr>
            <a:lstStyle/>
            <a:p>
              <a:pPr marL="180975" indent="-180975">
                <a:buFont typeface="Arial" panose="020B0604020202020204" pitchFamily="34" charset="0"/>
                <a:buChar char="•"/>
              </a:pPr>
              <a:r>
                <a:rPr lang="en-GB" sz="1200">
                  <a:solidFill>
                    <a:srgbClr val="283E36"/>
                  </a:solidFill>
                  <a:latin typeface="SwissReSans Light"/>
                </a:rPr>
                <a:t>Canada</a:t>
              </a:r>
            </a:p>
          </p:txBody>
        </p:sp>
      </p:grpSp>
      <p:sp>
        <p:nvSpPr>
          <p:cNvPr id="405" name="Slide Number Placeholder 7">
            <a:extLst>
              <a:ext uri="{FF2B5EF4-FFF2-40B4-BE49-F238E27FC236}">
                <a16:creationId xmlns:a16="http://schemas.microsoft.com/office/drawing/2014/main" xmlns="" id="{604BC200-A8CE-4230-9F2B-B9D3F210DBA5}"/>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406" name="Picture 405">
            <a:extLst>
              <a:ext uri="{FF2B5EF4-FFF2-40B4-BE49-F238E27FC236}">
                <a16:creationId xmlns:a16="http://schemas.microsoft.com/office/drawing/2014/main" xmlns="" id="{D2C33B57-C4DB-4B1D-9835-A0F6364F43C8}"/>
              </a:ext>
            </a:extLst>
          </p:cNvPr>
          <p:cNvPicPr>
            <a:picLocks noChangeAspect="1"/>
          </p:cNvPicPr>
          <p:nvPr>
            <p:custDataLst>
              <p:tags r:id="rId4"/>
            </p:custDataLst>
          </p:nvPr>
        </p:nvPicPr>
        <p:blipFill>
          <a:blip r:embed="rId36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408" name="Picture 407">
            <a:extLst>
              <a:ext uri="{FF2B5EF4-FFF2-40B4-BE49-F238E27FC236}">
                <a16:creationId xmlns:a16="http://schemas.microsoft.com/office/drawing/2014/main" xmlns="" id="{2CAEA99A-8F5A-470F-900B-991E61D6DAFC}"/>
              </a:ext>
            </a:extLst>
          </p:cNvPr>
          <p:cNvPicPr>
            <a:picLocks noChangeAspect="1"/>
          </p:cNvPicPr>
          <p:nvPr/>
        </p:nvPicPr>
        <p:blipFill>
          <a:blip r:embed="rId367" cstate="print">
            <a:extLst>
              <a:ext uri="{28A0092B-C50C-407E-A947-70E740481C1C}">
                <a14:useLocalDpi xmlns:a14="http://schemas.microsoft.com/office/drawing/2010/main" val="0"/>
              </a:ext>
            </a:extLst>
          </a:blip>
          <a:stretch>
            <a:fillRect/>
          </a:stretch>
        </p:blipFill>
        <p:spPr>
          <a:xfrm>
            <a:off x="11324082" y="202926"/>
            <a:ext cx="755375" cy="760943"/>
          </a:xfrm>
          <a:prstGeom prst="rect">
            <a:avLst/>
          </a:prstGeom>
        </p:spPr>
      </p:pic>
    </p:spTree>
    <p:extLst>
      <p:ext uri="{BB962C8B-B14F-4D97-AF65-F5344CB8AC3E}">
        <p14:creationId xmlns:p14="http://schemas.microsoft.com/office/powerpoint/2010/main" val="5276895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4"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000">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en-GB" sz="4000">
                <a:latin typeface="+mn-lt"/>
              </a:rPr>
              <a:t>Key elements of IFRS for insurers</a:t>
            </a:r>
            <a:br>
              <a:rPr lang="en-GB" sz="4000">
                <a:latin typeface="+mn-lt"/>
              </a:rPr>
            </a:br>
            <a:endParaRPr lang="en-GB" sz="400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a:t>02</a:t>
            </a:r>
          </a:p>
        </p:txBody>
      </p:sp>
      <p:pic>
        <p:nvPicPr>
          <p:cNvPr id="7" name="Picture 6">
            <a:extLst>
              <a:ext uri="{FF2B5EF4-FFF2-40B4-BE49-F238E27FC236}">
                <a16:creationId xmlns:a16="http://schemas.microsoft.com/office/drawing/2014/main" xmlns="" id="{A6F355C3-CBE1-4FB2-837F-F681ECDBA02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290851" y="5913203"/>
            <a:ext cx="755375" cy="760943"/>
          </a:xfrm>
          <a:prstGeom prst="rect">
            <a:avLst/>
          </a:prstGeom>
        </p:spPr>
      </p:pic>
    </p:spTree>
    <p:extLst>
      <p:ext uri="{BB962C8B-B14F-4D97-AF65-F5344CB8AC3E}">
        <p14:creationId xmlns:p14="http://schemas.microsoft.com/office/powerpoint/2010/main" val="2848483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5FC4B34-6966-4C60-8C8F-932821BB22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8" name="think-cell Slide" r:id="rId8" imgW="473" imgH="476" progId="TCLayout.ActiveDocument.1">
                  <p:embed/>
                </p:oleObj>
              </mc:Choice>
              <mc:Fallback>
                <p:oleObj name="think-cell Slide" r:id="rId8" imgW="473" imgH="476" progId="TCLayout.ActiveDocument.1">
                  <p:embed/>
                  <p:pic>
                    <p:nvPicPr>
                      <p:cNvPr id="6" name="Object 5" hidden="1">
                        <a:extLst>
                          <a:ext uri="{FF2B5EF4-FFF2-40B4-BE49-F238E27FC236}">
                            <a16:creationId xmlns:a16="http://schemas.microsoft.com/office/drawing/2014/main" xmlns="" id="{15FC4B34-6966-4C60-8C8F-932821BB22F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90DF271C-093A-45C7-A5F3-749A39B01805}"/>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SwissReSans" panose="020B0604020202020204" pitchFamily="34" charset="0"/>
              <a:ea typeface="+mj-ea"/>
              <a:cs typeface="+mj-cs"/>
              <a:sym typeface="SwissReSans" panose="020B0604020202020204" pitchFamily="34" charset="0"/>
            </a:endParaRPr>
          </a:p>
        </p:txBody>
      </p:sp>
      <p:sp>
        <p:nvSpPr>
          <p:cNvPr id="2" name="Content Placeholder 1">
            <a:extLst>
              <a:ext uri="{FF2B5EF4-FFF2-40B4-BE49-F238E27FC236}">
                <a16:creationId xmlns:a16="http://schemas.microsoft.com/office/drawing/2014/main" xmlns="" id="{819B6058-B187-4392-8FAB-260AF5446717}"/>
              </a:ext>
            </a:extLst>
          </p:cNvPr>
          <p:cNvSpPr>
            <a:spLocks noGrp="1"/>
          </p:cNvSpPr>
          <p:nvPr>
            <p:ph idx="1"/>
          </p:nvPr>
        </p:nvSpPr>
        <p:spPr>
          <a:xfrm>
            <a:off x="1416307" y="1573703"/>
            <a:ext cx="5605929" cy="4101215"/>
          </a:xfrm>
          <a:noFill/>
          <a:ln w="12700">
            <a:noFill/>
          </a:ln>
        </p:spPr>
        <p:txBody>
          <a:bodyPr/>
          <a:lstStyle/>
          <a:p>
            <a:pPr marL="233363" indent="0">
              <a:buNone/>
            </a:pPr>
            <a:r>
              <a:rPr lang="en-GB" sz="2000" dirty="0"/>
              <a:t>Objective is to highlight the most important changes that IFRS 17 is bringing and start introducing the key underlying concepts</a:t>
            </a:r>
          </a:p>
          <a:p>
            <a:pPr marL="233363" indent="0">
              <a:spcBef>
                <a:spcPts val="3000"/>
              </a:spcBef>
              <a:buNone/>
            </a:pPr>
            <a:r>
              <a:rPr lang="en-GB" sz="2000" dirty="0"/>
              <a:t>The focus is on the financial statements and the impact IFRS 17 will have</a:t>
            </a:r>
          </a:p>
          <a:p>
            <a:pPr marL="233363" indent="0">
              <a:spcBef>
                <a:spcPts val="3000"/>
              </a:spcBef>
              <a:buNone/>
            </a:pPr>
            <a:r>
              <a:rPr lang="en-GB" sz="2000" dirty="0"/>
              <a:t>IFRS 17 is a major change compared to all other existing accounting approaches. The section is only providing a quick overview. </a:t>
            </a:r>
          </a:p>
        </p:txBody>
      </p:sp>
      <p:sp>
        <p:nvSpPr>
          <p:cNvPr id="3" name="Title 2">
            <a:extLst>
              <a:ext uri="{FF2B5EF4-FFF2-40B4-BE49-F238E27FC236}">
                <a16:creationId xmlns:a16="http://schemas.microsoft.com/office/drawing/2014/main" xmlns="" id="{F0A91355-9FBF-4CAE-9391-B043CF21C427}"/>
              </a:ext>
            </a:extLst>
          </p:cNvPr>
          <p:cNvSpPr>
            <a:spLocks noGrp="1"/>
          </p:cNvSpPr>
          <p:nvPr>
            <p:ph type="title"/>
          </p:nvPr>
        </p:nvSpPr>
        <p:spPr>
          <a:xfrm>
            <a:off x="681175" y="692151"/>
            <a:ext cx="10655299" cy="692647"/>
          </a:xfrm>
        </p:spPr>
        <p:txBody>
          <a:bodyPr/>
          <a:lstStyle/>
          <a:p>
            <a:r>
              <a:rPr lang="en-US"/>
              <a:t>IFRS 17 – Introduction</a:t>
            </a:r>
            <a:endParaRPr lang="en-GB" sz="1600" i="1"/>
          </a:p>
        </p:txBody>
      </p:sp>
      <p:pic>
        <p:nvPicPr>
          <p:cNvPr id="23" name="Graphic 22" descr="Arrow Slight curve">
            <a:extLst>
              <a:ext uri="{FF2B5EF4-FFF2-40B4-BE49-F238E27FC236}">
                <a16:creationId xmlns:a16="http://schemas.microsoft.com/office/drawing/2014/main" xmlns="" id="{4BAA4C6D-FA2E-462B-A460-00796A8FD82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81175" y="1340334"/>
            <a:ext cx="914400" cy="914400"/>
          </a:xfrm>
          <a:prstGeom prst="rect">
            <a:avLst/>
          </a:prstGeom>
        </p:spPr>
      </p:pic>
      <p:pic>
        <p:nvPicPr>
          <p:cNvPr id="24" name="Graphic 23" descr="Arrow Slight curve">
            <a:extLst>
              <a:ext uri="{FF2B5EF4-FFF2-40B4-BE49-F238E27FC236}">
                <a16:creationId xmlns:a16="http://schemas.microsoft.com/office/drawing/2014/main" xmlns="" id="{4258A701-3A42-454A-8874-346257DDF5AB}"/>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81175" y="2569211"/>
            <a:ext cx="914400" cy="914400"/>
          </a:xfrm>
          <a:prstGeom prst="rect">
            <a:avLst/>
          </a:prstGeom>
        </p:spPr>
      </p:pic>
      <p:pic>
        <p:nvPicPr>
          <p:cNvPr id="25" name="Graphic 24" descr="Arrow Slight curve">
            <a:extLst>
              <a:ext uri="{FF2B5EF4-FFF2-40B4-BE49-F238E27FC236}">
                <a16:creationId xmlns:a16="http://schemas.microsoft.com/office/drawing/2014/main" xmlns="" id="{5D30C23A-53D6-4D58-90CD-EC3971D58E9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681175" y="3583815"/>
            <a:ext cx="914400" cy="914400"/>
          </a:xfrm>
          <a:prstGeom prst="rect">
            <a:avLst/>
          </a:prstGeom>
        </p:spPr>
      </p:pic>
      <p:pic>
        <p:nvPicPr>
          <p:cNvPr id="10" name="Picture Placeholder 8">
            <a:extLst>
              <a:ext uri="{FF2B5EF4-FFF2-40B4-BE49-F238E27FC236}">
                <a16:creationId xmlns:a16="http://schemas.microsoft.com/office/drawing/2014/main" xmlns="" id="{E1505D62-60DF-4DA5-B961-032FDA6B2C56}"/>
              </a:ext>
            </a:extLst>
          </p:cNvPr>
          <p:cNvPicPr preferRelativeResize="0">
            <a:picLocks/>
          </p:cNvPicPr>
          <p:nvPr>
            <p:custDataLst>
              <p:tags r:id="rId4"/>
            </p:custDataLst>
          </p:nvPr>
        </p:nvPicPr>
        <p:blipFill>
          <a:blip r:embed="rId12" cstate="print">
            <a:extLst>
              <a:ext uri="{28A0092B-C50C-407E-A947-70E740481C1C}">
                <a14:useLocalDpi xmlns:a14="http://schemas.microsoft.com/office/drawing/2010/main" val="0"/>
              </a:ext>
            </a:extLst>
          </a:blip>
          <a:stretch>
            <a:fillRect/>
          </a:stretch>
        </p:blipFill>
        <p:spPr bwMode="gray">
          <a:xfrm>
            <a:off x="7379351" y="1628775"/>
            <a:ext cx="4355449" cy="4392613"/>
          </a:xfrm>
          <a:prstGeom prst="rect">
            <a:avLst/>
          </a:prstGeom>
        </p:spPr>
      </p:pic>
      <p:sp>
        <p:nvSpPr>
          <p:cNvPr id="11" name="Slide Number Placeholder 7">
            <a:extLst>
              <a:ext uri="{FF2B5EF4-FFF2-40B4-BE49-F238E27FC236}">
                <a16:creationId xmlns:a16="http://schemas.microsoft.com/office/drawing/2014/main" xmlns="" id="{1E315E27-F791-46F8-9114-39549D012F35}"/>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13" name="Picture 12">
            <a:extLst>
              <a:ext uri="{FF2B5EF4-FFF2-40B4-BE49-F238E27FC236}">
                <a16:creationId xmlns:a16="http://schemas.microsoft.com/office/drawing/2014/main" xmlns="" id="{69D3389D-8A1D-4562-86ED-81D170CB2425}"/>
              </a:ext>
            </a:extLst>
          </p:cNvPr>
          <p:cNvPicPr>
            <a:picLocks noChangeAspect="1"/>
          </p:cNvPicPr>
          <p:nvPr>
            <p:custDataLst>
              <p:tags r:id="rId5"/>
            </p:custDataLst>
          </p:nvPr>
        </p:nvPicPr>
        <p:blipFill>
          <a:blip r:embed="rId13"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14" name="Picture 13">
            <a:extLst>
              <a:ext uri="{FF2B5EF4-FFF2-40B4-BE49-F238E27FC236}">
                <a16:creationId xmlns:a16="http://schemas.microsoft.com/office/drawing/2014/main" xmlns="" id="{A9280016-15F8-4728-886C-6C5DCAFDEC1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1180578" y="202926"/>
            <a:ext cx="755375" cy="760943"/>
          </a:xfrm>
          <a:prstGeom prst="rect">
            <a:avLst/>
          </a:prstGeom>
        </p:spPr>
      </p:pic>
    </p:spTree>
    <p:extLst>
      <p:ext uri="{BB962C8B-B14F-4D97-AF65-F5344CB8AC3E}">
        <p14:creationId xmlns:p14="http://schemas.microsoft.com/office/powerpoint/2010/main" val="1228643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990B3DA3-D0C0-4F37-80B6-0869D3FB59BC}"/>
              </a:ext>
            </a:extLst>
          </p:cNvPr>
          <p:cNvSpPr/>
          <p:nvPr/>
        </p:nvSpPr>
        <p:spPr>
          <a:xfrm>
            <a:off x="695325" y="1396092"/>
            <a:ext cx="5379263" cy="4985235"/>
          </a:xfrm>
          <a:prstGeom prst="rect">
            <a:avLst/>
          </a:prstGeom>
          <a:solidFill>
            <a:schemeClr val="accent4">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Light" panose="020B0504020202020204" pitchFamily="34" charset="0"/>
            </a:endParaRPr>
          </a:p>
        </p:txBody>
      </p:sp>
      <p:graphicFrame>
        <p:nvGraphicFramePr>
          <p:cNvPr id="7" name="Objec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5642"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1524000" y="0"/>
            <a:ext cx="158750" cy="158750"/>
          </a:xfrm>
          <a:prstGeom prst="rect">
            <a:avLst/>
          </a:prstGeom>
          <a:solidFill>
            <a:srgbClr val="FFFFFF">
              <a:alpha val="50196"/>
            </a:srgbClr>
          </a:solidFill>
          <a:ln w="6350">
            <a:solidFill>
              <a:srgbClr val="A1B1AD">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400">
              <a:latin typeface="SwissReSans Light" panose="020B0504020202020204" pitchFamily="34" charset="0"/>
              <a:ea typeface="+mj-ea"/>
              <a:cs typeface="+mj-cs"/>
              <a:sym typeface="SwissReSans Light" panose="020B0504020202020204" pitchFamily="34" charset="0"/>
            </a:endParaRPr>
          </a:p>
        </p:txBody>
      </p:sp>
      <p:sp>
        <p:nvSpPr>
          <p:cNvPr id="10" name="TextBox 9"/>
          <p:cNvSpPr txBox="1"/>
          <p:nvPr/>
        </p:nvSpPr>
        <p:spPr>
          <a:xfrm>
            <a:off x="748310" y="4365104"/>
            <a:ext cx="2935119" cy="422497"/>
          </a:xfrm>
          <a:prstGeom prst="rect">
            <a:avLst/>
          </a:prstGeom>
          <a:solidFill>
            <a:schemeClr val="bg1"/>
          </a:solidFill>
          <a:ln>
            <a:solidFill>
              <a:schemeClr val="bg1">
                <a:lumMod val="50000"/>
              </a:schemeClr>
            </a:solidFill>
          </a:ln>
        </p:spPr>
        <p:txBody>
          <a:bodyPr vert="horz" wrap="square" lIns="72000" tIns="36000" rIns="72000" bIns="36000" rtlCol="0">
            <a:noAutofit/>
          </a:bodyPr>
          <a:lstStyle/>
          <a:p>
            <a:r>
              <a:rPr lang="en-GB" sz="1000">
                <a:latin typeface="SwissReSans Light" panose="020B0504020202020204" pitchFamily="34" charset="0"/>
              </a:rPr>
              <a:t>Best estimate of present value of future cash flows from premiums, claims and benefits and expenses</a:t>
            </a:r>
          </a:p>
        </p:txBody>
      </p:sp>
      <p:sp>
        <p:nvSpPr>
          <p:cNvPr id="43" name="TextBox 42"/>
          <p:cNvSpPr txBox="1"/>
          <p:nvPr/>
        </p:nvSpPr>
        <p:spPr>
          <a:xfrm rot="5400000">
            <a:off x="4884097" y="4323471"/>
            <a:ext cx="1068736" cy="1152002"/>
          </a:xfrm>
          <a:prstGeom prst="rect">
            <a:avLst/>
          </a:prstGeom>
          <a:solidFill>
            <a:schemeClr val="bg1"/>
          </a:solidFill>
          <a:ln>
            <a:solidFill>
              <a:schemeClr val="bg1">
                <a:lumMod val="50000"/>
              </a:schemeClr>
            </a:solidFill>
          </a:ln>
        </p:spPr>
        <p:txBody>
          <a:bodyPr vert="vert270" wrap="square" lIns="72000" tIns="36000" rIns="72000" bIns="36000" rtlCol="0">
            <a:spAutoFit/>
          </a:bodyPr>
          <a:lstStyle/>
          <a:p>
            <a:r>
              <a:rPr lang="en-GB" sz="1000">
                <a:latin typeface="SwissReSans Light" panose="020B0504020202020204" pitchFamily="34" charset="0"/>
              </a:rPr>
              <a:t>CSM at inception is measured as the net difference of fulfilment cash flows, floored by zero</a:t>
            </a:r>
          </a:p>
        </p:txBody>
      </p:sp>
      <p:sp>
        <p:nvSpPr>
          <p:cNvPr id="45" name="TextBox 44"/>
          <p:cNvSpPr txBox="1"/>
          <p:nvPr/>
        </p:nvSpPr>
        <p:spPr>
          <a:xfrm rot="5400000">
            <a:off x="3653712" y="4400416"/>
            <a:ext cx="1222624" cy="1152001"/>
          </a:xfrm>
          <a:prstGeom prst="rect">
            <a:avLst/>
          </a:prstGeom>
          <a:solidFill>
            <a:schemeClr val="bg1"/>
          </a:solidFill>
          <a:ln>
            <a:solidFill>
              <a:schemeClr val="bg1">
                <a:lumMod val="50000"/>
              </a:schemeClr>
            </a:solidFill>
          </a:ln>
        </p:spPr>
        <p:txBody>
          <a:bodyPr vert="vert270" wrap="square" lIns="72000" tIns="36000" rIns="72000" bIns="36000" rtlCol="0">
            <a:spAutoFit/>
          </a:bodyPr>
          <a:lstStyle/>
          <a:p>
            <a:r>
              <a:rPr lang="en-GB" sz="1000">
                <a:latin typeface="SwissReSans Light" panose="020B0504020202020204" pitchFamily="34" charset="0"/>
              </a:rPr>
              <a:t>RA reflects compensation for bearing uncertainty in timing and amount of cash flows arising from non-financial risks</a:t>
            </a:r>
          </a:p>
        </p:txBody>
      </p:sp>
      <p:grpSp>
        <p:nvGrpSpPr>
          <p:cNvPr id="33" name="Group 32">
            <a:extLst>
              <a:ext uri="{FF2B5EF4-FFF2-40B4-BE49-F238E27FC236}">
                <a16:creationId xmlns:a16="http://schemas.microsoft.com/office/drawing/2014/main" xmlns="" id="{9CA6B557-A4AB-4249-B145-CABDD55C5825}"/>
              </a:ext>
            </a:extLst>
          </p:cNvPr>
          <p:cNvGrpSpPr/>
          <p:nvPr/>
        </p:nvGrpSpPr>
        <p:grpSpPr>
          <a:xfrm>
            <a:off x="748310" y="1456261"/>
            <a:ext cx="5268539" cy="2632651"/>
            <a:chOff x="748310" y="1456261"/>
            <a:chExt cx="5268539" cy="2632651"/>
          </a:xfrm>
        </p:grpSpPr>
        <p:sp>
          <p:nvSpPr>
            <p:cNvPr id="9" name="Rectangle 8"/>
            <p:cNvSpPr/>
            <p:nvPr/>
          </p:nvSpPr>
          <p:spPr>
            <a:xfrm>
              <a:off x="748310" y="1456261"/>
              <a:ext cx="890587" cy="2630071"/>
            </a:xfrm>
            <a:prstGeom prst="rect">
              <a:avLst/>
            </a:prstGeom>
            <a:solidFill>
              <a:srgbClr val="007934"/>
            </a:solidFill>
            <a:ln w="6350">
              <a:noFill/>
            </a:ln>
          </p:spPr>
          <p:style>
            <a:lnRef idx="2">
              <a:schemeClr val="accent1">
                <a:shade val="50000"/>
              </a:schemeClr>
            </a:lnRef>
            <a:fillRef idx="1">
              <a:schemeClr val="accent1"/>
            </a:fillRef>
            <a:effectRef idx="0">
              <a:schemeClr val="accent1"/>
            </a:effectRef>
            <a:fontRef idx="minor">
              <a:schemeClr val="lt1"/>
            </a:fontRef>
          </p:style>
          <p:txBody>
            <a:bodyPr tIns="252000" rtlCol="0" anchor="t"/>
            <a:lstStyle/>
            <a:p>
              <a:pPr algn="ctr"/>
              <a:r>
                <a:rPr lang="en-GB" sz="1100">
                  <a:solidFill>
                    <a:schemeClr val="bg1"/>
                  </a:solidFill>
                  <a:latin typeface="SwissReSans Light" panose="020B0504020202020204" pitchFamily="34" charset="0"/>
                </a:rPr>
                <a:t>Cash inflows</a:t>
              </a:r>
            </a:p>
          </p:txBody>
        </p:sp>
        <p:sp>
          <p:nvSpPr>
            <p:cNvPr id="11" name="Rectangle 10"/>
            <p:cNvSpPr/>
            <p:nvPr/>
          </p:nvSpPr>
          <p:spPr>
            <a:xfrm>
              <a:off x="1639287" y="1456261"/>
              <a:ext cx="880129" cy="1638633"/>
            </a:xfrm>
            <a:prstGeom prst="rect">
              <a:avLst/>
            </a:prstGeom>
            <a:solidFill>
              <a:srgbClr val="007934"/>
            </a:solidFill>
            <a:ln w="6350">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tIns="252000" rtlCol="0" anchor="t" anchorCtr="0"/>
            <a:lstStyle/>
            <a:p>
              <a:pPr algn="ctr"/>
              <a:r>
                <a:rPr lang="en-GB" sz="1100" dirty="0">
                  <a:solidFill>
                    <a:schemeClr val="bg1"/>
                  </a:solidFill>
                  <a:latin typeface="SwissReSans Light" panose="020B0504020202020204" pitchFamily="34" charset="0"/>
                </a:rPr>
                <a:t>Cash outflows</a:t>
              </a:r>
            </a:p>
          </p:txBody>
        </p:sp>
        <p:sp>
          <p:nvSpPr>
            <p:cNvPr id="12" name="Rectangle 11"/>
            <p:cNvSpPr/>
            <p:nvPr/>
          </p:nvSpPr>
          <p:spPr>
            <a:xfrm>
              <a:off x="2519806" y="2728510"/>
              <a:ext cx="1168827" cy="366385"/>
            </a:xfrm>
            <a:prstGeom prst="rect">
              <a:avLst/>
            </a:prstGeom>
            <a:solidFill>
              <a:schemeClr val="tx1">
                <a:lumMod val="60000"/>
                <a:lumOff val="40000"/>
              </a:schemeClr>
            </a:solidFill>
            <a:ln w="6350">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bg1"/>
                  </a:solidFill>
                  <a:latin typeface="SwissReSans Light" panose="020B0504020202020204" pitchFamily="34" charset="0"/>
                </a:rPr>
                <a:t>Discounting</a:t>
              </a:r>
            </a:p>
          </p:txBody>
        </p:sp>
        <p:sp>
          <p:nvSpPr>
            <p:cNvPr id="16" name="Rectangle 15"/>
            <p:cNvSpPr/>
            <p:nvPr/>
          </p:nvSpPr>
          <p:spPr>
            <a:xfrm>
              <a:off x="3689023" y="2728511"/>
              <a:ext cx="1153052" cy="665178"/>
            </a:xfrm>
            <a:prstGeom prst="rect">
              <a:avLst/>
            </a:prstGeom>
            <a:solidFill>
              <a:schemeClr val="tx1">
                <a:lumMod val="60000"/>
                <a:lumOff val="40000"/>
              </a:schemeClr>
            </a:solidFill>
            <a:ln w="6350">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bg1"/>
                  </a:solidFill>
                  <a:latin typeface="SwissReSans Light" panose="020B0504020202020204" pitchFamily="34" charset="0"/>
                </a:rPr>
                <a:t>Risk adjustment for non-financial risk</a:t>
              </a:r>
            </a:p>
          </p:txBody>
        </p:sp>
        <p:sp>
          <p:nvSpPr>
            <p:cNvPr id="17" name="Rectangle 16"/>
            <p:cNvSpPr/>
            <p:nvPr/>
          </p:nvSpPr>
          <p:spPr>
            <a:xfrm>
              <a:off x="4842464" y="3393689"/>
              <a:ext cx="1174385" cy="695223"/>
            </a:xfrm>
            <a:prstGeom prst="rect">
              <a:avLst/>
            </a:prstGeom>
            <a:solidFill>
              <a:schemeClr val="bg2"/>
            </a:solidFill>
            <a:ln w="6350">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bg1"/>
                  </a:solidFill>
                  <a:latin typeface="SwissReSans Light" panose="020B0504020202020204" pitchFamily="34" charset="0"/>
                </a:rPr>
                <a:t>CSM</a:t>
              </a:r>
            </a:p>
          </p:txBody>
        </p:sp>
      </p:grpSp>
      <p:cxnSp>
        <p:nvCxnSpPr>
          <p:cNvPr id="19" name="Straight Connector 18"/>
          <p:cNvCxnSpPr/>
          <p:nvPr/>
        </p:nvCxnSpPr>
        <p:spPr>
          <a:xfrm>
            <a:off x="765602" y="4080261"/>
            <a:ext cx="5256000"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751530" y="5650827"/>
            <a:ext cx="4093765" cy="235354"/>
          </a:xfrm>
          <a:prstGeom prst="rect">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rgbClr val="000000"/>
                </a:solidFill>
                <a:latin typeface="SwissReSans Light" panose="020B0504020202020204" pitchFamily="34" charset="0"/>
              </a:rPr>
              <a:t>Fulfilment cash flows (FCF)</a:t>
            </a:r>
          </a:p>
        </p:txBody>
      </p:sp>
      <p:sp>
        <p:nvSpPr>
          <p:cNvPr id="6" name="Slide Number Placeholder 5">
            <a:extLst>
              <a:ext uri="{FF2B5EF4-FFF2-40B4-BE49-F238E27FC236}">
                <a16:creationId xmlns:a16="http://schemas.microsoft.com/office/drawing/2014/main" xmlns="" id="{87354921-C881-4619-80B8-AB42BCBA7644}"/>
              </a:ext>
            </a:extLst>
          </p:cNvPr>
          <p:cNvSpPr>
            <a:spLocks noGrp="1"/>
          </p:cNvSpPr>
          <p:nvPr>
            <p:ph type="sldNum" sz="quarter" idx="12"/>
          </p:nvPr>
        </p:nvSpPr>
        <p:spPr/>
        <p:txBody>
          <a:bodyPr/>
          <a:lstStyle/>
          <a:p>
            <a:fld id="{5E4D2043-7E31-4A53-BD33-72A88E682172}" type="slidenum">
              <a:rPr lang="en-GB" smtClean="0">
                <a:latin typeface="SwissReSans Light" panose="020B0504020202020204" pitchFamily="34" charset="0"/>
              </a:rPr>
              <a:pPr/>
              <a:t>18</a:t>
            </a:fld>
            <a:endParaRPr lang="en-GB">
              <a:latin typeface="SwissReSans Light" panose="020B0504020202020204" pitchFamily="34" charset="0"/>
            </a:endParaRPr>
          </a:p>
        </p:txBody>
      </p:sp>
      <p:sp>
        <p:nvSpPr>
          <p:cNvPr id="24" name="Rectangle 23">
            <a:extLst>
              <a:ext uri="{FF2B5EF4-FFF2-40B4-BE49-F238E27FC236}">
                <a16:creationId xmlns:a16="http://schemas.microsoft.com/office/drawing/2014/main" xmlns="" id="{B088DCD4-89EB-4D5F-A5CE-65DB798059DA}"/>
              </a:ext>
            </a:extLst>
          </p:cNvPr>
          <p:cNvSpPr/>
          <p:nvPr/>
        </p:nvSpPr>
        <p:spPr>
          <a:xfrm>
            <a:off x="751530" y="5949280"/>
            <a:ext cx="5278913" cy="235354"/>
          </a:xfrm>
          <a:prstGeom prst="rect">
            <a:avLst/>
          </a:prstGeom>
          <a:solidFill>
            <a:schemeClr val="bg1">
              <a:lumMod val="95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000000"/>
                </a:solidFill>
                <a:latin typeface="SwissReSans Light" panose="020B0504020202020204" pitchFamily="34" charset="0"/>
              </a:rPr>
              <a:t>Insurance contract liability</a:t>
            </a:r>
          </a:p>
        </p:txBody>
      </p:sp>
      <p:sp>
        <p:nvSpPr>
          <p:cNvPr id="13" name="Title 12">
            <a:extLst>
              <a:ext uri="{FF2B5EF4-FFF2-40B4-BE49-F238E27FC236}">
                <a16:creationId xmlns:a16="http://schemas.microsoft.com/office/drawing/2014/main" xmlns="" id="{2CF2AD2D-28A9-4BBE-B57D-5AACB1AFF381}"/>
              </a:ext>
            </a:extLst>
          </p:cNvPr>
          <p:cNvSpPr>
            <a:spLocks noGrp="1"/>
          </p:cNvSpPr>
          <p:nvPr>
            <p:ph type="title"/>
          </p:nvPr>
        </p:nvSpPr>
        <p:spPr>
          <a:xfrm>
            <a:off x="695324" y="692151"/>
            <a:ext cx="11161315" cy="692647"/>
          </a:xfrm>
        </p:spPr>
        <p:txBody>
          <a:bodyPr vert="horz"/>
          <a:lstStyle/>
          <a:p>
            <a:r>
              <a:rPr lang="en-GB"/>
              <a:t>Balance sheet linkage to building blocks (insurance contract liability)</a:t>
            </a:r>
          </a:p>
        </p:txBody>
      </p:sp>
      <p:cxnSp>
        <p:nvCxnSpPr>
          <p:cNvPr id="47" name="Connector: Elbow 46">
            <a:extLst>
              <a:ext uri="{FF2B5EF4-FFF2-40B4-BE49-F238E27FC236}">
                <a16:creationId xmlns:a16="http://schemas.microsoft.com/office/drawing/2014/main" xmlns="" id="{331E6EF3-CFE4-45CC-BD72-2AEEBCE05B9E}"/>
              </a:ext>
            </a:extLst>
          </p:cNvPr>
          <p:cNvCxnSpPr>
            <a:cxnSpLocks/>
            <a:stCxn id="24" idx="3"/>
            <a:endCxn id="36" idx="3"/>
          </p:cNvCxnSpPr>
          <p:nvPr/>
        </p:nvCxnSpPr>
        <p:spPr>
          <a:xfrm flipV="1">
            <a:off x="6030443" y="3006684"/>
            <a:ext cx="5160057" cy="3060273"/>
          </a:xfrm>
          <a:prstGeom prst="bentConnector3">
            <a:avLst>
              <a:gd name="adj1" fmla="val 104430"/>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xmlns="" id="{261F4058-5E61-4F65-91DD-6F3404D894B6}"/>
              </a:ext>
            </a:extLst>
          </p:cNvPr>
          <p:cNvGrpSpPr/>
          <p:nvPr/>
        </p:nvGrpSpPr>
        <p:grpSpPr>
          <a:xfrm>
            <a:off x="6888088" y="2525585"/>
            <a:ext cx="4464496" cy="4071767"/>
            <a:chOff x="6672064" y="2669601"/>
            <a:chExt cx="4464496" cy="4071767"/>
          </a:xfrm>
        </p:grpSpPr>
        <p:sp>
          <p:nvSpPr>
            <p:cNvPr id="41" name="Rectangle 40">
              <a:extLst>
                <a:ext uri="{FF2B5EF4-FFF2-40B4-BE49-F238E27FC236}">
                  <a16:creationId xmlns:a16="http://schemas.microsoft.com/office/drawing/2014/main" xmlns="" id="{9C75237B-DBEA-42A2-A77B-A7900840A926}"/>
                </a:ext>
              </a:extLst>
            </p:cNvPr>
            <p:cNvSpPr/>
            <p:nvPr/>
          </p:nvSpPr>
          <p:spPr>
            <a:xfrm>
              <a:off x="6672064" y="2669601"/>
              <a:ext cx="4464496" cy="4071767"/>
            </a:xfrm>
            <a:prstGeom prst="rect">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a:latin typeface="SwissReSans" pitchFamily="34" charset="0"/>
              </a:endParaRPr>
            </a:p>
          </p:txBody>
        </p:sp>
        <p:grpSp>
          <p:nvGrpSpPr>
            <p:cNvPr id="27" name="Group 26">
              <a:extLst>
                <a:ext uri="{FF2B5EF4-FFF2-40B4-BE49-F238E27FC236}">
                  <a16:creationId xmlns:a16="http://schemas.microsoft.com/office/drawing/2014/main" xmlns="" id="{1A5FAF22-C69A-48EE-907E-1D8119645F81}"/>
                </a:ext>
              </a:extLst>
            </p:cNvPr>
            <p:cNvGrpSpPr/>
            <p:nvPr/>
          </p:nvGrpSpPr>
          <p:grpSpPr>
            <a:xfrm>
              <a:off x="6834149" y="2738305"/>
              <a:ext cx="4140327" cy="3934359"/>
              <a:chOff x="6924312" y="2680522"/>
              <a:chExt cx="4140327" cy="3934359"/>
            </a:xfrm>
          </p:grpSpPr>
          <p:sp>
            <p:nvSpPr>
              <p:cNvPr id="40" name="Rectangle 79">
                <a:extLst>
                  <a:ext uri="{FF2B5EF4-FFF2-40B4-BE49-F238E27FC236}">
                    <a16:creationId xmlns:a16="http://schemas.microsoft.com/office/drawing/2014/main" xmlns="" id="{D3816F69-A6FF-40AA-96AA-CF8FC67758B8}"/>
                  </a:ext>
                </a:extLst>
              </p:cNvPr>
              <p:cNvSpPr/>
              <p:nvPr/>
            </p:nvSpPr>
            <p:spPr>
              <a:xfrm>
                <a:off x="7847893" y="2680522"/>
                <a:ext cx="2293164" cy="244422"/>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a:solidFill>
                      <a:schemeClr val="tx2"/>
                    </a:solidFill>
                    <a:latin typeface="SwissReSans" pitchFamily="34" charset="0"/>
                  </a:rPr>
                  <a:t>Balance sheet</a:t>
                </a:r>
              </a:p>
            </p:txBody>
          </p:sp>
          <p:grpSp>
            <p:nvGrpSpPr>
              <p:cNvPr id="26" name="Group 25">
                <a:extLst>
                  <a:ext uri="{FF2B5EF4-FFF2-40B4-BE49-F238E27FC236}">
                    <a16:creationId xmlns:a16="http://schemas.microsoft.com/office/drawing/2014/main" xmlns="" id="{498DA12E-8CE9-4640-A6D1-A0CB18AF0643}"/>
                  </a:ext>
                </a:extLst>
              </p:cNvPr>
              <p:cNvGrpSpPr/>
              <p:nvPr/>
            </p:nvGrpSpPr>
            <p:grpSpPr>
              <a:xfrm>
                <a:off x="6924312" y="2894917"/>
                <a:ext cx="4140327" cy="3719964"/>
                <a:chOff x="6924312" y="2894917"/>
                <a:chExt cx="4140327" cy="3719964"/>
              </a:xfrm>
            </p:grpSpPr>
            <p:sp>
              <p:nvSpPr>
                <p:cNvPr id="31" name="Rectangle 71">
                  <a:extLst>
                    <a:ext uri="{FF2B5EF4-FFF2-40B4-BE49-F238E27FC236}">
                      <a16:creationId xmlns:a16="http://schemas.microsoft.com/office/drawing/2014/main" xmlns="" id="{5DC2B8D9-8B5E-49E6-A324-9945DAA69C02}"/>
                    </a:ext>
                  </a:extLst>
                </p:cNvPr>
                <p:cNvSpPr/>
                <p:nvPr/>
              </p:nvSpPr>
              <p:spPr>
                <a:xfrm>
                  <a:off x="6924312" y="3310413"/>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Investments</a:t>
                  </a:r>
                </a:p>
              </p:txBody>
            </p:sp>
            <p:sp>
              <p:nvSpPr>
                <p:cNvPr id="32" name="Rectangle 72">
                  <a:extLst>
                    <a:ext uri="{FF2B5EF4-FFF2-40B4-BE49-F238E27FC236}">
                      <a16:creationId xmlns:a16="http://schemas.microsoft.com/office/drawing/2014/main" xmlns="" id="{5DF21221-A0D4-4CE4-9E81-20BFC9C159E8}"/>
                    </a:ext>
                  </a:extLst>
                </p:cNvPr>
                <p:cNvSpPr/>
                <p:nvPr/>
              </p:nvSpPr>
              <p:spPr>
                <a:xfrm>
                  <a:off x="6924312" y="3725909"/>
                  <a:ext cx="1980000" cy="396000"/>
                </a:xfrm>
                <a:prstGeom prst="rect">
                  <a:avLst/>
                </a:prstGeom>
                <a:solidFill>
                  <a:schemeClr val="accent4">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Insurance contracts issued that are assets</a:t>
                  </a:r>
                </a:p>
              </p:txBody>
            </p:sp>
            <p:sp>
              <p:nvSpPr>
                <p:cNvPr id="34" name="Rectangle 73">
                  <a:extLst>
                    <a:ext uri="{FF2B5EF4-FFF2-40B4-BE49-F238E27FC236}">
                      <a16:creationId xmlns:a16="http://schemas.microsoft.com/office/drawing/2014/main" xmlns="" id="{73BC5515-ACC4-4F0A-877E-A39E2AA63265}"/>
                    </a:ext>
                  </a:extLst>
                </p:cNvPr>
                <p:cNvSpPr/>
                <p:nvPr/>
              </p:nvSpPr>
              <p:spPr>
                <a:xfrm>
                  <a:off x="6924312" y="5803389"/>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Other assets</a:t>
                  </a:r>
                </a:p>
              </p:txBody>
            </p:sp>
            <p:sp>
              <p:nvSpPr>
                <p:cNvPr id="35" name="Rectangle 74">
                  <a:extLst>
                    <a:ext uri="{FF2B5EF4-FFF2-40B4-BE49-F238E27FC236}">
                      <a16:creationId xmlns:a16="http://schemas.microsoft.com/office/drawing/2014/main" xmlns="" id="{BF4EBC73-6AA3-4855-B67F-90EB741FCC66}"/>
                    </a:ext>
                  </a:extLst>
                </p:cNvPr>
                <p:cNvSpPr/>
                <p:nvPr/>
              </p:nvSpPr>
              <p:spPr>
                <a:xfrm>
                  <a:off x="6924312" y="6218881"/>
                  <a:ext cx="1980000" cy="396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bg1"/>
                      </a:solidFill>
                      <a:latin typeface="SwissReSans" pitchFamily="34" charset="0"/>
                    </a:rPr>
                    <a:t>Total assets</a:t>
                  </a:r>
                </a:p>
              </p:txBody>
            </p:sp>
            <p:sp>
              <p:nvSpPr>
                <p:cNvPr id="36" name="Rectangle 75">
                  <a:extLst>
                    <a:ext uri="{FF2B5EF4-FFF2-40B4-BE49-F238E27FC236}">
                      <a16:creationId xmlns:a16="http://schemas.microsoft.com/office/drawing/2014/main" xmlns="" id="{BA909944-BC7E-42AF-BC09-9AF8310483DC}"/>
                    </a:ext>
                  </a:extLst>
                </p:cNvPr>
                <p:cNvSpPr/>
                <p:nvPr/>
              </p:nvSpPr>
              <p:spPr>
                <a:xfrm>
                  <a:off x="9084639" y="2894917"/>
                  <a:ext cx="1980000" cy="396000"/>
                </a:xfrm>
                <a:prstGeom prst="rect">
                  <a:avLst/>
                </a:prstGeom>
                <a:solidFill>
                  <a:schemeClr val="accent4">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Insurance contracts issued that are liabilities</a:t>
                  </a:r>
                </a:p>
              </p:txBody>
            </p:sp>
            <p:sp>
              <p:nvSpPr>
                <p:cNvPr id="37" name="Rectangle 76">
                  <a:extLst>
                    <a:ext uri="{FF2B5EF4-FFF2-40B4-BE49-F238E27FC236}">
                      <a16:creationId xmlns:a16="http://schemas.microsoft.com/office/drawing/2014/main" xmlns="" id="{847B74C5-E04B-4285-B03A-22F903CE1A0C}"/>
                    </a:ext>
                  </a:extLst>
                </p:cNvPr>
                <p:cNvSpPr/>
                <p:nvPr/>
              </p:nvSpPr>
              <p:spPr>
                <a:xfrm>
                  <a:off x="9084639" y="3310413"/>
                  <a:ext cx="1980000" cy="396000"/>
                </a:xfrm>
                <a:prstGeom prst="rect">
                  <a:avLst/>
                </a:prstGeom>
                <a:solidFill>
                  <a:schemeClr val="accent4">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Reinsurance contracts that are liabilities</a:t>
                  </a:r>
                </a:p>
              </p:txBody>
            </p:sp>
            <p:sp>
              <p:nvSpPr>
                <p:cNvPr id="38" name="Rectangle 77">
                  <a:extLst>
                    <a:ext uri="{FF2B5EF4-FFF2-40B4-BE49-F238E27FC236}">
                      <a16:creationId xmlns:a16="http://schemas.microsoft.com/office/drawing/2014/main" xmlns="" id="{5888AE8C-35AE-4C4B-A96C-ABAA43F400E2}"/>
                    </a:ext>
                  </a:extLst>
                </p:cNvPr>
                <p:cNvSpPr/>
                <p:nvPr/>
              </p:nvSpPr>
              <p:spPr>
                <a:xfrm>
                  <a:off x="9084639" y="5387893"/>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Equity</a:t>
                  </a:r>
                </a:p>
              </p:txBody>
            </p:sp>
            <p:sp>
              <p:nvSpPr>
                <p:cNvPr id="39" name="Rectangle 78">
                  <a:extLst>
                    <a:ext uri="{FF2B5EF4-FFF2-40B4-BE49-F238E27FC236}">
                      <a16:creationId xmlns:a16="http://schemas.microsoft.com/office/drawing/2014/main" xmlns="" id="{47C8E089-7563-45AC-81FF-425BACAEF3D9}"/>
                    </a:ext>
                  </a:extLst>
                </p:cNvPr>
                <p:cNvSpPr/>
                <p:nvPr/>
              </p:nvSpPr>
              <p:spPr>
                <a:xfrm>
                  <a:off x="9084639" y="6218881"/>
                  <a:ext cx="1980000" cy="39600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bg1"/>
                      </a:solidFill>
                      <a:latin typeface="SwissReSans" pitchFamily="34" charset="0"/>
                    </a:rPr>
                    <a:t>Total liabilities and equity</a:t>
                  </a:r>
                </a:p>
              </p:txBody>
            </p:sp>
            <p:sp>
              <p:nvSpPr>
                <p:cNvPr id="42" name="Rectangle 72">
                  <a:extLst>
                    <a:ext uri="{FF2B5EF4-FFF2-40B4-BE49-F238E27FC236}">
                      <a16:creationId xmlns:a16="http://schemas.microsoft.com/office/drawing/2014/main" xmlns="" id="{824C4E78-E9CD-4F34-B62B-DA792CD94D88}"/>
                    </a:ext>
                  </a:extLst>
                </p:cNvPr>
                <p:cNvSpPr/>
                <p:nvPr/>
              </p:nvSpPr>
              <p:spPr>
                <a:xfrm>
                  <a:off x="6924312" y="4141405"/>
                  <a:ext cx="1980000" cy="396000"/>
                </a:xfrm>
                <a:prstGeom prst="rect">
                  <a:avLst/>
                </a:prstGeom>
                <a:solidFill>
                  <a:schemeClr val="accent4">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Reinsurance contracts held that are assets</a:t>
                  </a:r>
                </a:p>
              </p:txBody>
            </p:sp>
            <p:sp>
              <p:nvSpPr>
                <p:cNvPr id="44" name="Rectangle 76">
                  <a:extLst>
                    <a:ext uri="{FF2B5EF4-FFF2-40B4-BE49-F238E27FC236}">
                      <a16:creationId xmlns:a16="http://schemas.microsoft.com/office/drawing/2014/main" xmlns="" id="{384C53E1-5D76-4E13-8C09-11F4A4FDADBD}"/>
                    </a:ext>
                  </a:extLst>
                </p:cNvPr>
                <p:cNvSpPr/>
                <p:nvPr/>
              </p:nvSpPr>
              <p:spPr>
                <a:xfrm>
                  <a:off x="9084639" y="4972397"/>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Other liabilities</a:t>
                  </a:r>
                </a:p>
              </p:txBody>
            </p:sp>
            <p:sp>
              <p:nvSpPr>
                <p:cNvPr id="48" name="Rectangle 73">
                  <a:extLst>
                    <a:ext uri="{FF2B5EF4-FFF2-40B4-BE49-F238E27FC236}">
                      <a16:creationId xmlns:a16="http://schemas.microsoft.com/office/drawing/2014/main" xmlns="" id="{FE849FDA-AB40-42E5-81EB-1E4A25AB67F3}"/>
                    </a:ext>
                  </a:extLst>
                </p:cNvPr>
                <p:cNvSpPr/>
                <p:nvPr/>
              </p:nvSpPr>
              <p:spPr>
                <a:xfrm>
                  <a:off x="6924312" y="5387893"/>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Deferred tax assets</a:t>
                  </a:r>
                </a:p>
              </p:txBody>
            </p:sp>
            <p:sp>
              <p:nvSpPr>
                <p:cNvPr id="49" name="Rectangle 73">
                  <a:extLst>
                    <a:ext uri="{FF2B5EF4-FFF2-40B4-BE49-F238E27FC236}">
                      <a16:creationId xmlns:a16="http://schemas.microsoft.com/office/drawing/2014/main" xmlns="" id="{CDDD943E-ACBA-40E4-A3A5-FB3A606E9B0F}"/>
                    </a:ext>
                  </a:extLst>
                </p:cNvPr>
                <p:cNvSpPr/>
                <p:nvPr/>
              </p:nvSpPr>
              <p:spPr>
                <a:xfrm>
                  <a:off x="6924312" y="4972397"/>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Income taxes recoverable</a:t>
                  </a:r>
                </a:p>
              </p:txBody>
            </p:sp>
            <p:sp>
              <p:nvSpPr>
                <p:cNvPr id="50" name="Rectangle 73">
                  <a:extLst>
                    <a:ext uri="{FF2B5EF4-FFF2-40B4-BE49-F238E27FC236}">
                      <a16:creationId xmlns:a16="http://schemas.microsoft.com/office/drawing/2014/main" xmlns="" id="{A4431154-9470-4FAF-8B71-E2C2E6CD5937}"/>
                    </a:ext>
                  </a:extLst>
                </p:cNvPr>
                <p:cNvSpPr/>
                <p:nvPr/>
              </p:nvSpPr>
              <p:spPr>
                <a:xfrm>
                  <a:off x="6924312" y="4556901"/>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Goodwill</a:t>
                  </a:r>
                </a:p>
              </p:txBody>
            </p:sp>
            <p:sp>
              <p:nvSpPr>
                <p:cNvPr id="51" name="Rectangle 71">
                  <a:extLst>
                    <a:ext uri="{FF2B5EF4-FFF2-40B4-BE49-F238E27FC236}">
                      <a16:creationId xmlns:a16="http://schemas.microsoft.com/office/drawing/2014/main" xmlns="" id="{859F80DE-8613-43F3-925F-9243B54607C2}"/>
                    </a:ext>
                  </a:extLst>
                </p:cNvPr>
                <p:cNvSpPr/>
                <p:nvPr/>
              </p:nvSpPr>
              <p:spPr>
                <a:xfrm>
                  <a:off x="6924312" y="2894917"/>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Cash and cash equivalents</a:t>
                  </a:r>
                </a:p>
              </p:txBody>
            </p:sp>
            <p:sp>
              <p:nvSpPr>
                <p:cNvPr id="53" name="Rectangle 76">
                  <a:extLst>
                    <a:ext uri="{FF2B5EF4-FFF2-40B4-BE49-F238E27FC236}">
                      <a16:creationId xmlns:a16="http://schemas.microsoft.com/office/drawing/2014/main" xmlns="" id="{2EFE744C-BAD3-4546-BFEE-3ACC20A30101}"/>
                    </a:ext>
                  </a:extLst>
                </p:cNvPr>
                <p:cNvSpPr/>
                <p:nvPr/>
              </p:nvSpPr>
              <p:spPr>
                <a:xfrm>
                  <a:off x="9084639" y="3725909"/>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Debt issued</a:t>
                  </a:r>
                </a:p>
              </p:txBody>
            </p:sp>
            <p:sp>
              <p:nvSpPr>
                <p:cNvPr id="54" name="Rectangle 76">
                  <a:extLst>
                    <a:ext uri="{FF2B5EF4-FFF2-40B4-BE49-F238E27FC236}">
                      <a16:creationId xmlns:a16="http://schemas.microsoft.com/office/drawing/2014/main" xmlns="" id="{C72BFFEF-42CC-403E-AB59-77E4E05998DE}"/>
                    </a:ext>
                  </a:extLst>
                </p:cNvPr>
                <p:cNvSpPr/>
                <p:nvPr/>
              </p:nvSpPr>
              <p:spPr>
                <a:xfrm>
                  <a:off x="9084639" y="4141405"/>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Income taxes payable</a:t>
                  </a:r>
                </a:p>
              </p:txBody>
            </p:sp>
            <p:sp>
              <p:nvSpPr>
                <p:cNvPr id="55" name="Rectangle 76">
                  <a:extLst>
                    <a:ext uri="{FF2B5EF4-FFF2-40B4-BE49-F238E27FC236}">
                      <a16:creationId xmlns:a16="http://schemas.microsoft.com/office/drawing/2014/main" xmlns="" id="{8F21D12B-F817-43D0-BAF6-6C6388AC8E60}"/>
                    </a:ext>
                  </a:extLst>
                </p:cNvPr>
                <p:cNvSpPr/>
                <p:nvPr/>
              </p:nvSpPr>
              <p:spPr>
                <a:xfrm>
                  <a:off x="9084639" y="4556901"/>
                  <a:ext cx="1980000" cy="396000"/>
                </a:xfrm>
                <a:prstGeom prst="rect">
                  <a:avLst/>
                </a:prstGeom>
                <a:solidFill>
                  <a:schemeClr val="accent4">
                    <a:lumMod val="20000"/>
                    <a:lumOff val="8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0">
                      <a:solidFill>
                        <a:schemeClr val="tx1"/>
                      </a:solidFill>
                      <a:latin typeface="SwissReSans" pitchFamily="34" charset="0"/>
                    </a:rPr>
                    <a:t>Deferred tax liabilities</a:t>
                  </a:r>
                </a:p>
              </p:txBody>
            </p:sp>
          </p:grpSp>
        </p:grpSp>
      </p:grpSp>
      <p:sp>
        <p:nvSpPr>
          <p:cNvPr id="46" name="Line Callout 1 (Border and Accent Bar) 23">
            <a:extLst>
              <a:ext uri="{FF2B5EF4-FFF2-40B4-BE49-F238E27FC236}">
                <a16:creationId xmlns:a16="http://schemas.microsoft.com/office/drawing/2014/main" xmlns="" id="{EFE05FCD-0F8F-4813-84C9-0C4EADDB2AC6}"/>
              </a:ext>
            </a:extLst>
          </p:cNvPr>
          <p:cNvSpPr/>
          <p:nvPr/>
        </p:nvSpPr>
        <p:spPr>
          <a:xfrm>
            <a:off x="6389425" y="1396093"/>
            <a:ext cx="5107249" cy="900246"/>
          </a:xfrm>
          <a:prstGeom prst="accentBorderCallout1">
            <a:avLst>
              <a:gd name="adj1" fmla="val 44048"/>
              <a:gd name="adj2" fmla="val -2163"/>
              <a:gd name="adj3" fmla="val 238558"/>
              <a:gd name="adj4" fmla="val -16565"/>
            </a:avLst>
          </a:prstGeom>
          <a:ln w="12700">
            <a:solidFill>
              <a:schemeClr val="bg1">
                <a:lumMod val="50000"/>
              </a:schemeClr>
            </a:solidFill>
          </a:ln>
        </p:spPr>
        <p:txBody>
          <a:bodyPr wrap="square">
            <a:spAutoFit/>
          </a:bodyPr>
          <a:lstStyle/>
          <a:p>
            <a:pPr marL="171450" indent="-171450">
              <a:buFont typeface="Wingdings" panose="05000000000000000000" pitchFamily="2" charset="2"/>
              <a:buChar char="§"/>
            </a:pPr>
            <a:r>
              <a:rPr lang="en-GB" sz="1050" b="1">
                <a:solidFill>
                  <a:srgbClr val="000000"/>
                </a:solidFill>
                <a:latin typeface="SwissReSans Light" panose="020B0504020202020204" pitchFamily="34" charset="0"/>
              </a:rPr>
              <a:t>Unearned profit recognised over coverage period</a:t>
            </a:r>
            <a:endParaRPr lang="en-GB" altLang="zh-CN" sz="1050" b="1">
              <a:solidFill>
                <a:srgbClr val="000000"/>
              </a:solidFill>
              <a:latin typeface="SwissReSans Light" panose="020B0504020202020204" pitchFamily="34" charset="0"/>
            </a:endParaRPr>
          </a:p>
          <a:p>
            <a:pPr marL="171450" indent="-171450">
              <a:buFont typeface="Wingdings" panose="05000000000000000000" pitchFamily="2" charset="2"/>
              <a:buChar char="§"/>
            </a:pPr>
            <a:r>
              <a:rPr lang="en-GB" altLang="zh-CN" sz="1050">
                <a:solidFill>
                  <a:srgbClr val="000000"/>
                </a:solidFill>
                <a:latin typeface="SwissReSans Light" panose="020B0504020202020204" pitchFamily="34" charset="0"/>
              </a:rPr>
              <a:t>Purpose of CSM is to report profitability from the portfolio over time (no day-one profit)</a:t>
            </a:r>
          </a:p>
          <a:p>
            <a:pPr marL="171450" indent="-171450">
              <a:buFont typeface="Wingdings" panose="05000000000000000000" pitchFamily="2" charset="2"/>
              <a:buChar char="§"/>
            </a:pPr>
            <a:r>
              <a:rPr lang="en-GB" altLang="zh-CN" sz="1050">
                <a:solidFill>
                  <a:srgbClr val="000000"/>
                </a:solidFill>
                <a:latin typeface="SwissReSans Light" panose="020B0504020202020204" pitchFamily="34" charset="0"/>
              </a:rPr>
              <a:t>CSM floored at zero; losses from onerous contracts are recognised in P&amp;L immediately</a:t>
            </a:r>
          </a:p>
          <a:p>
            <a:pPr marL="171450" indent="-171450">
              <a:buFont typeface="Wingdings" panose="05000000000000000000" pitchFamily="2" charset="2"/>
              <a:buChar char="§"/>
            </a:pPr>
            <a:r>
              <a:rPr lang="en-GB" altLang="zh-CN" sz="1050">
                <a:solidFill>
                  <a:srgbClr val="000000"/>
                </a:solidFill>
                <a:latin typeface="SwissReSans Light" panose="020B0504020202020204" pitchFamily="34" charset="0"/>
              </a:rPr>
              <a:t>Interest accreted on CSM is based on locked-in rates</a:t>
            </a:r>
          </a:p>
        </p:txBody>
      </p:sp>
      <p:pic>
        <p:nvPicPr>
          <p:cNvPr id="56" name="Picture 55">
            <a:extLst>
              <a:ext uri="{FF2B5EF4-FFF2-40B4-BE49-F238E27FC236}">
                <a16:creationId xmlns:a16="http://schemas.microsoft.com/office/drawing/2014/main" xmlns="" id="{504912BB-9379-438F-96F6-9408772E6F0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190500" y="157654"/>
            <a:ext cx="755375" cy="760943"/>
          </a:xfrm>
          <a:prstGeom prst="rect">
            <a:avLst/>
          </a:prstGeom>
        </p:spPr>
      </p:pic>
    </p:spTree>
    <p:extLst>
      <p:ext uri="{BB962C8B-B14F-4D97-AF65-F5344CB8AC3E}">
        <p14:creationId xmlns:p14="http://schemas.microsoft.com/office/powerpoint/2010/main" val="34948394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a:extLst>
              <a:ext uri="{FF2B5EF4-FFF2-40B4-BE49-F238E27FC236}">
                <a16:creationId xmlns:a16="http://schemas.microsoft.com/office/drawing/2014/main" xmlns="" id="{1498136B-CBDB-4824-A50B-099C7A8D14F2}"/>
              </a:ext>
            </a:extLst>
          </p:cNvPr>
          <p:cNvPicPr>
            <a:picLocks/>
          </p:cNvPicPr>
          <p:nvPr>
            <p:custDataLst>
              <p:tags r:id="rId1"/>
            </p:custDataLst>
          </p:nvPr>
        </p:nvPicPr>
        <p:blipFill rotWithShape="1">
          <a:blip r:embed="rId3">
            <a:extLst>
              <a:ext uri="{28A0092B-C50C-407E-A947-70E740481C1C}">
                <a14:useLocalDpi xmlns:a14="http://schemas.microsoft.com/office/drawing/2010/main" val="0"/>
              </a:ext>
            </a:extLst>
          </a:blip>
          <a:srcRect r="52362"/>
          <a:stretch/>
        </p:blipFill>
        <p:spPr bwMode="gray">
          <a:xfrm rot="10800000">
            <a:off x="9054251" y="1268755"/>
            <a:ext cx="2439007" cy="4897088"/>
          </a:xfrm>
          <a:prstGeom prst="rect">
            <a:avLst/>
          </a:prstGeom>
          <a:ln>
            <a:solidFill>
              <a:schemeClr val="accent3"/>
            </a:solidFill>
          </a:ln>
        </p:spPr>
      </p:pic>
      <p:sp>
        <p:nvSpPr>
          <p:cNvPr id="3" name="Titel 2">
            <a:extLst>
              <a:ext uri="{FF2B5EF4-FFF2-40B4-BE49-F238E27FC236}">
                <a16:creationId xmlns:a16="http://schemas.microsoft.com/office/drawing/2014/main" xmlns="" id="{E6F52281-B131-4402-B40C-20D7CF43BB9B}"/>
              </a:ext>
            </a:extLst>
          </p:cNvPr>
          <p:cNvSpPr>
            <a:spLocks noGrp="1"/>
          </p:cNvSpPr>
          <p:nvPr>
            <p:ph type="title"/>
          </p:nvPr>
        </p:nvSpPr>
        <p:spPr>
          <a:xfrm>
            <a:off x="695325" y="692151"/>
            <a:ext cx="11017250" cy="692647"/>
          </a:xfrm>
        </p:spPr>
        <p:txBody>
          <a:bodyPr/>
          <a:lstStyle/>
          <a:p>
            <a:r>
              <a:rPr lang="en-GB"/>
              <a:t>Balance sheet: Assets</a:t>
            </a:r>
          </a:p>
        </p:txBody>
      </p:sp>
      <p:sp>
        <p:nvSpPr>
          <p:cNvPr id="4" name="Foliennummernplatzhalter 3">
            <a:extLst>
              <a:ext uri="{FF2B5EF4-FFF2-40B4-BE49-F238E27FC236}">
                <a16:creationId xmlns:a16="http://schemas.microsoft.com/office/drawing/2014/main" xmlns="" id="{6E0AB2CA-B705-4AA8-83AF-2A940054AB1D}"/>
              </a:ext>
            </a:extLst>
          </p:cNvPr>
          <p:cNvSpPr>
            <a:spLocks noGrp="1"/>
          </p:cNvSpPr>
          <p:nvPr>
            <p:ph type="sldNum" sz="quarter" idx="12"/>
          </p:nvPr>
        </p:nvSpPr>
        <p:spPr/>
        <p:txBody>
          <a:bodyPr/>
          <a:lstStyle/>
          <a:p>
            <a:fld id="{5E4D2043-7E31-4A53-BD33-72A88E682172}" type="slidenum">
              <a:rPr lang="en-GB" smtClean="0"/>
              <a:pPr/>
              <a:t>19</a:t>
            </a:fld>
            <a:endParaRPr lang="en-GB"/>
          </a:p>
        </p:txBody>
      </p:sp>
      <p:sp>
        <p:nvSpPr>
          <p:cNvPr id="2" name="TextBox 1">
            <a:extLst>
              <a:ext uri="{FF2B5EF4-FFF2-40B4-BE49-F238E27FC236}">
                <a16:creationId xmlns:a16="http://schemas.microsoft.com/office/drawing/2014/main" xmlns="" id="{DC052E8C-AFD4-4C65-9A7C-548F50377C48}"/>
              </a:ext>
            </a:extLst>
          </p:cNvPr>
          <p:cNvSpPr txBox="1"/>
          <p:nvPr/>
        </p:nvSpPr>
        <p:spPr>
          <a:xfrm>
            <a:off x="8985585" y="1456800"/>
            <a:ext cx="2439007" cy="3590727"/>
          </a:xfrm>
          <a:prstGeom prst="rect">
            <a:avLst/>
          </a:prstGeom>
          <a:noFill/>
        </p:spPr>
        <p:txBody>
          <a:bodyPr wrap="square" rtlCol="0">
            <a:spAutoFit/>
          </a:bodyPr>
          <a:lstStyle/>
          <a:p>
            <a:endParaRPr lang="en-GB" sz="1100" b="1">
              <a:solidFill>
                <a:schemeClr val="bg1"/>
              </a:solidFill>
              <a:latin typeface="SwissReSans" pitchFamily="34" charset="0"/>
            </a:endParaRPr>
          </a:p>
          <a:p>
            <a:pPr marL="180000" indent="-108000">
              <a:buFont typeface="Arial" panose="020B0604020202020204" pitchFamily="34" charset="0"/>
              <a:buChar char="•"/>
            </a:pPr>
            <a:endParaRPr lang="en-GB" sz="1100" u="sng">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Overall, fewer line items under IFRS 17</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Insurance receivables/ payable part of the insurance contracts assets/liabilities ​</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US" sz="1100">
                <a:solidFill>
                  <a:schemeClr val="bg1"/>
                </a:solidFill>
                <a:latin typeface="SwissReSans" pitchFamily="34" charset="0"/>
              </a:rPr>
              <a:t>Assumed and reinsured business shown separately</a:t>
            </a:r>
          </a:p>
          <a:p>
            <a:pPr marL="180000" indent="-108000">
              <a:buFont typeface="Arial" panose="020B0604020202020204" pitchFamily="34" charset="0"/>
              <a:buChar char="•"/>
            </a:pPr>
            <a:endParaRPr lang="en-US"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Split of insurance contracts portfolios in net asset or liabilities position  - split done based on management reporting level</a:t>
            </a:r>
          </a:p>
          <a:p>
            <a:pPr marL="180000" indent="-108000">
              <a:buFont typeface="Arial" panose="020B0604020202020204" pitchFamily="34" charset="0"/>
              <a:buChar char="•"/>
            </a:pPr>
            <a:endParaRPr lang="en-US" sz="1100">
              <a:solidFill>
                <a:schemeClr val="bg1"/>
              </a:solidFill>
              <a:latin typeface="SwissReSans" pitchFamily="34" charset="0"/>
            </a:endParaRPr>
          </a:p>
          <a:p>
            <a:pPr marL="180000" indent="-108000">
              <a:buFont typeface="Arial" panose="020B0604020202020204" pitchFamily="34" charset="0"/>
              <a:buChar char="•"/>
            </a:pPr>
            <a:r>
              <a:rPr lang="en-US" sz="1100">
                <a:solidFill>
                  <a:schemeClr val="bg1"/>
                </a:solidFill>
                <a:latin typeface="SwissReSans" pitchFamily="34" charset="0"/>
              </a:rPr>
              <a:t>There are a lot of details in the relevant notes...! </a:t>
            </a:r>
            <a:r>
              <a:rPr lang="en-US" sz="1100" i="1"/>
              <a:t> </a:t>
            </a:r>
            <a:r>
              <a:rPr lang="en-US" sz="1100"/>
              <a:t>​</a:t>
            </a:r>
            <a:endParaRPr lang="en-GB" sz="1100">
              <a:solidFill>
                <a:schemeClr val="bg1"/>
              </a:solidFill>
              <a:latin typeface="SwissReSans" pitchFamily="34" charset="0"/>
            </a:endParaRPr>
          </a:p>
          <a:p>
            <a:pPr marL="180000" indent="-108000">
              <a:buFont typeface="Arial" panose="020B0604020202020204" pitchFamily="34" charset="0"/>
              <a:buChar char="•"/>
            </a:pPr>
            <a:endParaRPr lang="en-GB" sz="1100" baseline="30000">
              <a:solidFill>
                <a:schemeClr val="bg1"/>
              </a:solidFill>
              <a:latin typeface="SwissReSans" pitchFamily="34" charset="0"/>
            </a:endParaRPr>
          </a:p>
        </p:txBody>
      </p:sp>
      <p:sp>
        <p:nvSpPr>
          <p:cNvPr id="22" name="Rectangle 21">
            <a:extLst>
              <a:ext uri="{FF2B5EF4-FFF2-40B4-BE49-F238E27FC236}">
                <a16:creationId xmlns:a16="http://schemas.microsoft.com/office/drawing/2014/main" xmlns="" id="{498FBB30-867F-4E36-A7EE-61B3A28FF4A2}"/>
              </a:ext>
            </a:extLst>
          </p:cNvPr>
          <p:cNvSpPr/>
          <p:nvPr/>
        </p:nvSpPr>
        <p:spPr>
          <a:xfrm>
            <a:off x="695325"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3" name="Rectangle 22">
            <a:extLst>
              <a:ext uri="{FF2B5EF4-FFF2-40B4-BE49-F238E27FC236}">
                <a16:creationId xmlns:a16="http://schemas.microsoft.com/office/drawing/2014/main" xmlns="" id="{62D38184-7B2D-4540-B0CD-33962F96A5B6}"/>
              </a:ext>
            </a:extLst>
          </p:cNvPr>
          <p:cNvSpPr/>
          <p:nvPr/>
        </p:nvSpPr>
        <p:spPr>
          <a:xfrm>
            <a:off x="4874788"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5" name="TextBox 24">
            <a:extLst>
              <a:ext uri="{FF2B5EF4-FFF2-40B4-BE49-F238E27FC236}">
                <a16:creationId xmlns:a16="http://schemas.microsoft.com/office/drawing/2014/main" xmlns="" id="{C848AC28-3C12-4165-9A79-989662593F4D}"/>
              </a:ext>
            </a:extLst>
          </p:cNvPr>
          <p:cNvSpPr txBox="1"/>
          <p:nvPr/>
        </p:nvSpPr>
        <p:spPr>
          <a:xfrm>
            <a:off x="695325" y="1196752"/>
            <a:ext cx="962315"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Current</a:t>
            </a:r>
          </a:p>
        </p:txBody>
      </p:sp>
      <p:sp>
        <p:nvSpPr>
          <p:cNvPr id="26" name="TextBox 25">
            <a:extLst>
              <a:ext uri="{FF2B5EF4-FFF2-40B4-BE49-F238E27FC236}">
                <a16:creationId xmlns:a16="http://schemas.microsoft.com/office/drawing/2014/main" xmlns="" id="{11E2BB82-5D9A-4B34-BB19-30897E8D8A34}"/>
              </a:ext>
            </a:extLst>
          </p:cNvPr>
          <p:cNvSpPr txBox="1"/>
          <p:nvPr/>
        </p:nvSpPr>
        <p:spPr>
          <a:xfrm>
            <a:off x="4872344" y="1196752"/>
            <a:ext cx="658194"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New</a:t>
            </a:r>
          </a:p>
        </p:txBody>
      </p:sp>
      <p:sp>
        <p:nvSpPr>
          <p:cNvPr id="27" name="TextBox 26">
            <a:extLst>
              <a:ext uri="{FF2B5EF4-FFF2-40B4-BE49-F238E27FC236}">
                <a16:creationId xmlns:a16="http://schemas.microsoft.com/office/drawing/2014/main" xmlns="" id="{8F415A80-A9A9-48AC-B644-85975E77B7A0}"/>
              </a:ext>
            </a:extLst>
          </p:cNvPr>
          <p:cNvSpPr txBox="1"/>
          <p:nvPr/>
        </p:nvSpPr>
        <p:spPr>
          <a:xfrm>
            <a:off x="9054250" y="1196752"/>
            <a:ext cx="1634230" cy="369332"/>
          </a:xfrm>
          <a:prstGeom prst="rect">
            <a:avLst/>
          </a:prstGeom>
          <a:noFill/>
        </p:spPr>
        <p:txBody>
          <a:bodyPr wrap="none" rtlCol="0">
            <a:spAutoFit/>
          </a:bodyPr>
          <a:lstStyle/>
          <a:p>
            <a:r>
              <a:rPr lang="en-GB" b="1">
                <a:solidFill>
                  <a:schemeClr val="bg1"/>
                </a:solidFill>
                <a:latin typeface="SwissReSans" pitchFamily="34" charset="0"/>
              </a:rPr>
              <a:t>Main changes</a:t>
            </a:r>
          </a:p>
        </p:txBody>
      </p:sp>
      <p:graphicFrame>
        <p:nvGraphicFramePr>
          <p:cNvPr id="6" name="Table 5">
            <a:extLst>
              <a:ext uri="{FF2B5EF4-FFF2-40B4-BE49-F238E27FC236}">
                <a16:creationId xmlns:a16="http://schemas.microsoft.com/office/drawing/2014/main" xmlns="" id="{4FDF7EDA-5968-40B7-AC09-50D3B7F577B0}"/>
              </a:ext>
            </a:extLst>
          </p:cNvPr>
          <p:cNvGraphicFramePr>
            <a:graphicFrameLocks noGrp="1"/>
          </p:cNvGraphicFramePr>
          <p:nvPr>
            <p:extLst>
              <p:ext uri="{D42A27DB-BD31-4B8C-83A1-F6EECF244321}">
                <p14:modId xmlns:p14="http://schemas.microsoft.com/office/powerpoint/2010/main" val="2593039521"/>
              </p:ext>
            </p:extLst>
          </p:nvPr>
        </p:nvGraphicFramePr>
        <p:xfrm>
          <a:off x="4988967" y="1480641"/>
          <a:ext cx="3756276" cy="4535758"/>
        </p:xfrm>
        <a:graphic>
          <a:graphicData uri="http://schemas.openxmlformats.org/drawingml/2006/table">
            <a:tbl>
              <a:tblPr/>
              <a:tblGrid>
                <a:gridCol w="3756276">
                  <a:extLst>
                    <a:ext uri="{9D8B030D-6E8A-4147-A177-3AD203B41FA5}">
                      <a16:colId xmlns:a16="http://schemas.microsoft.com/office/drawing/2014/main" xmlns="" val="1021771987"/>
                    </a:ext>
                  </a:extLst>
                </a:gridCol>
              </a:tblGrid>
              <a:tr h="228310">
                <a:tc>
                  <a:txBody>
                    <a:bodyPr/>
                    <a:lstStyle/>
                    <a:p>
                      <a:pPr algn="l" fontAlgn="ctr"/>
                      <a:r>
                        <a:rPr lang="de-CH" sz="1100" b="1" i="0" u="none" strike="noStrike">
                          <a:solidFill>
                            <a:srgbClr val="0070C0"/>
                          </a:solidFill>
                          <a:effectLst/>
                          <a:latin typeface="SwissReSans Light" panose="020B0504020202020204" pitchFamily="34" charset="0"/>
                        </a:rPr>
                        <a:t>Assets</a:t>
                      </a:r>
                    </a:p>
                  </a:txBody>
                  <a:tcPr marL="0" marR="0" marT="0" marB="0" anchor="ctr">
                    <a:lnL>
                      <a:noFill/>
                    </a:lnL>
                    <a:lnR>
                      <a:noFill/>
                    </a:lnR>
                    <a:lnT>
                      <a:noFill/>
                    </a:lnT>
                    <a:lnB>
                      <a:noFill/>
                    </a:lnB>
                  </a:tcPr>
                </a:tc>
                <a:extLst>
                  <a:ext uri="{0D108BD9-81ED-4DB2-BD59-A6C34878D82A}">
                    <a16:rowId xmlns:a16="http://schemas.microsoft.com/office/drawing/2014/main" xmlns="" val="2632629932"/>
                  </a:ext>
                </a:extLst>
              </a:tr>
              <a:tr h="172501">
                <a:tc>
                  <a:txBody>
                    <a:bodyPr/>
                    <a:lstStyle/>
                    <a:p>
                      <a:pPr algn="l" fontAlgn="ctr"/>
                      <a:endParaRPr lang="de-CH" sz="1100" b="0" i="0" u="none" strike="noStrike">
                        <a:solidFill>
                          <a:srgbClr val="AEAAAA"/>
                        </a:solidFill>
                        <a:effectLst/>
                        <a:latin typeface="SwissReSans Light" panose="020B05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xmlns="" val="3380753339"/>
                  </a:ext>
                </a:extLst>
              </a:tr>
              <a:tr h="164891">
                <a:tc>
                  <a:txBody>
                    <a:bodyPr/>
                    <a:lstStyle/>
                    <a:p>
                      <a:pPr algn="l" fontAlgn="ctr"/>
                      <a:r>
                        <a:rPr lang="en-US" sz="1050" b="0" i="0" u="none" strike="noStrike">
                          <a:solidFill>
                            <a:srgbClr val="000000"/>
                          </a:solidFill>
                          <a:effectLst/>
                          <a:latin typeface="SwissReSans Light" panose="020B0504020202020204" pitchFamily="34" charset="0"/>
                        </a:rPr>
                        <a:t>in USD millions, as of December 31</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41224640"/>
                  </a:ext>
                </a:extLst>
              </a:tr>
              <a:tr h="355149">
                <a:tc>
                  <a:txBody>
                    <a:bodyPr/>
                    <a:lstStyle/>
                    <a:p>
                      <a:pPr algn="l" fontAlgn="ctr"/>
                      <a:r>
                        <a:rPr lang="en-US" sz="1100" b="0" i="0" u="none" strike="noStrike">
                          <a:solidFill>
                            <a:srgbClr val="000000"/>
                          </a:solidFill>
                          <a:effectLst/>
                          <a:latin typeface="SwissReSans Light" panose="020B0504020202020204" pitchFamily="34" charset="0"/>
                        </a:rPr>
                        <a:t>Cash and cash equivalents (including X in 2024 and Y in 2023 subject to securities lending and repurchase agreements)</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553737018"/>
                  </a:ext>
                </a:extLst>
              </a:tr>
              <a:tr h="202942">
                <a:tc>
                  <a:txBody>
                    <a:bodyPr/>
                    <a:lstStyle/>
                    <a:p>
                      <a:pPr algn="l" fontAlgn="ctr"/>
                      <a:endParaRPr lang="de-CH" sz="1100" b="0" i="0" u="none" strike="noStrike">
                        <a:solidFill>
                          <a:srgbClr val="000000"/>
                        </a:solidFill>
                        <a:effectLst/>
                        <a:latin typeface="SwissReSans Light" panose="020B0504020202020204" pitchFamily="34" charset="0"/>
                      </a:endParaRPr>
                    </a:p>
                  </a:txBody>
                  <a:tcPr marL="0" marR="0" marT="0" marB="0" anchor="ctr">
                    <a:lnL>
                      <a:noFill/>
                    </a:lnL>
                    <a:lnR>
                      <a:noFill/>
                    </a:lnR>
                    <a:lnT>
                      <a:noFill/>
                    </a:lnT>
                    <a:lnB>
                      <a:noFill/>
                    </a:lnB>
                  </a:tcPr>
                </a:tc>
                <a:extLst>
                  <a:ext uri="{0D108BD9-81ED-4DB2-BD59-A6C34878D82A}">
                    <a16:rowId xmlns:a16="http://schemas.microsoft.com/office/drawing/2014/main" xmlns="" val="3730590783"/>
                  </a:ext>
                </a:extLst>
              </a:tr>
              <a:tr h="202942">
                <a:tc>
                  <a:txBody>
                    <a:bodyPr/>
                    <a:lstStyle/>
                    <a:p>
                      <a:pPr algn="l" fontAlgn="ctr"/>
                      <a:r>
                        <a:rPr lang="de-CH" sz="1100" b="1" i="0" u="none" strike="noStrike">
                          <a:solidFill>
                            <a:srgbClr val="00B0F0"/>
                          </a:solidFill>
                          <a:effectLst/>
                          <a:latin typeface="SwissReSans Light" panose="020B0504020202020204" pitchFamily="34" charset="0"/>
                        </a:rPr>
                        <a:t>Investments</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9585298"/>
                  </a:ext>
                </a:extLst>
              </a:tr>
              <a:tr h="355149">
                <a:tc>
                  <a:txBody>
                    <a:bodyPr/>
                    <a:lstStyle/>
                    <a:p>
                      <a:pPr algn="l" fontAlgn="ctr"/>
                      <a:r>
                        <a:rPr lang="en-US" sz="1100" b="0" i="0" u="none" strike="noStrike">
                          <a:solidFill>
                            <a:srgbClr val="000000"/>
                          </a:solidFill>
                          <a:effectLst/>
                          <a:latin typeface="SwissReSans Light" panose="020B0504020202020204" pitchFamily="34" charset="0"/>
                        </a:rPr>
                        <a:t>Fixed income securities (including X in 2024 and Y in 2023 subject to securities lending and repurchase agreements)</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131083001"/>
                  </a:ext>
                </a:extLst>
              </a:tr>
              <a:tr h="456621">
                <a:tc>
                  <a:txBody>
                    <a:bodyPr/>
                    <a:lstStyle/>
                    <a:p>
                      <a:pPr algn="l" fontAlgn="ctr"/>
                      <a:r>
                        <a:rPr lang="en-US" sz="1100" b="0" i="0" u="none" strike="noStrike">
                          <a:solidFill>
                            <a:srgbClr val="000000"/>
                          </a:solidFill>
                          <a:effectLst/>
                          <a:latin typeface="SwissReSans Light" panose="020B0504020202020204" pitchFamily="34" charset="0"/>
                        </a:rPr>
                        <a:t>Equity securities (including X in 2024 and Y in 2023 subject to securities lending and repurchase agreement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778275889"/>
                  </a:ext>
                </a:extLst>
              </a:tr>
              <a:tr h="202942">
                <a:tc>
                  <a:txBody>
                    <a:bodyPr/>
                    <a:lstStyle/>
                    <a:p>
                      <a:pPr algn="l" fontAlgn="ctr"/>
                      <a:r>
                        <a:rPr lang="de-CH" sz="1100" b="0" i="0" u="none" strike="noStrike">
                          <a:solidFill>
                            <a:srgbClr val="000000"/>
                          </a:solidFill>
                          <a:effectLst/>
                          <a:latin typeface="SwissReSans Light" panose="020B0504020202020204" pitchFamily="34" charset="0"/>
                        </a:rPr>
                        <a:t>Mortgages and other loan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580336068"/>
                  </a:ext>
                </a:extLst>
              </a:tr>
              <a:tr h="202942">
                <a:tc>
                  <a:txBody>
                    <a:bodyPr/>
                    <a:lstStyle/>
                    <a:p>
                      <a:pPr algn="l" fontAlgn="ctr"/>
                      <a:r>
                        <a:rPr lang="de-CH" sz="1100" b="0" i="0" u="none" strike="noStrike">
                          <a:solidFill>
                            <a:srgbClr val="000000"/>
                          </a:solidFill>
                          <a:effectLst/>
                          <a:latin typeface="SwissReSans Light" panose="020B0504020202020204" pitchFamily="34" charset="0"/>
                        </a:rPr>
                        <a:t>Investment property</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133682311"/>
                  </a:ext>
                </a:extLst>
              </a:tr>
              <a:tr h="202942">
                <a:tc>
                  <a:txBody>
                    <a:bodyPr/>
                    <a:lstStyle/>
                    <a:p>
                      <a:pPr algn="l" fontAlgn="ctr"/>
                      <a:r>
                        <a:rPr lang="de-CH" sz="1100" b="0" i="0" u="none" strike="noStrike">
                          <a:solidFill>
                            <a:srgbClr val="000000"/>
                          </a:solidFill>
                          <a:effectLst/>
                          <a:latin typeface="SwissReSans Light" panose="020B0504020202020204" pitchFamily="34" charset="0"/>
                        </a:rPr>
                        <a:t>Other invested asset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86774417"/>
                  </a:ext>
                </a:extLst>
              </a:tr>
              <a:tr h="202942">
                <a:tc>
                  <a:txBody>
                    <a:bodyPr/>
                    <a:lstStyle/>
                    <a:p>
                      <a:pPr algn="l" fontAlgn="ctr"/>
                      <a:r>
                        <a:rPr lang="de-CH" sz="1100" b="1" i="0" u="none" strike="noStrike">
                          <a:solidFill>
                            <a:srgbClr val="00B0F0"/>
                          </a:solidFill>
                          <a:effectLst/>
                          <a:latin typeface="SwissReSans Light" panose="020B0504020202020204" pitchFamily="34" charset="0"/>
                        </a:rPr>
                        <a:t>Total investments</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8383612"/>
                  </a:ext>
                </a:extLst>
              </a:tr>
              <a:tr h="164891">
                <a:tc>
                  <a:txBody>
                    <a:bodyPr/>
                    <a:lstStyle/>
                    <a:p>
                      <a:pPr algn="l" fontAlgn="ctr"/>
                      <a:endParaRPr lang="de-CH" sz="1050" b="0" i="0" u="none" strike="noStrike">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2297611158"/>
                  </a:ext>
                </a:extLst>
              </a:tr>
              <a:tr h="202942">
                <a:tc>
                  <a:txBody>
                    <a:bodyPr/>
                    <a:lstStyle/>
                    <a:p>
                      <a:pPr algn="l" fontAlgn="ctr"/>
                      <a:r>
                        <a:rPr lang="en-US" sz="1100" b="0" i="0" u="none" strike="noStrike">
                          <a:solidFill>
                            <a:srgbClr val="000000"/>
                          </a:solidFill>
                          <a:effectLst/>
                          <a:latin typeface="SwissReSans Light" panose="020B0504020202020204" pitchFamily="34" charset="0"/>
                        </a:rPr>
                        <a:t>Insurance contracts issued that are assets</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630294561"/>
                  </a:ext>
                </a:extLst>
              </a:tr>
              <a:tr h="202942">
                <a:tc>
                  <a:txBody>
                    <a:bodyPr/>
                    <a:lstStyle/>
                    <a:p>
                      <a:pPr algn="l" fontAlgn="ctr"/>
                      <a:r>
                        <a:rPr lang="en-US" sz="1100" b="0" i="0" u="none" strike="noStrike">
                          <a:solidFill>
                            <a:srgbClr val="000000"/>
                          </a:solidFill>
                          <a:effectLst/>
                          <a:latin typeface="SwissReSans Light" panose="020B0504020202020204" pitchFamily="34" charset="0"/>
                        </a:rPr>
                        <a:t>Reinsurance contracts held that are asset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347308997"/>
                  </a:ext>
                </a:extLst>
              </a:tr>
              <a:tr h="202942">
                <a:tc>
                  <a:txBody>
                    <a:bodyPr/>
                    <a:lstStyle/>
                    <a:p>
                      <a:pPr algn="l" fontAlgn="ctr"/>
                      <a:r>
                        <a:rPr lang="de-CH" sz="1100" b="0" i="0" u="none" strike="noStrike">
                          <a:solidFill>
                            <a:srgbClr val="000000"/>
                          </a:solidFill>
                          <a:effectLst/>
                          <a:latin typeface="SwissReSans Light" panose="020B0504020202020204" pitchFamily="34" charset="0"/>
                        </a:rPr>
                        <a:t>Goodwill</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565476704"/>
                  </a:ext>
                </a:extLst>
              </a:tr>
              <a:tr h="202942">
                <a:tc>
                  <a:txBody>
                    <a:bodyPr/>
                    <a:lstStyle/>
                    <a:p>
                      <a:pPr algn="l" fontAlgn="ctr"/>
                      <a:r>
                        <a:rPr lang="de-CH" sz="1100" b="0" i="0" u="none" strike="noStrike">
                          <a:solidFill>
                            <a:srgbClr val="000000"/>
                          </a:solidFill>
                          <a:effectLst/>
                          <a:latin typeface="SwissReSans Light" panose="020B0504020202020204" pitchFamily="34" charset="0"/>
                        </a:rPr>
                        <a:t>Income taxes recoverable</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186133181"/>
                  </a:ext>
                </a:extLst>
              </a:tr>
              <a:tr h="202942">
                <a:tc>
                  <a:txBody>
                    <a:bodyPr/>
                    <a:lstStyle/>
                    <a:p>
                      <a:pPr algn="l" fontAlgn="ctr"/>
                      <a:r>
                        <a:rPr lang="de-CH" sz="1100" b="0" i="0" u="none" strike="noStrike">
                          <a:solidFill>
                            <a:srgbClr val="000000"/>
                          </a:solidFill>
                          <a:effectLst/>
                          <a:latin typeface="SwissReSans Light" panose="020B0504020202020204" pitchFamily="34" charset="0"/>
                        </a:rPr>
                        <a:t>Deferred tax asset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470216995"/>
                  </a:ext>
                </a:extLst>
              </a:tr>
              <a:tr h="202942">
                <a:tc>
                  <a:txBody>
                    <a:bodyPr/>
                    <a:lstStyle/>
                    <a:p>
                      <a:pPr algn="l" fontAlgn="ctr"/>
                      <a:r>
                        <a:rPr lang="de-CH" sz="1100" b="0" i="0" u="none" strike="noStrike">
                          <a:solidFill>
                            <a:srgbClr val="000000"/>
                          </a:solidFill>
                          <a:effectLst/>
                          <a:latin typeface="SwissReSans Light" panose="020B0504020202020204" pitchFamily="34" charset="0"/>
                        </a:rPr>
                        <a:t>Other asset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7472427"/>
                  </a:ext>
                </a:extLst>
              </a:tr>
              <a:tr h="202942">
                <a:tc>
                  <a:txBody>
                    <a:bodyPr/>
                    <a:lstStyle/>
                    <a:p>
                      <a:pPr algn="l" fontAlgn="ctr"/>
                      <a:r>
                        <a:rPr lang="de-CH" sz="1100" b="1" i="0" u="none" strike="noStrike">
                          <a:solidFill>
                            <a:srgbClr val="00B0F0"/>
                          </a:solidFill>
                          <a:effectLst/>
                          <a:latin typeface="SwissReSans Light" panose="020B0504020202020204" pitchFamily="34" charset="0"/>
                        </a:rPr>
                        <a:t>Total assets</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4710151"/>
                  </a:ext>
                </a:extLst>
              </a:tr>
            </a:tbl>
          </a:graphicData>
        </a:graphic>
      </p:graphicFrame>
      <p:pic>
        <p:nvPicPr>
          <p:cNvPr id="7" name="Picture 6">
            <a:extLst>
              <a:ext uri="{FF2B5EF4-FFF2-40B4-BE49-F238E27FC236}">
                <a16:creationId xmlns:a16="http://schemas.microsoft.com/office/drawing/2014/main" xmlns="" id="{0295C78E-729F-4C80-B10C-E2EBEADF2369}"/>
              </a:ext>
            </a:extLst>
          </p:cNvPr>
          <p:cNvPicPr>
            <a:picLocks noChangeAspect="1"/>
          </p:cNvPicPr>
          <p:nvPr/>
        </p:nvPicPr>
        <p:blipFill>
          <a:blip r:embed="rId4"/>
          <a:stretch>
            <a:fillRect/>
          </a:stretch>
        </p:blipFill>
        <p:spPr>
          <a:xfrm>
            <a:off x="767408" y="1627762"/>
            <a:ext cx="3800260" cy="4508250"/>
          </a:xfrm>
          <a:prstGeom prst="rect">
            <a:avLst/>
          </a:prstGeom>
        </p:spPr>
      </p:pic>
      <p:sp>
        <p:nvSpPr>
          <p:cNvPr id="14" name="Rectangle 13">
            <a:extLst>
              <a:ext uri="{FF2B5EF4-FFF2-40B4-BE49-F238E27FC236}">
                <a16:creationId xmlns:a16="http://schemas.microsoft.com/office/drawing/2014/main" xmlns="" id="{CE0BB204-F6BA-4C02-B4E6-FCC1322B23DA}"/>
              </a:ext>
            </a:extLst>
          </p:cNvPr>
          <p:cNvSpPr/>
          <p:nvPr/>
        </p:nvSpPr>
        <p:spPr>
          <a:xfrm>
            <a:off x="4988967" y="4590113"/>
            <a:ext cx="3756276" cy="4589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15" name="Rectangle 14">
            <a:extLst>
              <a:ext uri="{FF2B5EF4-FFF2-40B4-BE49-F238E27FC236}">
                <a16:creationId xmlns:a16="http://schemas.microsoft.com/office/drawing/2014/main" xmlns="" id="{35A8ABE3-9955-4DCB-8BF3-44AC9B7E8DFB}"/>
              </a:ext>
            </a:extLst>
          </p:cNvPr>
          <p:cNvSpPr/>
          <p:nvPr/>
        </p:nvSpPr>
        <p:spPr>
          <a:xfrm>
            <a:off x="767407" y="4472609"/>
            <a:ext cx="3800262" cy="6926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pic>
        <p:nvPicPr>
          <p:cNvPr id="17" name="Picture 16">
            <a:extLst>
              <a:ext uri="{FF2B5EF4-FFF2-40B4-BE49-F238E27FC236}">
                <a16:creationId xmlns:a16="http://schemas.microsoft.com/office/drawing/2014/main" xmlns="" id="{CF20F61D-7B90-4AA7-A97D-6A33A32CAA2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51094" y="201142"/>
            <a:ext cx="755375" cy="760943"/>
          </a:xfrm>
          <a:prstGeom prst="rect">
            <a:avLst/>
          </a:prstGeom>
        </p:spPr>
      </p:pic>
    </p:spTree>
    <p:extLst>
      <p:ext uri="{BB962C8B-B14F-4D97-AF65-F5344CB8AC3E}">
        <p14:creationId xmlns:p14="http://schemas.microsoft.com/office/powerpoint/2010/main" val="3977728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000" r="-2000"/>
          </a:stretch>
        </a:blip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54442" y="243151"/>
            <a:ext cx="1085347" cy="1093347"/>
          </a:xfrm>
          <a:prstGeom prst="rect">
            <a:avLst/>
          </a:prstGeom>
          <a:blipFill dpi="0" rotWithShape="1">
            <a:blip r:embed="rId5"/>
            <a:srcRect/>
            <a:stretch>
              <a:fillRect/>
            </a:stretch>
          </a:blipFill>
        </p:spPr>
      </p:pic>
      <p:sp>
        <p:nvSpPr>
          <p:cNvPr id="3" name="Rectangle 2"/>
          <p:cNvSpPr txBox="1">
            <a:spLocks noChangeArrowheads="1"/>
          </p:cNvSpPr>
          <p:nvPr/>
        </p:nvSpPr>
        <p:spPr>
          <a:xfrm>
            <a:off x="1981199" y="312048"/>
            <a:ext cx="8305799" cy="1039811"/>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lvl="0" algn="l">
              <a:defRPr/>
            </a:pPr>
            <a:r>
              <a:rPr lang="en-US" sz="2800" b="1" dirty="0">
                <a:solidFill>
                  <a:srgbClr val="C00000"/>
                </a:solidFill>
              </a:rPr>
              <a:t>Secretory </a:t>
            </a:r>
            <a:r>
              <a:rPr kumimoji="0" lang="en-US" sz="2800" b="1" i="0" u="none" strike="noStrike" kern="1200" cap="none" spc="0" normalizeH="0" baseline="0" noProof="0" dirty="0">
                <a:ln>
                  <a:noFill/>
                </a:ln>
                <a:solidFill>
                  <a:srgbClr val="C00000"/>
                </a:solidFill>
                <a:effectLst/>
                <a:uLnTx/>
                <a:uFillTx/>
                <a:latin typeface="Arial"/>
                <a:ea typeface="+mj-ea"/>
                <a:cs typeface="+mj-cs"/>
              </a:rPr>
              <a:t>– General Insurance Advisory Group</a:t>
            </a:r>
            <a:endParaRPr kumimoji="0" lang="en-US" altLang="en-US" sz="1800" b="1" i="0" u="none" strike="noStrike" kern="0" cap="none" spc="0" normalizeH="0" baseline="0" noProof="0" dirty="0">
              <a:ln>
                <a:noFill/>
              </a:ln>
              <a:solidFill>
                <a:srgbClr val="C00000"/>
              </a:solidFill>
              <a:effectLst/>
              <a:uLnTx/>
              <a:uFillTx/>
              <a:latin typeface="Arial"/>
              <a:ea typeface="+mj-ea"/>
              <a:cs typeface="+mj-cs"/>
            </a:endParaRPr>
          </a:p>
        </p:txBody>
      </p:sp>
      <p:sp>
        <p:nvSpPr>
          <p:cNvPr id="5" name="Footer Placeholder 4"/>
          <p:cNvSpPr txBox="1">
            <a:spLocks/>
          </p:cNvSpPr>
          <p:nvPr/>
        </p:nvSpPr>
        <p:spPr>
          <a:xfrm>
            <a:off x="9677400" y="6504681"/>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7" name="Slide Number Placeholder 6">
            <a:extLst>
              <a:ext uri="{FF2B5EF4-FFF2-40B4-BE49-F238E27FC236}">
                <a16:creationId xmlns:a16="http://schemas.microsoft.com/office/drawing/2014/main" xmlns="" id="{5B58B4C8-C41D-441A-B2A2-F4847387DBB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29C963-6CA3-4910-ACAB-89103C5891B0}" type="slidenum">
              <a:rPr kumimoji="0" lang="en-GB" sz="1400" b="0" i="0" u="none" strike="noStrike" kern="1200" cap="none" spc="0" normalizeH="0" baseline="0" noProof="0" smtClean="0">
                <a:ln>
                  <a:noFill/>
                </a:ln>
                <a:solidFill>
                  <a:srgbClr val="000000"/>
                </a:solidFill>
                <a:effectLst/>
                <a:uLnTx/>
                <a:uFillTx/>
                <a:latin typeface="Times New Roman"/>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400" b="0" i="0" u="none" strike="noStrike" kern="1200" cap="none" spc="0" normalizeH="0" baseline="0" noProof="0">
              <a:ln>
                <a:noFill/>
              </a:ln>
              <a:solidFill>
                <a:srgbClr val="000000"/>
              </a:solidFill>
              <a:effectLst/>
              <a:uLnTx/>
              <a:uFillTx/>
              <a:latin typeface="Times New Roman"/>
              <a:ea typeface="+mn-ea"/>
              <a:cs typeface="+mn-cs"/>
            </a:endParaRPr>
          </a:p>
        </p:txBody>
      </p:sp>
      <p:sp>
        <p:nvSpPr>
          <p:cNvPr id="8" name="Rectangle 7">
            <a:extLst>
              <a:ext uri="{FF2B5EF4-FFF2-40B4-BE49-F238E27FC236}">
                <a16:creationId xmlns:a16="http://schemas.microsoft.com/office/drawing/2014/main" xmlns="" id="{4C2BF141-99AC-445E-ACC0-440025D0820F}"/>
              </a:ext>
            </a:extLst>
          </p:cNvPr>
          <p:cNvSpPr/>
          <p:nvPr/>
        </p:nvSpPr>
        <p:spPr>
          <a:xfrm>
            <a:off x="2819400" y="2313520"/>
            <a:ext cx="4495800" cy="758669"/>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lvl="0">
              <a:lnSpc>
                <a:spcPct val="120000"/>
              </a:lnSpc>
              <a:spcAft>
                <a:spcPts val="300"/>
              </a:spcAft>
              <a:defRPr/>
            </a:pPr>
            <a:r>
              <a:rPr lang="en-US" sz="1700" b="1" dirty="0">
                <a:solidFill>
                  <a:srgbClr val="000000"/>
                </a:solidFill>
                <a:latin typeface="Trebuchet MS" panose="020B0603020202020204" pitchFamily="34" charset="0"/>
              </a:rPr>
              <a:t>Sourav Roy, </a:t>
            </a:r>
            <a:r>
              <a:rPr lang="en-US" sz="1700" dirty="0">
                <a:solidFill>
                  <a:srgbClr val="000000"/>
                </a:solidFill>
                <a:latin typeface="Trebuchet MS" panose="020B0603020202020204" pitchFamily="34" charset="0"/>
              </a:rPr>
              <a:t>Secretory</a:t>
            </a:r>
            <a:r>
              <a:rPr kumimoji="0" lang="en-US" sz="17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rPr>
              <a:t>, </a:t>
            </a:r>
          </a:p>
          <a:p>
            <a:pPr marL="0" marR="0" lvl="0" indent="0" algn="l" defTabSz="914400" rtl="0" eaLnBrk="1" fontAlgn="auto" latinLnBrk="0" hangingPunct="1">
              <a:lnSpc>
                <a:spcPct val="120000"/>
              </a:lnSpc>
              <a:spcBef>
                <a:spcPts val="0"/>
              </a:spcBef>
              <a:spcAft>
                <a:spcPts val="30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rPr>
              <a:t>Advisory Group on General Insurance, IAI</a:t>
            </a:r>
          </a:p>
        </p:txBody>
      </p:sp>
      <p:sp>
        <p:nvSpPr>
          <p:cNvPr id="9" name="Rectangle 8">
            <a:extLst>
              <a:ext uri="{FF2B5EF4-FFF2-40B4-BE49-F238E27FC236}">
                <a16:creationId xmlns:a16="http://schemas.microsoft.com/office/drawing/2014/main" xmlns="" id="{CED73995-AB3E-407C-8290-898FC4BAB271}"/>
              </a:ext>
            </a:extLst>
          </p:cNvPr>
          <p:cNvSpPr/>
          <p:nvPr/>
        </p:nvSpPr>
        <p:spPr>
          <a:xfrm>
            <a:off x="2819400" y="3210453"/>
            <a:ext cx="8305800" cy="1477328"/>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lvl="0" eaLnBrk="0" fontAlgn="base" hangingPunct="0">
              <a:spcBef>
                <a:spcPct val="0"/>
              </a:spcBef>
              <a:spcAft>
                <a:spcPct val="0"/>
              </a:spcAft>
              <a:defRPr/>
            </a:pPr>
            <a:r>
              <a:rPr lang="en-US" dirty="0">
                <a:solidFill>
                  <a:srgbClr val="000000"/>
                </a:solidFill>
                <a:latin typeface="Trebuchet MS" panose="020B0603020202020204" pitchFamily="34" charset="0"/>
              </a:rPr>
              <a:t>Sourav is currently the Appointed Actuary of Shriram General Insurance.  </a:t>
            </a:r>
          </a:p>
          <a:p>
            <a:pPr lvl="0" eaLnBrk="0" fontAlgn="base" hangingPunct="0">
              <a:spcBef>
                <a:spcPct val="0"/>
              </a:spcBef>
              <a:spcAft>
                <a:spcPct val="0"/>
              </a:spcAft>
              <a:defRPr/>
            </a:pPr>
            <a:endParaRPr lang="en-US" dirty="0">
              <a:solidFill>
                <a:srgbClr val="000000"/>
              </a:solidFill>
              <a:latin typeface="Trebuchet MS" panose="020B0603020202020204" pitchFamily="34" charset="0"/>
            </a:endParaRPr>
          </a:p>
          <a:p>
            <a:pPr lvl="0" eaLnBrk="0" fontAlgn="base" hangingPunct="0">
              <a:spcBef>
                <a:spcPct val="0"/>
              </a:spcBef>
              <a:spcAft>
                <a:spcPct val="0"/>
              </a:spcAft>
              <a:defRPr/>
            </a:pPr>
            <a:r>
              <a:rPr lang="en-US" dirty="0">
                <a:solidFill>
                  <a:srgbClr val="000000"/>
                </a:solidFill>
                <a:latin typeface="Trebuchet MS" panose="020B0603020202020204" pitchFamily="34" charset="0"/>
              </a:rPr>
              <a:t>He has over 15 years of experience in actuarial and finance areas. He specializes in the areas of reserving and financial modelling and its application in wider areas of enterprise risk management and strategic decision making.</a:t>
            </a:r>
          </a:p>
        </p:txBody>
      </p:sp>
      <p:pic>
        <p:nvPicPr>
          <p:cNvPr id="10" name="Picture 9">
            <a:extLst>
              <a:ext uri="{FF2B5EF4-FFF2-40B4-BE49-F238E27FC236}">
                <a16:creationId xmlns:a16="http://schemas.microsoft.com/office/drawing/2014/main" xmlns="" id="{806B5E8D-9841-434D-907A-B14A91D7E4D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5637" y="2251497"/>
            <a:ext cx="1777483" cy="191791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417873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a:extLst>
              <a:ext uri="{FF2B5EF4-FFF2-40B4-BE49-F238E27FC236}">
                <a16:creationId xmlns:a16="http://schemas.microsoft.com/office/drawing/2014/main" xmlns="" id="{1498136B-CBDB-4824-A50B-099C7A8D14F2}"/>
              </a:ext>
            </a:extLst>
          </p:cNvPr>
          <p:cNvPicPr>
            <a:picLocks/>
          </p:cNvPicPr>
          <p:nvPr>
            <p:custDataLst>
              <p:tags r:id="rId1"/>
            </p:custDataLst>
          </p:nvPr>
        </p:nvPicPr>
        <p:blipFill rotWithShape="1">
          <a:blip r:embed="rId3">
            <a:extLst>
              <a:ext uri="{28A0092B-C50C-407E-A947-70E740481C1C}">
                <a14:useLocalDpi xmlns:a14="http://schemas.microsoft.com/office/drawing/2010/main" val="0"/>
              </a:ext>
            </a:extLst>
          </a:blip>
          <a:srcRect r="52362"/>
          <a:stretch/>
        </p:blipFill>
        <p:spPr bwMode="gray">
          <a:xfrm rot="10800000">
            <a:off x="9054251" y="1268755"/>
            <a:ext cx="2439007" cy="4897088"/>
          </a:xfrm>
          <a:prstGeom prst="rect">
            <a:avLst/>
          </a:prstGeom>
          <a:ln>
            <a:solidFill>
              <a:schemeClr val="accent3"/>
            </a:solidFill>
          </a:ln>
        </p:spPr>
      </p:pic>
      <p:sp>
        <p:nvSpPr>
          <p:cNvPr id="3" name="Titel 2">
            <a:extLst>
              <a:ext uri="{FF2B5EF4-FFF2-40B4-BE49-F238E27FC236}">
                <a16:creationId xmlns:a16="http://schemas.microsoft.com/office/drawing/2014/main" xmlns="" id="{E6F52281-B131-4402-B40C-20D7CF43BB9B}"/>
              </a:ext>
            </a:extLst>
          </p:cNvPr>
          <p:cNvSpPr>
            <a:spLocks noGrp="1"/>
          </p:cNvSpPr>
          <p:nvPr>
            <p:ph type="title"/>
          </p:nvPr>
        </p:nvSpPr>
        <p:spPr>
          <a:xfrm>
            <a:off x="695325" y="692151"/>
            <a:ext cx="11017250" cy="692647"/>
          </a:xfrm>
        </p:spPr>
        <p:txBody>
          <a:bodyPr/>
          <a:lstStyle/>
          <a:p>
            <a:r>
              <a:rPr lang="en-GB"/>
              <a:t>Balance sheet: Liabilities and Equity</a:t>
            </a:r>
          </a:p>
        </p:txBody>
      </p:sp>
      <p:sp>
        <p:nvSpPr>
          <p:cNvPr id="4" name="Foliennummernplatzhalter 3">
            <a:extLst>
              <a:ext uri="{FF2B5EF4-FFF2-40B4-BE49-F238E27FC236}">
                <a16:creationId xmlns:a16="http://schemas.microsoft.com/office/drawing/2014/main" xmlns="" id="{6E0AB2CA-B705-4AA8-83AF-2A940054AB1D}"/>
              </a:ext>
            </a:extLst>
          </p:cNvPr>
          <p:cNvSpPr>
            <a:spLocks noGrp="1"/>
          </p:cNvSpPr>
          <p:nvPr>
            <p:ph type="sldNum" sz="quarter" idx="12"/>
          </p:nvPr>
        </p:nvSpPr>
        <p:spPr/>
        <p:txBody>
          <a:bodyPr/>
          <a:lstStyle/>
          <a:p>
            <a:fld id="{5E4D2043-7E31-4A53-BD33-72A88E682172}" type="slidenum">
              <a:rPr lang="en-GB" smtClean="0"/>
              <a:pPr/>
              <a:t>20</a:t>
            </a:fld>
            <a:endParaRPr lang="en-GB"/>
          </a:p>
        </p:txBody>
      </p:sp>
      <p:sp>
        <p:nvSpPr>
          <p:cNvPr id="2" name="TextBox 1">
            <a:extLst>
              <a:ext uri="{FF2B5EF4-FFF2-40B4-BE49-F238E27FC236}">
                <a16:creationId xmlns:a16="http://schemas.microsoft.com/office/drawing/2014/main" xmlns="" id="{DC052E8C-AFD4-4C65-9A7C-548F50377C48}"/>
              </a:ext>
            </a:extLst>
          </p:cNvPr>
          <p:cNvSpPr txBox="1"/>
          <p:nvPr/>
        </p:nvSpPr>
        <p:spPr>
          <a:xfrm>
            <a:off x="9054252" y="1268759"/>
            <a:ext cx="2439007" cy="4862870"/>
          </a:xfrm>
          <a:prstGeom prst="rect">
            <a:avLst/>
          </a:prstGeom>
          <a:noFill/>
        </p:spPr>
        <p:txBody>
          <a:bodyPr wrap="square" rtlCol="0">
            <a:spAutoFit/>
          </a:bodyPr>
          <a:lstStyle/>
          <a:p>
            <a:endParaRPr lang="en-GB" sz="1200" b="1">
              <a:solidFill>
                <a:schemeClr val="bg1"/>
              </a:solidFill>
              <a:latin typeface="SwissReSans" pitchFamily="34" charset="0"/>
            </a:endParaRPr>
          </a:p>
          <a:p>
            <a:pPr marL="72000"/>
            <a:endParaRPr lang="en-GB" sz="12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IFRS 17 combines all expected cash flows related to contracts issued in a single line item, reducing the number of line items shown in the liabilities section</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Insurance receivables/ payable part of the insurance contracts assets/liabilities ​</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US" sz="1100">
                <a:solidFill>
                  <a:schemeClr val="bg1"/>
                </a:solidFill>
                <a:latin typeface="SwissReSans" pitchFamily="34" charset="0"/>
              </a:rPr>
              <a:t>Assumed and reinsured business shown separately</a:t>
            </a:r>
          </a:p>
          <a:p>
            <a:pPr marL="180000" indent="-108000">
              <a:buFont typeface="Arial" panose="020B0604020202020204" pitchFamily="34" charset="0"/>
              <a:buChar char="•"/>
            </a:pPr>
            <a:endParaRPr lang="en-US"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Split of insurance contracts portfolios in net asset or liabilities position  - split done based on management reporting level</a:t>
            </a:r>
          </a:p>
          <a:p>
            <a:pPr marL="180000" indent="-108000">
              <a:buFont typeface="Arial" panose="020B0604020202020204" pitchFamily="34" charset="0"/>
              <a:buChar char="•"/>
            </a:pPr>
            <a:endParaRPr lang="en-US" sz="1100">
              <a:solidFill>
                <a:schemeClr val="bg1"/>
              </a:solidFill>
              <a:latin typeface="SwissReSans" pitchFamily="34" charset="0"/>
            </a:endParaRPr>
          </a:p>
          <a:p>
            <a:pPr marL="180000" indent="-108000">
              <a:buFont typeface="Arial" panose="020B0604020202020204" pitchFamily="34" charset="0"/>
              <a:buChar char="•"/>
            </a:pPr>
            <a:r>
              <a:rPr lang="en-US" sz="1100">
                <a:solidFill>
                  <a:schemeClr val="bg1"/>
                </a:solidFill>
                <a:latin typeface="SwissReSans" pitchFamily="34" charset="0"/>
              </a:rPr>
              <a:t>The liability for incurred claims and liability for future claims are not reflected separately</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US" sz="1100">
                <a:solidFill>
                  <a:schemeClr val="bg1"/>
                </a:solidFill>
                <a:latin typeface="SwissReSans" pitchFamily="34" charset="0"/>
              </a:rPr>
              <a:t>There are a lot of details in the relevant notes...! </a:t>
            </a:r>
            <a:r>
              <a:rPr lang="en-US" sz="1100" i="1"/>
              <a:t> </a:t>
            </a:r>
            <a:r>
              <a:rPr lang="en-US" sz="1100"/>
              <a:t>​</a:t>
            </a:r>
            <a:endParaRPr lang="en-GB" sz="1100">
              <a:solidFill>
                <a:schemeClr val="bg1"/>
              </a:solidFill>
              <a:latin typeface="SwissReSans" pitchFamily="34" charset="0"/>
            </a:endParaRPr>
          </a:p>
        </p:txBody>
      </p:sp>
      <p:sp>
        <p:nvSpPr>
          <p:cNvPr id="22" name="Rectangle 21">
            <a:extLst>
              <a:ext uri="{FF2B5EF4-FFF2-40B4-BE49-F238E27FC236}">
                <a16:creationId xmlns:a16="http://schemas.microsoft.com/office/drawing/2014/main" xmlns="" id="{498FBB30-867F-4E36-A7EE-61B3A28FF4A2}"/>
              </a:ext>
            </a:extLst>
          </p:cNvPr>
          <p:cNvSpPr/>
          <p:nvPr/>
        </p:nvSpPr>
        <p:spPr>
          <a:xfrm>
            <a:off x="695325"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3" name="Rectangle 22">
            <a:extLst>
              <a:ext uri="{FF2B5EF4-FFF2-40B4-BE49-F238E27FC236}">
                <a16:creationId xmlns:a16="http://schemas.microsoft.com/office/drawing/2014/main" xmlns="" id="{62D38184-7B2D-4540-B0CD-33962F96A5B6}"/>
              </a:ext>
            </a:extLst>
          </p:cNvPr>
          <p:cNvSpPr/>
          <p:nvPr/>
        </p:nvSpPr>
        <p:spPr>
          <a:xfrm>
            <a:off x="4874788"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5" name="TextBox 24">
            <a:extLst>
              <a:ext uri="{FF2B5EF4-FFF2-40B4-BE49-F238E27FC236}">
                <a16:creationId xmlns:a16="http://schemas.microsoft.com/office/drawing/2014/main" xmlns="" id="{C848AC28-3C12-4165-9A79-989662593F4D}"/>
              </a:ext>
            </a:extLst>
          </p:cNvPr>
          <p:cNvSpPr txBox="1"/>
          <p:nvPr/>
        </p:nvSpPr>
        <p:spPr>
          <a:xfrm>
            <a:off x="695325" y="1196752"/>
            <a:ext cx="962315"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Current</a:t>
            </a:r>
          </a:p>
        </p:txBody>
      </p:sp>
      <p:sp>
        <p:nvSpPr>
          <p:cNvPr id="26" name="TextBox 25">
            <a:extLst>
              <a:ext uri="{FF2B5EF4-FFF2-40B4-BE49-F238E27FC236}">
                <a16:creationId xmlns:a16="http://schemas.microsoft.com/office/drawing/2014/main" xmlns="" id="{11E2BB82-5D9A-4B34-BB19-30897E8D8A34}"/>
              </a:ext>
            </a:extLst>
          </p:cNvPr>
          <p:cNvSpPr txBox="1"/>
          <p:nvPr/>
        </p:nvSpPr>
        <p:spPr>
          <a:xfrm>
            <a:off x="4872344" y="1196752"/>
            <a:ext cx="658194"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New</a:t>
            </a:r>
          </a:p>
        </p:txBody>
      </p:sp>
      <p:sp>
        <p:nvSpPr>
          <p:cNvPr id="27" name="TextBox 26">
            <a:extLst>
              <a:ext uri="{FF2B5EF4-FFF2-40B4-BE49-F238E27FC236}">
                <a16:creationId xmlns:a16="http://schemas.microsoft.com/office/drawing/2014/main" xmlns="" id="{8F415A80-A9A9-48AC-B644-85975E77B7A0}"/>
              </a:ext>
            </a:extLst>
          </p:cNvPr>
          <p:cNvSpPr txBox="1"/>
          <p:nvPr/>
        </p:nvSpPr>
        <p:spPr>
          <a:xfrm>
            <a:off x="9054250" y="1196752"/>
            <a:ext cx="1634230" cy="369332"/>
          </a:xfrm>
          <a:prstGeom prst="rect">
            <a:avLst/>
          </a:prstGeom>
          <a:noFill/>
        </p:spPr>
        <p:txBody>
          <a:bodyPr wrap="none" rtlCol="0">
            <a:spAutoFit/>
          </a:bodyPr>
          <a:lstStyle/>
          <a:p>
            <a:r>
              <a:rPr lang="en-GB" b="1">
                <a:solidFill>
                  <a:schemeClr val="bg1"/>
                </a:solidFill>
                <a:latin typeface="SwissReSans" pitchFamily="34" charset="0"/>
              </a:rPr>
              <a:t>Main changes</a:t>
            </a:r>
          </a:p>
        </p:txBody>
      </p:sp>
      <p:graphicFrame>
        <p:nvGraphicFramePr>
          <p:cNvPr id="7" name="Table 6">
            <a:extLst>
              <a:ext uri="{FF2B5EF4-FFF2-40B4-BE49-F238E27FC236}">
                <a16:creationId xmlns:a16="http://schemas.microsoft.com/office/drawing/2014/main" xmlns="" id="{8CAB488E-8A9E-4AAB-B083-7CFE3B951084}"/>
              </a:ext>
            </a:extLst>
          </p:cNvPr>
          <p:cNvGraphicFramePr>
            <a:graphicFrameLocks noGrp="1"/>
          </p:cNvGraphicFramePr>
          <p:nvPr>
            <p:extLst>
              <p:ext uri="{D42A27DB-BD31-4B8C-83A1-F6EECF244321}">
                <p14:modId xmlns:p14="http://schemas.microsoft.com/office/powerpoint/2010/main" val="3225583119"/>
              </p:ext>
            </p:extLst>
          </p:nvPr>
        </p:nvGraphicFramePr>
        <p:xfrm>
          <a:off x="4948418" y="1575575"/>
          <a:ext cx="3811878" cy="4519574"/>
        </p:xfrm>
        <a:graphic>
          <a:graphicData uri="http://schemas.openxmlformats.org/drawingml/2006/table">
            <a:tbl>
              <a:tblPr/>
              <a:tblGrid>
                <a:gridCol w="3811878">
                  <a:extLst>
                    <a:ext uri="{9D8B030D-6E8A-4147-A177-3AD203B41FA5}">
                      <a16:colId xmlns:a16="http://schemas.microsoft.com/office/drawing/2014/main" xmlns="" val="2505898278"/>
                    </a:ext>
                  </a:extLst>
                </a:gridCol>
              </a:tblGrid>
              <a:tr h="82933">
                <a:tc>
                  <a:txBody>
                    <a:bodyPr/>
                    <a:lstStyle/>
                    <a:p>
                      <a:pPr algn="l" fontAlgn="ctr"/>
                      <a:r>
                        <a:rPr lang="en-AU" sz="1000" b="0" i="0" u="none" strike="noStrike" noProof="0">
                          <a:solidFill>
                            <a:srgbClr val="000000"/>
                          </a:solidFill>
                          <a:effectLst/>
                          <a:latin typeface="SwissReSans Light" panose="020B0504020202020204" pitchFamily="34" charset="0"/>
                        </a:rPr>
                        <a:t>in USD millions, as of December 31</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5839213"/>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Liabilities</a:t>
                      </a: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731090641"/>
                  </a:ext>
                </a:extLst>
              </a:tr>
              <a:tr h="125653">
                <a:tc>
                  <a:txBody>
                    <a:bodyPr/>
                    <a:lstStyle/>
                    <a:p>
                      <a:pPr algn="l" fontAlgn="ctr"/>
                      <a:r>
                        <a:rPr lang="en-AU" sz="1100" b="0" i="0" u="none" strike="noStrike" noProof="0">
                          <a:solidFill>
                            <a:srgbClr val="000000"/>
                          </a:solidFill>
                          <a:effectLst/>
                          <a:latin typeface="SwissReSans Light" panose="020B0504020202020204" pitchFamily="34" charset="0"/>
                        </a:rPr>
                        <a:t>Insurance contracts issued that are liabilities</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149103405"/>
                  </a:ext>
                </a:extLst>
              </a:tr>
              <a:tr h="125653">
                <a:tc>
                  <a:txBody>
                    <a:bodyPr/>
                    <a:lstStyle/>
                    <a:p>
                      <a:pPr algn="l" fontAlgn="ctr"/>
                      <a:r>
                        <a:rPr lang="en-AU" sz="1100" b="0" i="0" u="none" strike="noStrike" noProof="0">
                          <a:solidFill>
                            <a:srgbClr val="000000"/>
                          </a:solidFill>
                          <a:effectLst/>
                          <a:latin typeface="SwissReSans Light" panose="020B0504020202020204" pitchFamily="34" charset="0"/>
                        </a:rPr>
                        <a:t>Reinsurance contracts held that are liabilitie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521470571"/>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Debt issued</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056166070"/>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Income taxes payable</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045252396"/>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Deferred tax liabilitie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599488187"/>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Other liabilitie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59710769"/>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Total liabilities</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36502631"/>
                  </a:ext>
                </a:extLst>
              </a:tr>
              <a:tr h="82933">
                <a:tc>
                  <a:txBody>
                    <a:bodyPr/>
                    <a:lstStyle/>
                    <a:p>
                      <a:pPr algn="l" fontAlgn="ctr"/>
                      <a:endParaRPr lang="en-AU" sz="100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163479043"/>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Equity</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6369767"/>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Common shares</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755880206"/>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Additional paid-in capital</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185927225"/>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Treasury shares, net of tax</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956152762"/>
                  </a:ext>
                </a:extLst>
              </a:tr>
              <a:tr h="125653">
                <a:tc>
                  <a:txBody>
                    <a:bodyPr/>
                    <a:lstStyle/>
                    <a:p>
                      <a:pPr algn="l" fontAlgn="ctr"/>
                      <a:r>
                        <a:rPr lang="en-AU" sz="1100" b="0" i="0" u="none" strike="noStrike" noProof="0">
                          <a:solidFill>
                            <a:srgbClr val="000000"/>
                          </a:solidFill>
                          <a:effectLst/>
                          <a:latin typeface="SwissReSans Light" panose="020B0504020202020204" pitchFamily="34" charset="0"/>
                        </a:rPr>
                        <a:t>Accumulated other comprehensive income</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179661947"/>
                  </a:ext>
                </a:extLst>
              </a:tr>
              <a:tr h="191414">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noProof="0">
                          <a:solidFill>
                            <a:schemeClr val="tx1"/>
                          </a:solidFill>
                          <a:effectLst/>
                          <a:latin typeface="SwissReSans Light" panose="020B0504020202020204" pitchFamily="34" charset="0"/>
                        </a:rPr>
                        <a:t>Foreign currency translation,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693061208"/>
                  </a:ext>
                </a:extLst>
              </a:tr>
              <a:tr h="12565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noProof="0">
                          <a:solidFill>
                            <a:schemeClr val="tx1"/>
                          </a:solidFill>
                          <a:effectLst/>
                          <a:latin typeface="SwissReSans Light" panose="020B0504020202020204" pitchFamily="34" charset="0"/>
                        </a:rPr>
                        <a:t>Cash flow hedges,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4051768153"/>
                  </a:ext>
                </a:extLst>
              </a:tr>
              <a:tr h="8382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noProof="0">
                          <a:solidFill>
                            <a:schemeClr val="tx1"/>
                          </a:solidFill>
                          <a:effectLst/>
                          <a:latin typeface="SwissReSans Light" panose="020B0504020202020204" pitchFamily="34" charset="0"/>
                        </a:rPr>
                        <a:t>Fair value reserve,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9909251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noProof="0">
                          <a:solidFill>
                            <a:schemeClr val="tx1"/>
                          </a:solidFill>
                          <a:effectLst/>
                          <a:latin typeface="SwissReSans Light" panose="020B0504020202020204" pitchFamily="34" charset="0"/>
                        </a:rPr>
                        <a:t>Insurance finance reserve,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005684865"/>
                  </a:ext>
                </a:extLst>
              </a:tr>
              <a:tr h="947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kern="1200" noProof="0">
                          <a:solidFill>
                            <a:schemeClr val="tx1"/>
                          </a:solidFill>
                          <a:effectLst/>
                          <a:latin typeface="SwissReSans Light" panose="020B0504020202020204" pitchFamily="34" charset="0"/>
                          <a:ea typeface="+mn-ea"/>
                          <a:cs typeface="+mn-cs"/>
                        </a:rPr>
                        <a:t>Unrealised investment gains/losses,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465203876"/>
                  </a:ext>
                </a:extLst>
              </a:tr>
              <a:tr h="947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kern="1200" noProof="0">
                          <a:solidFill>
                            <a:schemeClr val="tx1"/>
                          </a:solidFill>
                          <a:effectLst/>
                          <a:latin typeface="SwissReSans Light" panose="020B0504020202020204" pitchFamily="34" charset="0"/>
                          <a:ea typeface="+mn-ea"/>
                          <a:cs typeface="+mn-cs"/>
                        </a:rPr>
                        <a:t>Accumulated adjustments for defined-benefit pension plans, net of tax</a:t>
                      </a:r>
                    </a:p>
                  </a:txBody>
                  <a:tcPr marL="80222"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330410120"/>
                  </a:ext>
                </a:extLst>
              </a:tr>
              <a:tr h="94781">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AU" sz="1100" b="0" i="0" u="none" strike="noStrike" kern="1200" noProof="0">
                          <a:solidFill>
                            <a:schemeClr val="tx1"/>
                          </a:solidFill>
                          <a:effectLst/>
                          <a:latin typeface="SwissReSans Light" panose="020B0504020202020204" pitchFamily="34" charset="0"/>
                          <a:ea typeface="+mn-ea"/>
                          <a:cs typeface="+mn-cs"/>
                        </a:rPr>
                        <a:t>Retained earning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69237059"/>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Shareholders' equity</a:t>
                      </a:r>
                    </a:p>
                  </a:txBody>
                  <a:tcPr marL="0" marR="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284889787"/>
                  </a:ext>
                </a:extLst>
              </a:tr>
              <a:tr h="94781">
                <a:tc>
                  <a:txBody>
                    <a:bodyPr/>
                    <a:lstStyle/>
                    <a:p>
                      <a:pPr algn="l" fontAlgn="ctr"/>
                      <a:r>
                        <a:rPr lang="en-AU" sz="1100" b="0" i="0" u="none" strike="noStrike" noProof="0">
                          <a:solidFill>
                            <a:srgbClr val="000000"/>
                          </a:solidFill>
                          <a:effectLst/>
                          <a:latin typeface="SwissReSans Light" panose="020B0504020202020204" pitchFamily="34" charset="0"/>
                        </a:rPr>
                        <a:t>Non-controlling interest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1537496"/>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Total equity</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21824352"/>
                  </a:ext>
                </a:extLst>
              </a:tr>
              <a:tr h="94781">
                <a:tc>
                  <a:txBody>
                    <a:bodyPr/>
                    <a:lstStyle/>
                    <a:p>
                      <a:pPr algn="l" fontAlgn="ctr"/>
                      <a:r>
                        <a:rPr lang="en-AU" sz="1100" b="1" i="0" u="none" strike="noStrike" noProof="0">
                          <a:solidFill>
                            <a:srgbClr val="00B0F0"/>
                          </a:solidFill>
                          <a:effectLst/>
                          <a:latin typeface="SwissReSans Light" panose="020B0504020202020204" pitchFamily="34" charset="0"/>
                        </a:rPr>
                        <a:t>Total liabilities and equity</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50999214"/>
                  </a:ext>
                </a:extLst>
              </a:tr>
            </a:tbl>
          </a:graphicData>
        </a:graphic>
      </p:graphicFrame>
      <p:pic>
        <p:nvPicPr>
          <p:cNvPr id="5" name="Picture 4">
            <a:extLst>
              <a:ext uri="{FF2B5EF4-FFF2-40B4-BE49-F238E27FC236}">
                <a16:creationId xmlns:a16="http://schemas.microsoft.com/office/drawing/2014/main" xmlns="" id="{1139DCE8-24F5-411B-8836-F345AB8EF46F}"/>
              </a:ext>
            </a:extLst>
          </p:cNvPr>
          <p:cNvPicPr>
            <a:picLocks noChangeAspect="1"/>
          </p:cNvPicPr>
          <p:nvPr/>
        </p:nvPicPr>
        <p:blipFill>
          <a:blip r:embed="rId4"/>
          <a:stretch>
            <a:fillRect/>
          </a:stretch>
        </p:blipFill>
        <p:spPr>
          <a:xfrm>
            <a:off x="797144" y="1590243"/>
            <a:ext cx="3138752" cy="4369325"/>
          </a:xfrm>
          <a:prstGeom prst="rect">
            <a:avLst/>
          </a:prstGeom>
        </p:spPr>
      </p:pic>
      <p:sp>
        <p:nvSpPr>
          <p:cNvPr id="14" name="Rectangle 13">
            <a:extLst>
              <a:ext uri="{FF2B5EF4-FFF2-40B4-BE49-F238E27FC236}">
                <a16:creationId xmlns:a16="http://schemas.microsoft.com/office/drawing/2014/main" xmlns="" id="{4F43871F-497A-46E0-83B3-9FCBDD99FAFF}"/>
              </a:ext>
            </a:extLst>
          </p:cNvPr>
          <p:cNvSpPr/>
          <p:nvPr/>
        </p:nvSpPr>
        <p:spPr>
          <a:xfrm>
            <a:off x="4948417" y="1878495"/>
            <a:ext cx="3811880" cy="36933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15" name="Rectangle 14">
            <a:extLst>
              <a:ext uri="{FF2B5EF4-FFF2-40B4-BE49-F238E27FC236}">
                <a16:creationId xmlns:a16="http://schemas.microsoft.com/office/drawing/2014/main" xmlns="" id="{03F12FFF-B46F-45B4-9F36-D15A463D1662}"/>
              </a:ext>
            </a:extLst>
          </p:cNvPr>
          <p:cNvSpPr/>
          <p:nvPr/>
        </p:nvSpPr>
        <p:spPr>
          <a:xfrm>
            <a:off x="797143" y="1821953"/>
            <a:ext cx="3784795" cy="6926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pic>
        <p:nvPicPr>
          <p:cNvPr id="17" name="Picture 16">
            <a:extLst>
              <a:ext uri="{FF2B5EF4-FFF2-40B4-BE49-F238E27FC236}">
                <a16:creationId xmlns:a16="http://schemas.microsoft.com/office/drawing/2014/main" xmlns="" id="{3E7101E5-08BE-40CD-B7D2-9DB835590A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34887" y="141238"/>
            <a:ext cx="755375" cy="760943"/>
          </a:xfrm>
          <a:prstGeom prst="rect">
            <a:avLst/>
          </a:prstGeom>
        </p:spPr>
      </p:pic>
    </p:spTree>
    <p:extLst>
      <p:ext uri="{BB962C8B-B14F-4D97-AF65-F5344CB8AC3E}">
        <p14:creationId xmlns:p14="http://schemas.microsoft.com/office/powerpoint/2010/main" val="42183076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15">
            <a:extLst>
              <a:ext uri="{FF2B5EF4-FFF2-40B4-BE49-F238E27FC236}">
                <a16:creationId xmlns:a16="http://schemas.microsoft.com/office/drawing/2014/main" xmlns="" id="{1498136B-CBDB-4824-A50B-099C7A8D14F2}"/>
              </a:ext>
            </a:extLst>
          </p:cNvPr>
          <p:cNvPicPr>
            <a:picLocks/>
          </p:cNvPicPr>
          <p:nvPr>
            <p:custDataLst>
              <p:tags r:id="rId1"/>
            </p:custDataLst>
          </p:nvPr>
        </p:nvPicPr>
        <p:blipFill rotWithShape="1">
          <a:blip r:embed="rId4">
            <a:extLst>
              <a:ext uri="{28A0092B-C50C-407E-A947-70E740481C1C}">
                <a14:useLocalDpi xmlns:a14="http://schemas.microsoft.com/office/drawing/2010/main" val="0"/>
              </a:ext>
            </a:extLst>
          </a:blip>
          <a:srcRect r="52362"/>
          <a:stretch/>
        </p:blipFill>
        <p:spPr bwMode="gray">
          <a:xfrm rot="10800000">
            <a:off x="9054250" y="1268755"/>
            <a:ext cx="2453228" cy="4897088"/>
          </a:xfrm>
          <a:prstGeom prst="rect">
            <a:avLst/>
          </a:prstGeom>
          <a:ln>
            <a:solidFill>
              <a:schemeClr val="accent3"/>
            </a:solidFill>
          </a:ln>
        </p:spPr>
      </p:pic>
      <p:sp>
        <p:nvSpPr>
          <p:cNvPr id="3" name="Titel 2">
            <a:extLst>
              <a:ext uri="{FF2B5EF4-FFF2-40B4-BE49-F238E27FC236}">
                <a16:creationId xmlns:a16="http://schemas.microsoft.com/office/drawing/2014/main" xmlns="" id="{E6F52281-B131-4402-B40C-20D7CF43BB9B}"/>
              </a:ext>
            </a:extLst>
          </p:cNvPr>
          <p:cNvSpPr>
            <a:spLocks noGrp="1"/>
          </p:cNvSpPr>
          <p:nvPr>
            <p:ph type="title"/>
          </p:nvPr>
        </p:nvSpPr>
        <p:spPr>
          <a:xfrm>
            <a:off x="684521" y="604375"/>
            <a:ext cx="11017250" cy="692647"/>
          </a:xfrm>
        </p:spPr>
        <p:txBody>
          <a:bodyPr/>
          <a:lstStyle/>
          <a:p>
            <a:r>
              <a:rPr lang="en-GB"/>
              <a:t>Income statement</a:t>
            </a:r>
          </a:p>
        </p:txBody>
      </p:sp>
      <p:sp>
        <p:nvSpPr>
          <p:cNvPr id="4" name="Foliennummernplatzhalter 3">
            <a:extLst>
              <a:ext uri="{FF2B5EF4-FFF2-40B4-BE49-F238E27FC236}">
                <a16:creationId xmlns:a16="http://schemas.microsoft.com/office/drawing/2014/main" xmlns="" id="{6E0AB2CA-B705-4AA8-83AF-2A940054AB1D}"/>
              </a:ext>
            </a:extLst>
          </p:cNvPr>
          <p:cNvSpPr>
            <a:spLocks noGrp="1"/>
          </p:cNvSpPr>
          <p:nvPr>
            <p:ph type="sldNum" sz="quarter" idx="12"/>
          </p:nvPr>
        </p:nvSpPr>
        <p:spPr/>
        <p:txBody>
          <a:bodyPr/>
          <a:lstStyle/>
          <a:p>
            <a:fld id="{5E4D2043-7E31-4A53-BD33-72A88E682172}" type="slidenum">
              <a:rPr lang="en-GB" smtClean="0"/>
              <a:pPr/>
              <a:t>21</a:t>
            </a:fld>
            <a:endParaRPr lang="en-GB"/>
          </a:p>
        </p:txBody>
      </p:sp>
      <p:sp>
        <p:nvSpPr>
          <p:cNvPr id="22" name="Rectangle 21">
            <a:extLst>
              <a:ext uri="{FF2B5EF4-FFF2-40B4-BE49-F238E27FC236}">
                <a16:creationId xmlns:a16="http://schemas.microsoft.com/office/drawing/2014/main" xmlns="" id="{498FBB30-867F-4E36-A7EE-61B3A28FF4A2}"/>
              </a:ext>
            </a:extLst>
          </p:cNvPr>
          <p:cNvSpPr/>
          <p:nvPr/>
        </p:nvSpPr>
        <p:spPr>
          <a:xfrm>
            <a:off x="695325"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3" name="Rectangle 22">
            <a:extLst>
              <a:ext uri="{FF2B5EF4-FFF2-40B4-BE49-F238E27FC236}">
                <a16:creationId xmlns:a16="http://schemas.microsoft.com/office/drawing/2014/main" xmlns="" id="{62D38184-7B2D-4540-B0CD-33962F96A5B6}"/>
              </a:ext>
            </a:extLst>
          </p:cNvPr>
          <p:cNvSpPr/>
          <p:nvPr/>
        </p:nvSpPr>
        <p:spPr>
          <a:xfrm>
            <a:off x="4874788" y="1268760"/>
            <a:ext cx="3960000" cy="4897089"/>
          </a:xfrm>
          <a:prstGeom prst="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25" name="TextBox 24">
            <a:extLst>
              <a:ext uri="{FF2B5EF4-FFF2-40B4-BE49-F238E27FC236}">
                <a16:creationId xmlns:a16="http://schemas.microsoft.com/office/drawing/2014/main" xmlns="" id="{C848AC28-3C12-4165-9A79-989662593F4D}"/>
              </a:ext>
            </a:extLst>
          </p:cNvPr>
          <p:cNvSpPr txBox="1"/>
          <p:nvPr/>
        </p:nvSpPr>
        <p:spPr>
          <a:xfrm>
            <a:off x="695400" y="1196752"/>
            <a:ext cx="962315"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Current</a:t>
            </a:r>
          </a:p>
        </p:txBody>
      </p:sp>
      <p:sp>
        <p:nvSpPr>
          <p:cNvPr id="27" name="TextBox 26">
            <a:extLst>
              <a:ext uri="{FF2B5EF4-FFF2-40B4-BE49-F238E27FC236}">
                <a16:creationId xmlns:a16="http://schemas.microsoft.com/office/drawing/2014/main" xmlns="" id="{8F415A80-A9A9-48AC-B644-85975E77B7A0}"/>
              </a:ext>
            </a:extLst>
          </p:cNvPr>
          <p:cNvSpPr txBox="1"/>
          <p:nvPr/>
        </p:nvSpPr>
        <p:spPr>
          <a:xfrm>
            <a:off x="9054250" y="1196752"/>
            <a:ext cx="1634230" cy="369332"/>
          </a:xfrm>
          <a:prstGeom prst="rect">
            <a:avLst/>
          </a:prstGeom>
          <a:noFill/>
        </p:spPr>
        <p:txBody>
          <a:bodyPr wrap="none" rtlCol="0">
            <a:spAutoFit/>
          </a:bodyPr>
          <a:lstStyle/>
          <a:p>
            <a:r>
              <a:rPr lang="en-GB" b="1">
                <a:solidFill>
                  <a:schemeClr val="bg1"/>
                </a:solidFill>
                <a:latin typeface="SwissReSans" pitchFamily="34" charset="0"/>
              </a:rPr>
              <a:t>Main changes</a:t>
            </a:r>
          </a:p>
        </p:txBody>
      </p:sp>
      <p:sp>
        <p:nvSpPr>
          <p:cNvPr id="18" name="TextBox 17">
            <a:extLst>
              <a:ext uri="{FF2B5EF4-FFF2-40B4-BE49-F238E27FC236}">
                <a16:creationId xmlns:a16="http://schemas.microsoft.com/office/drawing/2014/main" xmlns="" id="{72957C93-3C4F-4A65-9D0F-9A5BBE96D97D}"/>
              </a:ext>
            </a:extLst>
          </p:cNvPr>
          <p:cNvSpPr txBox="1"/>
          <p:nvPr/>
        </p:nvSpPr>
        <p:spPr>
          <a:xfrm>
            <a:off x="4861261" y="1196752"/>
            <a:ext cx="658194" cy="369332"/>
          </a:xfrm>
          <a:prstGeom prst="rect">
            <a:avLst/>
          </a:prstGeom>
          <a:noFill/>
        </p:spPr>
        <p:txBody>
          <a:bodyPr wrap="none" rtlCol="0">
            <a:spAutoFit/>
          </a:bodyPr>
          <a:lstStyle/>
          <a:p>
            <a:pPr algn="ctr"/>
            <a:r>
              <a:rPr lang="en-GB" b="1">
                <a:solidFill>
                  <a:schemeClr val="accent4">
                    <a:lumMod val="75000"/>
                  </a:schemeClr>
                </a:solidFill>
                <a:latin typeface="SwissReSans" pitchFamily="34" charset="0"/>
              </a:rPr>
              <a:t>New</a:t>
            </a:r>
            <a:endParaRPr lang="en-GB" b="1" baseline="30000">
              <a:solidFill>
                <a:schemeClr val="accent4">
                  <a:lumMod val="75000"/>
                </a:schemeClr>
              </a:solidFill>
              <a:latin typeface="SwissReSans" pitchFamily="34" charset="0"/>
            </a:endParaRPr>
          </a:p>
        </p:txBody>
      </p:sp>
      <p:sp>
        <p:nvSpPr>
          <p:cNvPr id="19" name="TextBox 18">
            <a:extLst>
              <a:ext uri="{FF2B5EF4-FFF2-40B4-BE49-F238E27FC236}">
                <a16:creationId xmlns:a16="http://schemas.microsoft.com/office/drawing/2014/main" xmlns="" id="{33676D5E-8366-409F-AD1D-691224107F8A}"/>
              </a:ext>
            </a:extLst>
          </p:cNvPr>
          <p:cNvSpPr txBox="1"/>
          <p:nvPr/>
        </p:nvSpPr>
        <p:spPr>
          <a:xfrm>
            <a:off x="8989272" y="1369024"/>
            <a:ext cx="2453228" cy="4016484"/>
          </a:xfrm>
          <a:prstGeom prst="rect">
            <a:avLst/>
          </a:prstGeom>
          <a:noFill/>
        </p:spPr>
        <p:txBody>
          <a:bodyPr wrap="square" rtlCol="0">
            <a:spAutoFit/>
          </a:bodyPr>
          <a:lstStyle/>
          <a:p>
            <a:endParaRPr lang="en-GB" sz="1200" b="1">
              <a:solidFill>
                <a:schemeClr val="bg1"/>
              </a:solidFill>
              <a:latin typeface="SwissReSans" pitchFamily="34" charset="0"/>
            </a:endParaRPr>
          </a:p>
          <a:p>
            <a:pPr marL="180000" indent="-108000">
              <a:buFont typeface="Arial" panose="020B0604020202020204" pitchFamily="34" charset="0"/>
              <a:buChar char="•"/>
            </a:pPr>
            <a:endParaRPr lang="en-GB" sz="12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Insurance service result is the central revenue metric – no more gross premiums written</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Required to split between </a:t>
            </a:r>
            <a:r>
              <a:rPr lang="en-GB" sz="1100" u="sng">
                <a:solidFill>
                  <a:schemeClr val="bg1"/>
                </a:solidFill>
                <a:latin typeface="SwissReSans" pitchFamily="34" charset="0"/>
              </a:rPr>
              <a:t>insurance service result </a:t>
            </a:r>
            <a:r>
              <a:rPr lang="en-GB" sz="1100">
                <a:solidFill>
                  <a:schemeClr val="bg1"/>
                </a:solidFill>
                <a:latin typeface="SwissReSans" pitchFamily="34" charset="0"/>
              </a:rPr>
              <a:t>(insurance, non-market) and </a:t>
            </a:r>
            <a:r>
              <a:rPr lang="en-GB" sz="1100" u="sng">
                <a:solidFill>
                  <a:schemeClr val="bg1"/>
                </a:solidFill>
                <a:latin typeface="SwissReSans" pitchFamily="34" charset="0"/>
              </a:rPr>
              <a:t>insurance financial result </a:t>
            </a:r>
            <a:r>
              <a:rPr lang="en-GB" sz="1100">
                <a:solidFill>
                  <a:schemeClr val="bg1"/>
                </a:solidFill>
                <a:latin typeface="SwissReSans" pitchFamily="34" charset="0"/>
              </a:rPr>
              <a:t>(market related movements)</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a:buFont typeface="Arial" panose="020B0604020202020204" pitchFamily="34" charset="0"/>
              <a:buChar char="•"/>
            </a:pPr>
            <a:r>
              <a:rPr lang="en-GB" sz="1100">
                <a:solidFill>
                  <a:schemeClr val="bg1"/>
                </a:solidFill>
                <a:latin typeface="SwissReSans" pitchFamily="34" charset="0"/>
              </a:rPr>
              <a:t>Reinsurance held income (amounts recovered) and expense (premiums paid) can be shown net or gross</a:t>
            </a:r>
          </a:p>
          <a:p>
            <a:pPr marL="180000" indent="-108000">
              <a:buFont typeface="Arial" panose="020B0604020202020204" pitchFamily="34" charset="0"/>
              <a:buChar char="•"/>
            </a:pPr>
            <a:endParaRPr lang="en-US" sz="1100">
              <a:solidFill>
                <a:schemeClr val="bg1"/>
              </a:solidFill>
              <a:latin typeface="SwissReSans" pitchFamily="34" charset="0"/>
            </a:endParaRPr>
          </a:p>
          <a:p>
            <a:pPr marL="180000" indent="-108000" fontAlgn="base">
              <a:buFont typeface="Arial" panose="020B0604020202020204" pitchFamily="34" charset="0"/>
              <a:buChar char="•"/>
            </a:pPr>
            <a:r>
              <a:rPr lang="en-GB" sz="1100">
                <a:solidFill>
                  <a:schemeClr val="bg1"/>
                </a:solidFill>
                <a:latin typeface="SwissReSans" pitchFamily="34" charset="0"/>
              </a:rPr>
              <a:t>Other expenses = Expenses overheads</a:t>
            </a:r>
            <a:r>
              <a:rPr lang="en-US" sz="1100">
                <a:solidFill>
                  <a:schemeClr val="bg1"/>
                </a:solidFill>
                <a:latin typeface="SwissReSans" pitchFamily="34" charset="0"/>
              </a:rPr>
              <a:t>​ (not directly attributable expenses)</a:t>
            </a:r>
          </a:p>
          <a:p>
            <a:pPr marL="180000" indent="-108000">
              <a:buFont typeface="Arial" panose="020B0604020202020204" pitchFamily="34" charset="0"/>
              <a:buChar char="•"/>
            </a:pPr>
            <a:endParaRPr lang="en-GB" sz="1100">
              <a:solidFill>
                <a:schemeClr val="bg1"/>
              </a:solidFill>
              <a:latin typeface="SwissReSans" pitchFamily="34" charset="0"/>
            </a:endParaRPr>
          </a:p>
          <a:p>
            <a:pPr marL="180000" indent="-108000" fontAlgn="base">
              <a:buFont typeface="Arial" panose="020B0604020202020204" pitchFamily="34" charset="0"/>
              <a:buChar char="•"/>
            </a:pPr>
            <a:r>
              <a:rPr lang="en-US" sz="1100">
                <a:solidFill>
                  <a:schemeClr val="bg1"/>
                </a:solidFill>
                <a:latin typeface="SwissReSans" pitchFamily="34" charset="0"/>
              </a:rPr>
              <a:t>A lot of details in the relevant notes…!</a:t>
            </a:r>
          </a:p>
        </p:txBody>
      </p:sp>
      <p:pic>
        <p:nvPicPr>
          <p:cNvPr id="2" name="Picture 1">
            <a:extLst>
              <a:ext uri="{FF2B5EF4-FFF2-40B4-BE49-F238E27FC236}">
                <a16:creationId xmlns:a16="http://schemas.microsoft.com/office/drawing/2014/main" xmlns="" id="{A6A716DF-98AA-4238-A03D-7D700EBA1F5F}"/>
              </a:ext>
            </a:extLst>
          </p:cNvPr>
          <p:cNvPicPr>
            <a:picLocks noChangeAspect="1"/>
          </p:cNvPicPr>
          <p:nvPr/>
        </p:nvPicPr>
        <p:blipFill>
          <a:blip r:embed="rId5"/>
          <a:stretch>
            <a:fillRect/>
          </a:stretch>
        </p:blipFill>
        <p:spPr>
          <a:xfrm>
            <a:off x="807638" y="1476354"/>
            <a:ext cx="3214807" cy="4689489"/>
          </a:xfrm>
          <a:prstGeom prst="rect">
            <a:avLst/>
          </a:prstGeom>
        </p:spPr>
      </p:pic>
      <p:graphicFrame>
        <p:nvGraphicFramePr>
          <p:cNvPr id="6" name="Table 5">
            <a:extLst>
              <a:ext uri="{FF2B5EF4-FFF2-40B4-BE49-F238E27FC236}">
                <a16:creationId xmlns:a16="http://schemas.microsoft.com/office/drawing/2014/main" xmlns="" id="{C9E601BE-A865-42BC-9379-D7541964EE03}"/>
              </a:ext>
            </a:extLst>
          </p:cNvPr>
          <p:cNvGraphicFramePr>
            <a:graphicFrameLocks noGrp="1"/>
          </p:cNvGraphicFramePr>
          <p:nvPr>
            <p:extLst>
              <p:ext uri="{D42A27DB-BD31-4B8C-83A1-F6EECF244321}">
                <p14:modId xmlns:p14="http://schemas.microsoft.com/office/powerpoint/2010/main" val="1502815131"/>
              </p:ext>
            </p:extLst>
          </p:nvPr>
        </p:nvGraphicFramePr>
        <p:xfrm>
          <a:off x="4957399" y="1629496"/>
          <a:ext cx="3816000" cy="4312920"/>
        </p:xfrm>
        <a:graphic>
          <a:graphicData uri="http://schemas.openxmlformats.org/drawingml/2006/table">
            <a:tbl>
              <a:tblPr/>
              <a:tblGrid>
                <a:gridCol w="3816000">
                  <a:extLst>
                    <a:ext uri="{9D8B030D-6E8A-4147-A177-3AD203B41FA5}">
                      <a16:colId xmlns:a16="http://schemas.microsoft.com/office/drawing/2014/main" xmlns="" val="2806015976"/>
                    </a:ext>
                  </a:extLst>
                </a:gridCol>
              </a:tblGrid>
              <a:tr h="123825">
                <a:tc>
                  <a:txBody>
                    <a:bodyPr/>
                    <a:lstStyle/>
                    <a:p>
                      <a:pPr algn="l" fontAlgn="ctr"/>
                      <a:r>
                        <a:rPr lang="en-AU" sz="1000" b="0" i="0" u="none" strike="noStrike" noProof="0">
                          <a:solidFill>
                            <a:srgbClr val="000000"/>
                          </a:solidFill>
                          <a:effectLst/>
                          <a:latin typeface="SwissReSans Light" panose="020B0504020202020204" pitchFamily="34" charset="0"/>
                        </a:rPr>
                        <a:t>in USD millions, as of December 31</a:t>
                      </a:r>
                    </a:p>
                  </a:txBody>
                  <a:tcPr marL="0" marR="0" marT="0"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85634314"/>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Insurance revenue</a:t>
                      </a:r>
                    </a:p>
                  </a:txBody>
                  <a:tcPr marL="0" marR="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1048137006"/>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Insurance service expense</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19194306"/>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Insurance service result before reinsurance contracts held</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20398445"/>
                  </a:ext>
                </a:extLst>
              </a:tr>
              <a:tr h="58884">
                <a:tc>
                  <a:txBody>
                    <a:bodyPr/>
                    <a:lstStyle/>
                    <a:p>
                      <a:pPr algn="l" fontAlgn="ctr"/>
                      <a:endParaRPr lang="en-AU" sz="105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2622851997"/>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Allocation of reinsurance premiums</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480129490"/>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Amounts recoverable from reinsurers for incurred claim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1381504"/>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Net income/expenses from reinsurance contracts held</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57222219"/>
                  </a:ext>
                </a:extLst>
              </a:tr>
              <a:tr h="85725">
                <a:tc>
                  <a:txBody>
                    <a:bodyPr/>
                    <a:lstStyle/>
                    <a:p>
                      <a:pPr algn="l" fontAlgn="ctr"/>
                      <a:endParaRPr lang="en-AU" sz="105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5692850"/>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Insurance service result</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39626595"/>
                  </a:ext>
                </a:extLst>
              </a:tr>
              <a:tr h="85725">
                <a:tc>
                  <a:txBody>
                    <a:bodyPr/>
                    <a:lstStyle/>
                    <a:p>
                      <a:pPr algn="l" fontAlgn="ctr"/>
                      <a:endParaRPr lang="en-AU" sz="105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633781644"/>
                  </a:ext>
                </a:extLst>
              </a:tr>
              <a:tr h="78846">
                <a:tc>
                  <a:txBody>
                    <a:bodyPr/>
                    <a:lstStyle/>
                    <a:p>
                      <a:pPr algn="l" fontAlgn="ctr"/>
                      <a:r>
                        <a:rPr lang="en-AU" sz="1050" b="0" i="0" u="none" strike="noStrike" noProof="0">
                          <a:solidFill>
                            <a:srgbClr val="000000"/>
                          </a:solidFill>
                          <a:effectLst/>
                          <a:latin typeface="SwissReSans Light" panose="020B0504020202020204" pitchFamily="34" charset="0"/>
                        </a:rPr>
                        <a:t>Finance income/expenses from insurance contracts issued</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2056606062"/>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Finance income/expenses from reinsurance contracts held</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09826221"/>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Insurance financial result</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4914731"/>
                  </a:ext>
                </a:extLst>
              </a:tr>
              <a:tr h="86909">
                <a:tc>
                  <a:txBody>
                    <a:bodyPr/>
                    <a:lstStyle/>
                    <a:p>
                      <a:pPr algn="l" fontAlgn="ctr"/>
                      <a:endParaRPr lang="en-AU" sz="105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560220036"/>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Net investment income</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748399288"/>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Net un/realised investment gains/losse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33920981"/>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Investment result</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15599095"/>
                  </a:ext>
                </a:extLst>
              </a:tr>
              <a:tr h="85725">
                <a:tc>
                  <a:txBody>
                    <a:bodyPr/>
                    <a:lstStyle/>
                    <a:p>
                      <a:pPr algn="l" fontAlgn="ctr"/>
                      <a:endParaRPr lang="en-AU" sz="1050" b="0" i="0" u="none" strike="noStrike" noProof="0">
                        <a:solidFill>
                          <a:srgbClr val="000000"/>
                        </a:solidFill>
                        <a:effectLst/>
                        <a:latin typeface="SwissReSans Light" panose="020B05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754463489"/>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Other operating income</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721826583"/>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Other operating expenses</a:t>
                      </a:r>
                    </a:p>
                  </a:txBody>
                  <a:tcPr marL="0" marR="0" marT="0"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xmlns="" val="3318249504"/>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Interest expenses</a:t>
                      </a:r>
                    </a:p>
                  </a:txBody>
                  <a:tcPr marL="0" marR="0" marT="0" marB="0" anchor="ctr">
                    <a:lnL>
                      <a:noFill/>
                    </a:lnL>
                    <a:lnR>
                      <a:noFill/>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86320203"/>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Income/loss before income tax expense/benefit</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17455211"/>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Income tax expense/benefit</a:t>
                      </a:r>
                    </a:p>
                  </a:txBody>
                  <a:tcPr marL="0" marR="0" marT="0" marB="0" anchor="ctr">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30711401"/>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Net income/loss before attribution of non-controlling interests</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1570923"/>
                  </a:ext>
                </a:extLst>
              </a:tr>
              <a:tr h="152400">
                <a:tc>
                  <a:txBody>
                    <a:bodyPr/>
                    <a:lstStyle/>
                    <a:p>
                      <a:pPr algn="l" fontAlgn="ctr"/>
                      <a:r>
                        <a:rPr lang="en-AU" sz="1050" b="0" i="0" u="none" strike="noStrike" noProof="0">
                          <a:solidFill>
                            <a:srgbClr val="000000"/>
                          </a:solidFill>
                          <a:effectLst/>
                          <a:latin typeface="SwissReSans Light" panose="020B0504020202020204" pitchFamily="34" charset="0"/>
                        </a:rPr>
                        <a:t>Income/loss attributable to non-controlling interests</a:t>
                      </a:r>
                    </a:p>
                  </a:txBody>
                  <a:tcPr marL="0" marR="0" marT="0" marB="0" anchor="ctr">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78269141"/>
                  </a:ext>
                </a:extLst>
              </a:tr>
              <a:tr h="152400">
                <a:tc>
                  <a:txBody>
                    <a:bodyPr/>
                    <a:lstStyle/>
                    <a:p>
                      <a:pPr algn="l" fontAlgn="ctr"/>
                      <a:r>
                        <a:rPr lang="en-AU" sz="1050" b="1" i="0" u="none" strike="noStrike" noProof="0">
                          <a:solidFill>
                            <a:srgbClr val="00B0F0"/>
                          </a:solidFill>
                          <a:effectLst/>
                          <a:latin typeface="SwissReSans Light" panose="020B0504020202020204" pitchFamily="34" charset="0"/>
                        </a:rPr>
                        <a:t>Net income/loss attributable to common shareholders</a:t>
                      </a:r>
                    </a:p>
                  </a:txBody>
                  <a:tcPr marL="0" marR="0" marT="0"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45861919"/>
                  </a:ext>
                </a:extLst>
              </a:tr>
            </a:tbl>
          </a:graphicData>
        </a:graphic>
      </p:graphicFrame>
      <p:sp>
        <p:nvSpPr>
          <p:cNvPr id="15" name="Rectangle 14">
            <a:extLst>
              <a:ext uri="{FF2B5EF4-FFF2-40B4-BE49-F238E27FC236}">
                <a16:creationId xmlns:a16="http://schemas.microsoft.com/office/drawing/2014/main" xmlns="" id="{F834A27D-FC1A-4E26-A74F-3D5D7FE1F085}"/>
              </a:ext>
            </a:extLst>
          </p:cNvPr>
          <p:cNvSpPr/>
          <p:nvPr/>
        </p:nvSpPr>
        <p:spPr>
          <a:xfrm>
            <a:off x="4943872" y="2080624"/>
            <a:ext cx="3816000" cy="16452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16" name="Rectangle 15">
            <a:extLst>
              <a:ext uri="{FF2B5EF4-FFF2-40B4-BE49-F238E27FC236}">
                <a16:creationId xmlns:a16="http://schemas.microsoft.com/office/drawing/2014/main" xmlns="" id="{91EBDC2E-8827-4F88-A4DB-3A6B398CDF44}"/>
              </a:ext>
            </a:extLst>
          </p:cNvPr>
          <p:cNvSpPr/>
          <p:nvPr/>
        </p:nvSpPr>
        <p:spPr>
          <a:xfrm>
            <a:off x="4943872" y="2726994"/>
            <a:ext cx="3816000" cy="18782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20" name="Rectangle 19">
            <a:extLst>
              <a:ext uri="{FF2B5EF4-FFF2-40B4-BE49-F238E27FC236}">
                <a16:creationId xmlns:a16="http://schemas.microsoft.com/office/drawing/2014/main" xmlns="" id="{7EE36B2C-F652-4E74-B082-97723157FDB2}"/>
              </a:ext>
            </a:extLst>
          </p:cNvPr>
          <p:cNvSpPr/>
          <p:nvPr/>
        </p:nvSpPr>
        <p:spPr>
          <a:xfrm>
            <a:off x="4937245" y="3069606"/>
            <a:ext cx="3816000" cy="17055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21" name="Rectangle 20">
            <a:extLst>
              <a:ext uri="{FF2B5EF4-FFF2-40B4-BE49-F238E27FC236}">
                <a16:creationId xmlns:a16="http://schemas.microsoft.com/office/drawing/2014/main" xmlns="" id="{05A3C5E7-F54C-4639-BFF5-A0AC8119DDD6}"/>
              </a:ext>
            </a:extLst>
          </p:cNvPr>
          <p:cNvSpPr/>
          <p:nvPr/>
        </p:nvSpPr>
        <p:spPr>
          <a:xfrm>
            <a:off x="4937245" y="3688432"/>
            <a:ext cx="3816000" cy="18782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sp>
        <p:nvSpPr>
          <p:cNvPr id="26" name="Rectangle 25">
            <a:extLst>
              <a:ext uri="{FF2B5EF4-FFF2-40B4-BE49-F238E27FC236}">
                <a16:creationId xmlns:a16="http://schemas.microsoft.com/office/drawing/2014/main" xmlns="" id="{8E80093A-B515-429A-A1D6-A44953C6E17D}"/>
              </a:ext>
            </a:extLst>
          </p:cNvPr>
          <p:cNvSpPr/>
          <p:nvPr/>
        </p:nvSpPr>
        <p:spPr>
          <a:xfrm>
            <a:off x="4953810" y="4358102"/>
            <a:ext cx="3816000" cy="12463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noFill/>
              <a:latin typeface="SwissReSans" pitchFamily="34" charset="0"/>
            </a:endParaRPr>
          </a:p>
        </p:txBody>
      </p:sp>
      <p:pic>
        <p:nvPicPr>
          <p:cNvPr id="29" name="Picture 28">
            <a:extLst>
              <a:ext uri="{FF2B5EF4-FFF2-40B4-BE49-F238E27FC236}">
                <a16:creationId xmlns:a16="http://schemas.microsoft.com/office/drawing/2014/main" xmlns="" id="{EC6CA438-5746-4E33-8981-E3761DE3B30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24083" y="189755"/>
            <a:ext cx="755375" cy="760943"/>
          </a:xfrm>
          <a:prstGeom prst="rect">
            <a:avLst/>
          </a:prstGeom>
        </p:spPr>
      </p:pic>
    </p:spTree>
    <p:extLst>
      <p:ext uri="{BB962C8B-B14F-4D97-AF65-F5344CB8AC3E}">
        <p14:creationId xmlns:p14="http://schemas.microsoft.com/office/powerpoint/2010/main" val="20750604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0B92CBD7-7059-4B3D-864B-7D1374261A3D}"/>
              </a:ext>
            </a:extLst>
          </p:cNvPr>
          <p:cNvPicPr>
            <a:picLocks noChangeAspect="1"/>
          </p:cNvPicPr>
          <p:nvPr/>
        </p:nvPicPr>
        <p:blipFill>
          <a:blip r:embed="rId4"/>
          <a:stretch>
            <a:fillRect/>
          </a:stretch>
        </p:blipFill>
        <p:spPr>
          <a:xfrm>
            <a:off x="407340" y="1099987"/>
            <a:ext cx="8331648" cy="5335122"/>
          </a:xfrm>
          <a:prstGeom prst="rect">
            <a:avLst/>
          </a:prstGeom>
          <a:ln>
            <a:solidFill>
              <a:schemeClr val="accent2"/>
            </a:solidFill>
          </a:ln>
        </p:spPr>
      </p:pic>
      <p:pic>
        <p:nvPicPr>
          <p:cNvPr id="48" name="Picture Placeholder 15">
            <a:extLst>
              <a:ext uri="{FF2B5EF4-FFF2-40B4-BE49-F238E27FC236}">
                <a16:creationId xmlns:a16="http://schemas.microsoft.com/office/drawing/2014/main" xmlns="" id="{E96D66E0-2CD7-481A-8CF1-B297DC94CC1F}"/>
              </a:ext>
            </a:extLst>
          </p:cNvPr>
          <p:cNvPicPr>
            <a:picLocks/>
          </p:cNvPicPr>
          <p:nvPr>
            <p:custDataLst>
              <p:tags r:id="rId1"/>
            </p:custDataLst>
          </p:nvPr>
        </p:nvPicPr>
        <p:blipFill rotWithShape="1">
          <a:blip r:embed="rId5">
            <a:extLst>
              <a:ext uri="{28A0092B-C50C-407E-A947-70E740481C1C}">
                <a14:useLocalDpi xmlns:a14="http://schemas.microsoft.com/office/drawing/2010/main" val="0"/>
              </a:ext>
            </a:extLst>
          </a:blip>
          <a:srcRect r="52362"/>
          <a:stretch/>
        </p:blipFill>
        <p:spPr bwMode="gray">
          <a:xfrm rot="10800000">
            <a:off x="8941825" y="1099986"/>
            <a:ext cx="2482766" cy="5329123"/>
          </a:xfrm>
          <a:prstGeom prst="rect">
            <a:avLst/>
          </a:prstGeom>
          <a:ln>
            <a:solidFill>
              <a:schemeClr val="accent3"/>
            </a:solidFill>
          </a:ln>
        </p:spPr>
      </p:pic>
      <p:sp>
        <p:nvSpPr>
          <p:cNvPr id="2" name="Slide Number Placeholder 1">
            <a:extLst>
              <a:ext uri="{FF2B5EF4-FFF2-40B4-BE49-F238E27FC236}">
                <a16:creationId xmlns:a16="http://schemas.microsoft.com/office/drawing/2014/main" xmlns="" id="{927B4017-0B01-4BE0-81D5-133B54550431}"/>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22</a:t>
            </a:fld>
            <a:endParaRPr lang="en-GB"/>
          </a:p>
        </p:txBody>
      </p:sp>
      <p:sp>
        <p:nvSpPr>
          <p:cNvPr id="3" name="Title 2">
            <a:extLst>
              <a:ext uri="{FF2B5EF4-FFF2-40B4-BE49-F238E27FC236}">
                <a16:creationId xmlns:a16="http://schemas.microsoft.com/office/drawing/2014/main" xmlns="" id="{FBF8C57D-59C6-42BB-BDF6-78519FCA8DF0}"/>
              </a:ext>
            </a:extLst>
          </p:cNvPr>
          <p:cNvSpPr>
            <a:spLocks noGrp="1"/>
          </p:cNvSpPr>
          <p:nvPr>
            <p:ph type="title"/>
          </p:nvPr>
        </p:nvSpPr>
        <p:spPr>
          <a:xfrm>
            <a:off x="407341" y="407342"/>
            <a:ext cx="11017250" cy="692647"/>
          </a:xfrm>
          <a:ln>
            <a:noFill/>
          </a:ln>
        </p:spPr>
        <p:txBody>
          <a:bodyPr/>
          <a:lstStyle/>
          <a:p>
            <a:r>
              <a:rPr lang="en-GB" dirty="0"/>
              <a:t>Roll-forward: Movements in measurement components – insurance contracts issued</a:t>
            </a:r>
          </a:p>
        </p:txBody>
      </p:sp>
      <p:graphicFrame>
        <p:nvGraphicFramePr>
          <p:cNvPr id="22" name="Table 21">
            <a:extLst>
              <a:ext uri="{FF2B5EF4-FFF2-40B4-BE49-F238E27FC236}">
                <a16:creationId xmlns:a16="http://schemas.microsoft.com/office/drawing/2014/main" xmlns="" id="{3D2344C0-1D2E-439B-9531-3850B8B0C789}"/>
              </a:ext>
            </a:extLst>
          </p:cNvPr>
          <p:cNvGraphicFramePr>
            <a:graphicFrameLocks noGrp="1"/>
          </p:cNvGraphicFramePr>
          <p:nvPr>
            <p:extLst>
              <p:ext uri="{D42A27DB-BD31-4B8C-83A1-F6EECF244321}">
                <p14:modId xmlns:p14="http://schemas.microsoft.com/office/powerpoint/2010/main" val="3430171219"/>
              </p:ext>
            </p:extLst>
          </p:nvPr>
        </p:nvGraphicFramePr>
        <p:xfrm>
          <a:off x="8883175" y="1143389"/>
          <a:ext cx="2531588" cy="4790272"/>
        </p:xfrm>
        <a:graphic>
          <a:graphicData uri="http://schemas.openxmlformats.org/drawingml/2006/table">
            <a:tbl>
              <a:tblPr firstRow="1" bandRow="1">
                <a:tableStyleId>{2D5ABB26-0587-4C30-8999-92F81FD0307C}</a:tableStyleId>
              </a:tblPr>
              <a:tblGrid>
                <a:gridCol w="2531588">
                  <a:extLst>
                    <a:ext uri="{9D8B030D-6E8A-4147-A177-3AD203B41FA5}">
                      <a16:colId xmlns:a16="http://schemas.microsoft.com/office/drawing/2014/main" xmlns="" val="3838309214"/>
                    </a:ext>
                  </a:extLst>
                </a:gridCol>
              </a:tblGrid>
              <a:tr h="5034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latin typeface="+mn-lt"/>
                        </a:rPr>
                        <a:t>Main highlights:</a:t>
                      </a:r>
                    </a:p>
                  </a:txBody>
                  <a:tcPr/>
                </a:tc>
                <a:extLst>
                  <a:ext uri="{0D108BD9-81ED-4DB2-BD59-A6C34878D82A}">
                    <a16:rowId xmlns:a16="http://schemas.microsoft.com/office/drawing/2014/main" xmlns="" val="176545476"/>
                  </a:ext>
                </a:extLst>
              </a:tr>
              <a:tr h="4286841">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bg1"/>
                          </a:solidFill>
                          <a:latin typeface="+mn-lt"/>
                          <a:ea typeface="+mn-ea"/>
                          <a:cs typeface="+mn-cs"/>
                        </a:rPr>
                        <a:t>The insurance contracts amounts, with the tracking of the 3 building blocks </a:t>
                      </a:r>
                      <a:r>
                        <a:rPr lang="en-US" sz="1100" dirty="0">
                          <a:solidFill>
                            <a:schemeClr val="bg1"/>
                          </a:solidFill>
                          <a:latin typeface="+mn-lt"/>
                        </a:rPr>
                        <a:t>(not req. for PAA)</a:t>
                      </a:r>
                      <a:endParaRPr lang="en-GB" sz="1100" kern="1200" dirty="0">
                        <a:solidFill>
                          <a:schemeClr val="bg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100" kern="1200" dirty="0">
                        <a:solidFill>
                          <a:schemeClr val="bg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bg1"/>
                          </a:solidFill>
                          <a:latin typeface="+mn-lt"/>
                          <a:ea typeface="+mn-ea"/>
                          <a:cs typeface="+mn-cs"/>
                        </a:rPr>
                        <a:t>Info shown based of service period: past/present/futur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100" kern="1200" dirty="0">
                        <a:solidFill>
                          <a:schemeClr val="bg1"/>
                        </a:solidFill>
                        <a:latin typeface="+mn-lt"/>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bg1"/>
                          </a:solidFill>
                          <a:latin typeface="+mn-lt"/>
                          <a:ea typeface="+mn-ea"/>
                          <a:cs typeface="+mn-cs"/>
                        </a:rPr>
                        <a:t>Underwriting experience is very transparent</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1100" i="1" dirty="0">
                        <a:solidFill>
                          <a:srgbClr val="0070C0"/>
                        </a:solidFill>
                        <a:latin typeface="SwissReSans" pitchFamily="34" charset="0"/>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100" kern="1200" dirty="0">
                          <a:solidFill>
                            <a:schemeClr val="bg1"/>
                          </a:solidFill>
                          <a:latin typeface="+mn-lt"/>
                          <a:ea typeface="+mn-ea"/>
                          <a:cs typeface="+mn-cs"/>
                        </a:rPr>
                        <a:t>Impact of changes in expectations for the future clearly disclosed</a:t>
                      </a:r>
                    </a:p>
                    <a:p>
                      <a:pPr algn="ctr"/>
                      <a:endParaRPr lang="en-GB" sz="1100" i="1" dirty="0">
                        <a:solidFill>
                          <a:srgbClr val="0070C0"/>
                        </a:solidFill>
                        <a:latin typeface="SwissReSans" pitchFamily="34" charset="0"/>
                      </a:endParaRPr>
                    </a:p>
                    <a:p>
                      <a:pPr marL="171450" indent="-171450">
                        <a:buFont typeface="Arial" panose="020B0604020202020204" pitchFamily="34" charset="0"/>
                        <a:buChar char="•"/>
                      </a:pPr>
                      <a:r>
                        <a:rPr lang="en-US" sz="1100" dirty="0">
                          <a:solidFill>
                            <a:schemeClr val="bg1"/>
                          </a:solidFill>
                          <a:latin typeface="+mn-lt"/>
                        </a:rPr>
                        <a:t>Experience adjustments (in current services) shows actual vs expected</a:t>
                      </a:r>
                    </a:p>
                    <a:p>
                      <a:pPr marL="171450" indent="-171450">
                        <a:buFont typeface="Arial" panose="020B0604020202020204" pitchFamily="34" charset="0"/>
                        <a:buChar char="•"/>
                      </a:pPr>
                      <a:endParaRPr lang="en-US" sz="1100" dirty="0">
                        <a:solidFill>
                          <a:schemeClr val="bg1"/>
                        </a:solidFill>
                        <a:latin typeface="+mn-lt"/>
                      </a:endParaRPr>
                    </a:p>
                  </a:txBody>
                  <a:tcPr/>
                </a:tc>
                <a:extLst>
                  <a:ext uri="{0D108BD9-81ED-4DB2-BD59-A6C34878D82A}">
                    <a16:rowId xmlns:a16="http://schemas.microsoft.com/office/drawing/2014/main" xmlns="" val="1463487168"/>
                  </a:ext>
                </a:extLst>
              </a:tr>
            </a:tbl>
          </a:graphicData>
        </a:graphic>
      </p:graphicFrame>
      <p:sp>
        <p:nvSpPr>
          <p:cNvPr id="17" name="Rectangle 16">
            <a:extLst>
              <a:ext uri="{FF2B5EF4-FFF2-40B4-BE49-F238E27FC236}">
                <a16:creationId xmlns:a16="http://schemas.microsoft.com/office/drawing/2014/main" xmlns="" id="{057B6D4C-95BC-4A23-B975-186373E6DB69}"/>
              </a:ext>
            </a:extLst>
          </p:cNvPr>
          <p:cNvSpPr/>
          <p:nvPr/>
        </p:nvSpPr>
        <p:spPr>
          <a:xfrm>
            <a:off x="397512" y="2256776"/>
            <a:ext cx="4114312" cy="2396360"/>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sp>
        <p:nvSpPr>
          <p:cNvPr id="20" name="Rectangle 19">
            <a:extLst>
              <a:ext uri="{FF2B5EF4-FFF2-40B4-BE49-F238E27FC236}">
                <a16:creationId xmlns:a16="http://schemas.microsoft.com/office/drawing/2014/main" xmlns="" id="{23A6F19B-2781-4797-A087-7D66F211793F}"/>
              </a:ext>
            </a:extLst>
          </p:cNvPr>
          <p:cNvSpPr/>
          <p:nvPr/>
        </p:nvSpPr>
        <p:spPr>
          <a:xfrm>
            <a:off x="4731026" y="1095267"/>
            <a:ext cx="3309190" cy="594386"/>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pic>
        <p:nvPicPr>
          <p:cNvPr id="10" name="Picture 9">
            <a:extLst>
              <a:ext uri="{FF2B5EF4-FFF2-40B4-BE49-F238E27FC236}">
                <a16:creationId xmlns:a16="http://schemas.microsoft.com/office/drawing/2014/main" xmlns="" id="{75F93643-A334-4FBE-957C-4239D1ED412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24082" y="163396"/>
            <a:ext cx="755375" cy="760943"/>
          </a:xfrm>
          <a:prstGeom prst="rect">
            <a:avLst/>
          </a:prstGeom>
        </p:spPr>
      </p:pic>
      <p:sp>
        <p:nvSpPr>
          <p:cNvPr id="4" name="TextBox 3">
            <a:extLst>
              <a:ext uri="{FF2B5EF4-FFF2-40B4-BE49-F238E27FC236}">
                <a16:creationId xmlns:a16="http://schemas.microsoft.com/office/drawing/2014/main" xmlns="" id="{D3FEA2E4-0329-42FE-B61C-052487398E2F}"/>
              </a:ext>
            </a:extLst>
          </p:cNvPr>
          <p:cNvSpPr txBox="1"/>
          <p:nvPr/>
        </p:nvSpPr>
        <p:spPr>
          <a:xfrm>
            <a:off x="1381539" y="6455316"/>
            <a:ext cx="8567530" cy="246221"/>
          </a:xfrm>
          <a:prstGeom prst="rect">
            <a:avLst/>
          </a:prstGeom>
          <a:noFill/>
        </p:spPr>
        <p:txBody>
          <a:bodyPr wrap="square" rtlCol="0">
            <a:spAutoFit/>
          </a:bodyPr>
          <a:lstStyle/>
          <a:p>
            <a:r>
              <a:rPr lang="en-GB" sz="1000" i="1" dirty="0">
                <a:latin typeface="SwissReSans" pitchFamily="34" charset="0"/>
              </a:rPr>
              <a:t>All figures in the presentation are for illustrative purposes only</a:t>
            </a:r>
          </a:p>
        </p:txBody>
      </p:sp>
    </p:spTree>
    <p:extLst>
      <p:ext uri="{BB962C8B-B14F-4D97-AF65-F5344CB8AC3E}">
        <p14:creationId xmlns:p14="http://schemas.microsoft.com/office/powerpoint/2010/main" val="33894531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1EB76983-89BA-4178-B396-03155802653B}"/>
              </a:ext>
            </a:extLst>
          </p:cNvPr>
          <p:cNvPicPr>
            <a:picLocks noChangeAspect="1"/>
          </p:cNvPicPr>
          <p:nvPr/>
        </p:nvPicPr>
        <p:blipFill>
          <a:blip r:embed="rId4"/>
          <a:stretch>
            <a:fillRect/>
          </a:stretch>
        </p:blipFill>
        <p:spPr>
          <a:xfrm>
            <a:off x="407341" y="1107504"/>
            <a:ext cx="8424963" cy="5299155"/>
          </a:xfrm>
          <a:prstGeom prst="rect">
            <a:avLst/>
          </a:prstGeom>
          <a:ln>
            <a:solidFill>
              <a:schemeClr val="accent2"/>
            </a:solidFill>
          </a:ln>
        </p:spPr>
      </p:pic>
      <p:sp>
        <p:nvSpPr>
          <p:cNvPr id="2" name="Slide Number Placeholder 1">
            <a:extLst>
              <a:ext uri="{FF2B5EF4-FFF2-40B4-BE49-F238E27FC236}">
                <a16:creationId xmlns:a16="http://schemas.microsoft.com/office/drawing/2014/main" xmlns="" id="{927B4017-0B01-4BE0-81D5-133B54550431}"/>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23</a:t>
            </a:fld>
            <a:endParaRPr lang="en-GB"/>
          </a:p>
        </p:txBody>
      </p:sp>
      <p:sp>
        <p:nvSpPr>
          <p:cNvPr id="3" name="Title 2">
            <a:extLst>
              <a:ext uri="{FF2B5EF4-FFF2-40B4-BE49-F238E27FC236}">
                <a16:creationId xmlns:a16="http://schemas.microsoft.com/office/drawing/2014/main" xmlns="" id="{FBF8C57D-59C6-42BB-BDF6-78519FCA8DF0}"/>
              </a:ext>
            </a:extLst>
          </p:cNvPr>
          <p:cNvSpPr>
            <a:spLocks noGrp="1"/>
          </p:cNvSpPr>
          <p:nvPr>
            <p:ph type="title"/>
          </p:nvPr>
        </p:nvSpPr>
        <p:spPr>
          <a:xfrm>
            <a:off x="407341" y="407342"/>
            <a:ext cx="11017250" cy="692647"/>
          </a:xfrm>
          <a:ln>
            <a:noFill/>
          </a:ln>
        </p:spPr>
        <p:txBody>
          <a:bodyPr/>
          <a:lstStyle/>
          <a:p>
            <a:r>
              <a:rPr lang="en-GB"/>
              <a:t>Roll-forward: Movements in type of liabilities – insurance contracts issued</a:t>
            </a:r>
          </a:p>
        </p:txBody>
      </p:sp>
      <p:pic>
        <p:nvPicPr>
          <p:cNvPr id="8" name="Picture Placeholder 15">
            <a:extLst>
              <a:ext uri="{FF2B5EF4-FFF2-40B4-BE49-F238E27FC236}">
                <a16:creationId xmlns:a16="http://schemas.microsoft.com/office/drawing/2014/main" xmlns="" id="{EA04688D-F9FB-4AF4-9AFF-82E9173FBB62}"/>
              </a:ext>
            </a:extLst>
          </p:cNvPr>
          <p:cNvPicPr>
            <a:picLocks/>
          </p:cNvPicPr>
          <p:nvPr>
            <p:custDataLst>
              <p:tags r:id="rId1"/>
            </p:custDataLst>
          </p:nvPr>
        </p:nvPicPr>
        <p:blipFill rotWithShape="1">
          <a:blip r:embed="rId5">
            <a:extLst>
              <a:ext uri="{28A0092B-C50C-407E-A947-70E740481C1C}">
                <a14:useLocalDpi xmlns:a14="http://schemas.microsoft.com/office/drawing/2010/main" val="0"/>
              </a:ext>
            </a:extLst>
          </a:blip>
          <a:srcRect r="52362"/>
          <a:stretch/>
        </p:blipFill>
        <p:spPr bwMode="gray">
          <a:xfrm rot="10800000">
            <a:off x="8938563" y="1099982"/>
            <a:ext cx="2486027" cy="5306675"/>
          </a:xfrm>
          <a:prstGeom prst="rect">
            <a:avLst/>
          </a:prstGeom>
          <a:ln>
            <a:solidFill>
              <a:schemeClr val="accent3"/>
            </a:solidFill>
          </a:ln>
        </p:spPr>
      </p:pic>
      <p:graphicFrame>
        <p:nvGraphicFramePr>
          <p:cNvPr id="7" name="Table 21">
            <a:extLst>
              <a:ext uri="{FF2B5EF4-FFF2-40B4-BE49-F238E27FC236}">
                <a16:creationId xmlns:a16="http://schemas.microsoft.com/office/drawing/2014/main" xmlns="" id="{AAE690AD-C6A8-47C5-AF4F-244A4B598826}"/>
              </a:ext>
            </a:extLst>
          </p:cNvPr>
          <p:cNvGraphicFramePr>
            <a:graphicFrameLocks noGrp="1"/>
          </p:cNvGraphicFramePr>
          <p:nvPr>
            <p:extLst>
              <p:ext uri="{D42A27DB-BD31-4B8C-83A1-F6EECF244321}">
                <p14:modId xmlns:p14="http://schemas.microsoft.com/office/powerpoint/2010/main" val="3996478215"/>
              </p:ext>
            </p:extLst>
          </p:nvPr>
        </p:nvGraphicFramePr>
        <p:xfrm>
          <a:off x="8938565" y="1092927"/>
          <a:ext cx="2476198" cy="4453107"/>
        </p:xfrm>
        <a:graphic>
          <a:graphicData uri="http://schemas.openxmlformats.org/drawingml/2006/table">
            <a:tbl>
              <a:tblPr firstRow="1" bandRow="1">
                <a:tableStyleId>{2D5ABB26-0587-4C30-8999-92F81FD0307C}</a:tableStyleId>
              </a:tblPr>
              <a:tblGrid>
                <a:gridCol w="2476198">
                  <a:extLst>
                    <a:ext uri="{9D8B030D-6E8A-4147-A177-3AD203B41FA5}">
                      <a16:colId xmlns:a16="http://schemas.microsoft.com/office/drawing/2014/main" xmlns="" val="3838309214"/>
                    </a:ext>
                  </a:extLst>
                </a:gridCol>
              </a:tblGrid>
              <a:tr h="5009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rPr>
                        <a:t>Main highlights:</a:t>
                      </a:r>
                      <a:endParaRPr lang="en-GB" sz="1400" b="1">
                        <a:solidFill>
                          <a:schemeClr val="bg1"/>
                        </a:solidFill>
                        <a:latin typeface="SwissReSans" pitchFamily="34" charset="0"/>
                      </a:endParaRPr>
                    </a:p>
                  </a:txBody>
                  <a:tcPr marL="72000" marR="36000" marT="36000" marB="36000"/>
                </a:tc>
                <a:extLst>
                  <a:ext uri="{0D108BD9-81ED-4DB2-BD59-A6C34878D82A}">
                    <a16:rowId xmlns:a16="http://schemas.microsoft.com/office/drawing/2014/main" xmlns="" val="176545476"/>
                  </a:ext>
                </a:extLst>
              </a:tr>
              <a:tr h="3952161">
                <a:tc>
                  <a:txBody>
                    <a:bodyPr/>
                    <a:lstStyle/>
                    <a:p>
                      <a:pPr marL="171450" indent="-171450">
                        <a:buFont typeface="Arial" panose="020B0604020202020204" pitchFamily="34" charset="0"/>
                        <a:buChar char="•"/>
                      </a:pPr>
                      <a:r>
                        <a:rPr lang="en-GB" sz="1100">
                          <a:solidFill>
                            <a:schemeClr val="bg1"/>
                          </a:solidFill>
                          <a:latin typeface="+mn-lt"/>
                        </a:rPr>
                        <a:t>Split by type of liability gives insights into portion of the business relating to remaining coverage (profitable and onerous) and incurred claims </a:t>
                      </a:r>
                    </a:p>
                    <a:p>
                      <a:pPr marL="0" indent="0" algn="l" defTabSz="685800" rtl="0" eaLnBrk="1" latinLnBrk="0" hangingPunct="1">
                        <a:buFont typeface="Arial" panose="020B0604020202020204" pitchFamily="34" charset="0"/>
                        <a:buNone/>
                      </a:pPr>
                      <a:endParaRPr lang="en-GB" sz="1100">
                        <a:solidFill>
                          <a:schemeClr val="bg1"/>
                        </a:solidFill>
                        <a:latin typeface="+mn-lt"/>
                      </a:endParaRPr>
                    </a:p>
                    <a:p>
                      <a:pPr marL="171450" indent="-171450">
                        <a:buFont typeface="Arial" panose="020B0604020202020204" pitchFamily="34" charset="0"/>
                        <a:buChar char="•"/>
                      </a:pPr>
                      <a:r>
                        <a:rPr lang="en-GB" sz="1100">
                          <a:solidFill>
                            <a:schemeClr val="bg1"/>
                          </a:solidFill>
                          <a:latin typeface="+mn-lt"/>
                        </a:rPr>
                        <a:t>Actual vs expected analysis possible for incurred claims</a:t>
                      </a:r>
                    </a:p>
                  </a:txBody>
                  <a:tcPr marL="72000" marR="36000" marT="36000" marB="36000"/>
                </a:tc>
                <a:extLst>
                  <a:ext uri="{0D108BD9-81ED-4DB2-BD59-A6C34878D82A}">
                    <a16:rowId xmlns:a16="http://schemas.microsoft.com/office/drawing/2014/main" xmlns="" val="1463487168"/>
                  </a:ext>
                </a:extLst>
              </a:tr>
            </a:tbl>
          </a:graphicData>
        </a:graphic>
      </p:graphicFrame>
      <p:sp>
        <p:nvSpPr>
          <p:cNvPr id="14" name="Rectangle 13">
            <a:extLst>
              <a:ext uri="{FF2B5EF4-FFF2-40B4-BE49-F238E27FC236}">
                <a16:creationId xmlns:a16="http://schemas.microsoft.com/office/drawing/2014/main" xmlns="" id="{E85EBCA6-689E-4EA4-B23D-C7D33FAD5A15}"/>
              </a:ext>
            </a:extLst>
          </p:cNvPr>
          <p:cNvSpPr/>
          <p:nvPr/>
        </p:nvSpPr>
        <p:spPr>
          <a:xfrm>
            <a:off x="4668724" y="1065449"/>
            <a:ext cx="3371492" cy="763351"/>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sp>
        <p:nvSpPr>
          <p:cNvPr id="15" name="Rectangle 14">
            <a:extLst>
              <a:ext uri="{FF2B5EF4-FFF2-40B4-BE49-F238E27FC236}">
                <a16:creationId xmlns:a16="http://schemas.microsoft.com/office/drawing/2014/main" xmlns="" id="{2B7AFAFB-004D-43D6-8BB2-43AB535761AA}"/>
              </a:ext>
            </a:extLst>
          </p:cNvPr>
          <p:cNvSpPr/>
          <p:nvPr/>
        </p:nvSpPr>
        <p:spPr>
          <a:xfrm>
            <a:off x="386144" y="2242442"/>
            <a:ext cx="3926775" cy="2055238"/>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pic>
        <p:nvPicPr>
          <p:cNvPr id="10" name="Picture 9">
            <a:extLst>
              <a:ext uri="{FF2B5EF4-FFF2-40B4-BE49-F238E27FC236}">
                <a16:creationId xmlns:a16="http://schemas.microsoft.com/office/drawing/2014/main" xmlns="" id="{7529AD8C-CDBC-4886-B4AE-38C0E2BE61D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06971" y="70871"/>
            <a:ext cx="755375" cy="760943"/>
          </a:xfrm>
          <a:prstGeom prst="rect">
            <a:avLst/>
          </a:prstGeom>
        </p:spPr>
      </p:pic>
      <p:sp>
        <p:nvSpPr>
          <p:cNvPr id="12" name="TextBox 11">
            <a:extLst>
              <a:ext uri="{FF2B5EF4-FFF2-40B4-BE49-F238E27FC236}">
                <a16:creationId xmlns:a16="http://schemas.microsoft.com/office/drawing/2014/main" xmlns="" id="{677DCC46-DCE8-4E51-8D93-9E2D5932C5A8}"/>
              </a:ext>
            </a:extLst>
          </p:cNvPr>
          <p:cNvSpPr txBox="1"/>
          <p:nvPr/>
        </p:nvSpPr>
        <p:spPr>
          <a:xfrm>
            <a:off x="1381539" y="6455316"/>
            <a:ext cx="8567530" cy="246221"/>
          </a:xfrm>
          <a:prstGeom prst="rect">
            <a:avLst/>
          </a:prstGeom>
          <a:noFill/>
        </p:spPr>
        <p:txBody>
          <a:bodyPr wrap="square" rtlCol="0">
            <a:spAutoFit/>
          </a:bodyPr>
          <a:lstStyle/>
          <a:p>
            <a:r>
              <a:rPr lang="en-GB" sz="1000" i="1" dirty="0">
                <a:latin typeface="SwissReSans" pitchFamily="34" charset="0"/>
              </a:rPr>
              <a:t>All figures in the presentation are for illustrative purposes only</a:t>
            </a:r>
          </a:p>
        </p:txBody>
      </p:sp>
    </p:spTree>
    <p:extLst>
      <p:ext uri="{BB962C8B-B14F-4D97-AF65-F5344CB8AC3E}">
        <p14:creationId xmlns:p14="http://schemas.microsoft.com/office/powerpoint/2010/main" val="18217462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927B4017-0B01-4BE0-81D5-133B54550431}"/>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24</a:t>
            </a:fld>
            <a:endParaRPr lang="en-GB"/>
          </a:p>
        </p:txBody>
      </p:sp>
      <p:sp>
        <p:nvSpPr>
          <p:cNvPr id="3" name="Title 2">
            <a:extLst>
              <a:ext uri="{FF2B5EF4-FFF2-40B4-BE49-F238E27FC236}">
                <a16:creationId xmlns:a16="http://schemas.microsoft.com/office/drawing/2014/main" xmlns="" id="{FBF8C57D-59C6-42BB-BDF6-78519FCA8DF0}"/>
              </a:ext>
            </a:extLst>
          </p:cNvPr>
          <p:cNvSpPr>
            <a:spLocks noGrp="1"/>
          </p:cNvSpPr>
          <p:nvPr>
            <p:ph type="title"/>
          </p:nvPr>
        </p:nvSpPr>
        <p:spPr>
          <a:xfrm>
            <a:off x="407341" y="546652"/>
            <a:ext cx="11017250" cy="553337"/>
          </a:xfrm>
          <a:ln>
            <a:noFill/>
          </a:ln>
        </p:spPr>
        <p:txBody>
          <a:bodyPr/>
          <a:lstStyle/>
          <a:p>
            <a:r>
              <a:rPr lang="en-GB"/>
              <a:t>New business: </a:t>
            </a:r>
            <a:r>
              <a:rPr lang="en-US"/>
              <a:t>Effect of IFRS 17 contracts initially recognized in the year</a:t>
            </a:r>
            <a:endParaRPr lang="en-GB"/>
          </a:p>
        </p:txBody>
      </p:sp>
      <p:sp>
        <p:nvSpPr>
          <p:cNvPr id="6" name="Rectangle 5">
            <a:extLst>
              <a:ext uri="{FF2B5EF4-FFF2-40B4-BE49-F238E27FC236}">
                <a16:creationId xmlns:a16="http://schemas.microsoft.com/office/drawing/2014/main" xmlns="" id="{930290DA-20FC-4B83-A439-EA9FF3B13BDB}"/>
              </a:ext>
            </a:extLst>
          </p:cNvPr>
          <p:cNvSpPr/>
          <p:nvPr/>
        </p:nvSpPr>
        <p:spPr>
          <a:xfrm>
            <a:off x="407341" y="1102351"/>
            <a:ext cx="6096000" cy="276999"/>
          </a:xfrm>
          <a:prstGeom prst="rect">
            <a:avLst/>
          </a:prstGeom>
          <a:ln>
            <a:noFill/>
          </a:ln>
        </p:spPr>
        <p:txBody>
          <a:bodyPr>
            <a:spAutoFit/>
          </a:bodyPr>
          <a:lstStyle/>
          <a:p>
            <a:r>
              <a:rPr lang="en-US" sz="1200" b="1"/>
              <a:t>Effect of insurance contracts initially recognized in the year:</a:t>
            </a:r>
          </a:p>
        </p:txBody>
      </p:sp>
      <p:sp>
        <p:nvSpPr>
          <p:cNvPr id="17" name="Rectangle 16">
            <a:extLst>
              <a:ext uri="{FF2B5EF4-FFF2-40B4-BE49-F238E27FC236}">
                <a16:creationId xmlns:a16="http://schemas.microsoft.com/office/drawing/2014/main" xmlns="" id="{A7612040-F7B6-49B0-8E04-D87006C6491E}"/>
              </a:ext>
            </a:extLst>
          </p:cNvPr>
          <p:cNvSpPr/>
          <p:nvPr/>
        </p:nvSpPr>
        <p:spPr>
          <a:xfrm>
            <a:off x="407341" y="4088908"/>
            <a:ext cx="6096000" cy="276999"/>
          </a:xfrm>
          <a:prstGeom prst="rect">
            <a:avLst/>
          </a:prstGeom>
        </p:spPr>
        <p:txBody>
          <a:bodyPr>
            <a:spAutoFit/>
          </a:bodyPr>
          <a:lstStyle/>
          <a:p>
            <a:r>
              <a:rPr lang="en-US" sz="1200" b="1"/>
              <a:t>Effect of reinsurance contracts held initially recognized in the year:</a:t>
            </a:r>
          </a:p>
        </p:txBody>
      </p:sp>
      <p:pic>
        <p:nvPicPr>
          <p:cNvPr id="20" name="Picture Placeholder 15">
            <a:extLst>
              <a:ext uri="{FF2B5EF4-FFF2-40B4-BE49-F238E27FC236}">
                <a16:creationId xmlns:a16="http://schemas.microsoft.com/office/drawing/2014/main" xmlns="" id="{CEE015EB-11CD-46A3-AE32-D2FC0BF57521}"/>
              </a:ext>
            </a:extLst>
          </p:cNvPr>
          <p:cNvPicPr>
            <a:picLocks/>
          </p:cNvPicPr>
          <p:nvPr>
            <p:custDataLst>
              <p:tags r:id="rId1"/>
            </p:custDataLst>
          </p:nvPr>
        </p:nvPicPr>
        <p:blipFill rotWithShape="1">
          <a:blip r:embed="rId4">
            <a:extLst>
              <a:ext uri="{28A0092B-C50C-407E-A947-70E740481C1C}">
                <a14:useLocalDpi xmlns:a14="http://schemas.microsoft.com/office/drawing/2010/main" val="0"/>
              </a:ext>
            </a:extLst>
          </a:blip>
          <a:srcRect r="52362"/>
          <a:stretch/>
        </p:blipFill>
        <p:spPr bwMode="gray">
          <a:xfrm rot="10800000">
            <a:off x="8611190" y="1102350"/>
            <a:ext cx="3096318" cy="5036208"/>
          </a:xfrm>
          <a:prstGeom prst="rect">
            <a:avLst/>
          </a:prstGeom>
          <a:ln>
            <a:solidFill>
              <a:schemeClr val="accent3"/>
            </a:solidFill>
          </a:ln>
        </p:spPr>
      </p:pic>
      <p:graphicFrame>
        <p:nvGraphicFramePr>
          <p:cNvPr id="29" name="Table 28">
            <a:extLst>
              <a:ext uri="{FF2B5EF4-FFF2-40B4-BE49-F238E27FC236}">
                <a16:creationId xmlns:a16="http://schemas.microsoft.com/office/drawing/2014/main" xmlns="" id="{FE21B83F-F04A-4624-B357-5942D8D28C01}"/>
              </a:ext>
            </a:extLst>
          </p:cNvPr>
          <p:cNvGraphicFramePr>
            <a:graphicFrameLocks noGrp="1"/>
          </p:cNvGraphicFramePr>
          <p:nvPr>
            <p:extLst>
              <p:ext uri="{D42A27DB-BD31-4B8C-83A1-F6EECF244321}">
                <p14:modId xmlns:p14="http://schemas.microsoft.com/office/powerpoint/2010/main" val="1620187639"/>
              </p:ext>
            </p:extLst>
          </p:nvPr>
        </p:nvGraphicFramePr>
        <p:xfrm>
          <a:off x="8611190" y="1099989"/>
          <a:ext cx="3096318" cy="5001474"/>
        </p:xfrm>
        <a:graphic>
          <a:graphicData uri="http://schemas.openxmlformats.org/drawingml/2006/table">
            <a:tbl>
              <a:tblPr firstRow="1" bandRow="1">
                <a:tableStyleId>{2D5ABB26-0587-4C30-8999-92F81FD0307C}</a:tableStyleId>
              </a:tblPr>
              <a:tblGrid>
                <a:gridCol w="3096318">
                  <a:extLst>
                    <a:ext uri="{9D8B030D-6E8A-4147-A177-3AD203B41FA5}">
                      <a16:colId xmlns:a16="http://schemas.microsoft.com/office/drawing/2014/main" xmlns="" val="3838309214"/>
                    </a:ext>
                  </a:extLst>
                </a:gridCol>
              </a:tblGrid>
              <a:tr h="5177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solidFill>
                            <a:schemeClr val="bg1"/>
                          </a:solidFill>
                        </a:rPr>
                        <a:t>Main highlights:</a:t>
                      </a:r>
                    </a:p>
                  </a:txBody>
                  <a:tcPr/>
                </a:tc>
                <a:extLst>
                  <a:ext uri="{0D108BD9-81ED-4DB2-BD59-A6C34878D82A}">
                    <a16:rowId xmlns:a16="http://schemas.microsoft.com/office/drawing/2014/main" xmlns="" val="176545476"/>
                  </a:ext>
                </a:extLst>
              </a:tr>
              <a:tr h="4483746">
                <a:tc>
                  <a:txBody>
                    <a:bodyPr/>
                    <a:lstStyle/>
                    <a:p>
                      <a:pPr marL="171450" indent="-171450">
                        <a:buFont typeface="Arial" panose="020B0604020202020204" pitchFamily="34" charset="0"/>
                        <a:buChar char="•"/>
                      </a:pPr>
                      <a:r>
                        <a:rPr lang="en-US" sz="1100">
                          <a:solidFill>
                            <a:schemeClr val="bg1"/>
                          </a:solidFill>
                        </a:rPr>
                        <a:t>Shows the estimates of the measurement components for new business (insurance contracts issued and reinsurance contracts held) for the reporting period</a:t>
                      </a:r>
                    </a:p>
                    <a:p>
                      <a:pPr marL="171450" indent="-171450">
                        <a:buFont typeface="Arial" panose="020B0604020202020204" pitchFamily="34" charset="0"/>
                        <a:buChar char="•"/>
                      </a:pPr>
                      <a:endParaRPr lang="en-US" sz="1100">
                        <a:solidFill>
                          <a:schemeClr val="bg1"/>
                        </a:solidFill>
                      </a:endParaRPr>
                    </a:p>
                    <a:p>
                      <a:pPr marL="171450" indent="-171450">
                        <a:buFont typeface="Arial" panose="020B0604020202020204" pitchFamily="34" charset="0"/>
                        <a:buChar char="•"/>
                      </a:pPr>
                      <a:r>
                        <a:rPr lang="en-US" sz="1100">
                          <a:solidFill>
                            <a:schemeClr val="bg1"/>
                          </a:solidFill>
                        </a:rPr>
                        <a:t>Depending on the level of disaggregation chosen, can show cross-subsidizing across lines of business</a:t>
                      </a:r>
                    </a:p>
                    <a:p>
                      <a:pPr marL="171450" indent="-171450">
                        <a:buFont typeface="Arial" panose="020B0604020202020204" pitchFamily="34" charset="0"/>
                        <a:buChar char="•"/>
                      </a:pPr>
                      <a:endParaRPr lang="en-US" sz="1100">
                        <a:solidFill>
                          <a:schemeClr val="bg1"/>
                        </a:solidFil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solidFill>
                            <a:schemeClr val="bg1"/>
                          </a:solidFill>
                        </a:rPr>
                        <a:t>Support for many new business KPIs e.g. new business profit, NB volume, NB CSM</a:t>
                      </a:r>
                    </a:p>
                  </a:txBody>
                  <a:tcPr/>
                </a:tc>
                <a:extLst>
                  <a:ext uri="{0D108BD9-81ED-4DB2-BD59-A6C34878D82A}">
                    <a16:rowId xmlns:a16="http://schemas.microsoft.com/office/drawing/2014/main" xmlns="" val="1463487168"/>
                  </a:ext>
                </a:extLst>
              </a:tr>
            </a:tbl>
          </a:graphicData>
        </a:graphic>
      </p:graphicFrame>
      <p:pic>
        <p:nvPicPr>
          <p:cNvPr id="8" name="Picture 7">
            <a:extLst>
              <a:ext uri="{FF2B5EF4-FFF2-40B4-BE49-F238E27FC236}">
                <a16:creationId xmlns:a16="http://schemas.microsoft.com/office/drawing/2014/main" xmlns="" id="{5DB22639-F29A-4FB5-9EDB-533723912283}"/>
              </a:ext>
            </a:extLst>
          </p:cNvPr>
          <p:cNvPicPr>
            <a:picLocks noChangeAspect="1"/>
          </p:cNvPicPr>
          <p:nvPr/>
        </p:nvPicPr>
        <p:blipFill>
          <a:blip r:embed="rId5"/>
          <a:stretch>
            <a:fillRect/>
          </a:stretch>
        </p:blipFill>
        <p:spPr>
          <a:xfrm>
            <a:off x="495231" y="1363856"/>
            <a:ext cx="7873727" cy="2119698"/>
          </a:xfrm>
          <a:prstGeom prst="rect">
            <a:avLst/>
          </a:prstGeom>
          <a:ln>
            <a:solidFill>
              <a:schemeClr val="accent2"/>
            </a:solidFill>
          </a:ln>
        </p:spPr>
      </p:pic>
      <p:sp>
        <p:nvSpPr>
          <p:cNvPr id="15" name="Rectangle 14">
            <a:extLst>
              <a:ext uri="{FF2B5EF4-FFF2-40B4-BE49-F238E27FC236}">
                <a16:creationId xmlns:a16="http://schemas.microsoft.com/office/drawing/2014/main" xmlns="" id="{9D47F5E7-8872-48C4-A407-D4A51AAA8E67}"/>
              </a:ext>
            </a:extLst>
          </p:cNvPr>
          <p:cNvSpPr/>
          <p:nvPr/>
        </p:nvSpPr>
        <p:spPr>
          <a:xfrm rot="5400000">
            <a:off x="6092379" y="1923848"/>
            <a:ext cx="1728190" cy="1282114"/>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pic>
        <p:nvPicPr>
          <p:cNvPr id="4" name="Picture 3">
            <a:extLst>
              <a:ext uri="{FF2B5EF4-FFF2-40B4-BE49-F238E27FC236}">
                <a16:creationId xmlns:a16="http://schemas.microsoft.com/office/drawing/2014/main" xmlns="" id="{A0C8F38E-D8D8-479D-B484-86193CE90EF2}"/>
              </a:ext>
            </a:extLst>
          </p:cNvPr>
          <p:cNvPicPr>
            <a:picLocks noChangeAspect="1"/>
          </p:cNvPicPr>
          <p:nvPr/>
        </p:nvPicPr>
        <p:blipFill>
          <a:blip r:embed="rId6"/>
          <a:stretch>
            <a:fillRect/>
          </a:stretch>
        </p:blipFill>
        <p:spPr>
          <a:xfrm>
            <a:off x="495231" y="4280682"/>
            <a:ext cx="7900958" cy="1857876"/>
          </a:xfrm>
          <a:prstGeom prst="rect">
            <a:avLst/>
          </a:prstGeom>
        </p:spPr>
      </p:pic>
      <p:sp>
        <p:nvSpPr>
          <p:cNvPr id="22" name="Rectangle 21">
            <a:extLst>
              <a:ext uri="{FF2B5EF4-FFF2-40B4-BE49-F238E27FC236}">
                <a16:creationId xmlns:a16="http://schemas.microsoft.com/office/drawing/2014/main" xmlns="" id="{6C255E06-97CA-4CA1-BD7C-CDAA688A397B}"/>
              </a:ext>
            </a:extLst>
          </p:cNvPr>
          <p:cNvSpPr/>
          <p:nvPr/>
        </p:nvSpPr>
        <p:spPr>
          <a:xfrm rot="5400000">
            <a:off x="6104101" y="4655067"/>
            <a:ext cx="1670860" cy="1296122"/>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pic>
        <p:nvPicPr>
          <p:cNvPr id="13" name="Picture 12">
            <a:extLst>
              <a:ext uri="{FF2B5EF4-FFF2-40B4-BE49-F238E27FC236}">
                <a16:creationId xmlns:a16="http://schemas.microsoft.com/office/drawing/2014/main" xmlns="" id="{C9FFE952-5090-4512-B4DE-840F1BEA95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88362" y="172069"/>
            <a:ext cx="755375" cy="760943"/>
          </a:xfrm>
          <a:prstGeom prst="rect">
            <a:avLst/>
          </a:prstGeom>
        </p:spPr>
      </p:pic>
      <p:sp>
        <p:nvSpPr>
          <p:cNvPr id="14" name="TextBox 13">
            <a:extLst>
              <a:ext uri="{FF2B5EF4-FFF2-40B4-BE49-F238E27FC236}">
                <a16:creationId xmlns:a16="http://schemas.microsoft.com/office/drawing/2014/main" xmlns="" id="{43C5F236-907E-4EF7-9975-D92073505AA6}"/>
              </a:ext>
            </a:extLst>
          </p:cNvPr>
          <p:cNvSpPr txBox="1"/>
          <p:nvPr/>
        </p:nvSpPr>
        <p:spPr>
          <a:xfrm>
            <a:off x="1381539" y="6455316"/>
            <a:ext cx="8567530" cy="246221"/>
          </a:xfrm>
          <a:prstGeom prst="rect">
            <a:avLst/>
          </a:prstGeom>
          <a:noFill/>
        </p:spPr>
        <p:txBody>
          <a:bodyPr wrap="square" rtlCol="0">
            <a:spAutoFit/>
          </a:bodyPr>
          <a:lstStyle/>
          <a:p>
            <a:r>
              <a:rPr lang="en-GB" sz="1000" i="1" dirty="0">
                <a:latin typeface="SwissReSans" pitchFamily="34" charset="0"/>
              </a:rPr>
              <a:t>All figures in the presentation are for illustrative purposes only</a:t>
            </a:r>
          </a:p>
        </p:txBody>
      </p:sp>
    </p:spTree>
    <p:extLst>
      <p:ext uri="{BB962C8B-B14F-4D97-AF65-F5344CB8AC3E}">
        <p14:creationId xmlns:p14="http://schemas.microsoft.com/office/powerpoint/2010/main" val="15032811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927B4017-0B01-4BE0-81D5-133B54550431}"/>
              </a:ext>
            </a:extLst>
          </p:cNvPr>
          <p:cNvSpPr>
            <a:spLocks noGrp="1"/>
          </p:cNvSpPr>
          <p:nvPr>
            <p:ph type="sldNum" sz="quarter" idx="12"/>
          </p:nvPr>
        </p:nvSpPr>
        <p:spPr>
          <a:xfrm>
            <a:off x="11414762" y="6472512"/>
            <a:ext cx="287008" cy="182562"/>
          </a:xfrm>
        </p:spPr>
        <p:txBody>
          <a:bodyPr/>
          <a:lstStyle/>
          <a:p>
            <a:fld id="{5E4D2043-7E31-4A53-BD33-72A88E682172}" type="slidenum">
              <a:rPr lang="en-GB" smtClean="0"/>
              <a:pPr/>
              <a:t>25</a:t>
            </a:fld>
            <a:endParaRPr lang="en-GB"/>
          </a:p>
        </p:txBody>
      </p:sp>
      <p:sp>
        <p:nvSpPr>
          <p:cNvPr id="3" name="Title 2">
            <a:extLst>
              <a:ext uri="{FF2B5EF4-FFF2-40B4-BE49-F238E27FC236}">
                <a16:creationId xmlns:a16="http://schemas.microsoft.com/office/drawing/2014/main" xmlns="" id="{FBF8C57D-59C6-42BB-BDF6-78519FCA8DF0}"/>
              </a:ext>
            </a:extLst>
          </p:cNvPr>
          <p:cNvSpPr>
            <a:spLocks noGrp="1"/>
          </p:cNvSpPr>
          <p:nvPr>
            <p:ph type="title"/>
          </p:nvPr>
        </p:nvSpPr>
        <p:spPr>
          <a:xfrm>
            <a:off x="541016" y="644752"/>
            <a:ext cx="11017250" cy="692647"/>
          </a:xfrm>
          <a:ln>
            <a:noFill/>
          </a:ln>
        </p:spPr>
        <p:txBody>
          <a:bodyPr/>
          <a:lstStyle/>
          <a:p>
            <a:r>
              <a:rPr lang="en-US"/>
              <a:t>Contractual service margin (CSM) emergence</a:t>
            </a:r>
            <a:endParaRPr lang="en-GB"/>
          </a:p>
        </p:txBody>
      </p:sp>
      <p:sp>
        <p:nvSpPr>
          <p:cNvPr id="9" name="Foliennummernplatzhalter 3">
            <a:extLst>
              <a:ext uri="{FF2B5EF4-FFF2-40B4-BE49-F238E27FC236}">
                <a16:creationId xmlns:a16="http://schemas.microsoft.com/office/drawing/2014/main" xmlns="" id="{7779A6AC-E01C-4E85-AE9E-F2C04E690578}"/>
              </a:ext>
            </a:extLst>
          </p:cNvPr>
          <p:cNvSpPr txBox="1">
            <a:spLocks/>
          </p:cNvSpPr>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12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pic>
        <p:nvPicPr>
          <p:cNvPr id="21" name="Picture Placeholder 15">
            <a:extLst>
              <a:ext uri="{FF2B5EF4-FFF2-40B4-BE49-F238E27FC236}">
                <a16:creationId xmlns:a16="http://schemas.microsoft.com/office/drawing/2014/main" xmlns="" id="{20C7843C-2882-4768-90C8-777BFA790388}"/>
              </a:ext>
            </a:extLst>
          </p:cNvPr>
          <p:cNvPicPr>
            <a:picLocks/>
          </p:cNvPicPr>
          <p:nvPr>
            <p:custDataLst>
              <p:tags r:id="rId1"/>
            </p:custDataLst>
          </p:nvPr>
        </p:nvPicPr>
        <p:blipFill rotWithShape="1">
          <a:blip r:embed="rId4">
            <a:extLst>
              <a:ext uri="{28A0092B-C50C-407E-A947-70E740481C1C}">
                <a14:useLocalDpi xmlns:a14="http://schemas.microsoft.com/office/drawing/2010/main" val="0"/>
              </a:ext>
            </a:extLst>
          </a:blip>
          <a:srcRect r="52362"/>
          <a:stretch/>
        </p:blipFill>
        <p:spPr bwMode="gray">
          <a:xfrm rot="10800000">
            <a:off x="7493622" y="1484781"/>
            <a:ext cx="3921140" cy="2550506"/>
          </a:xfrm>
          <a:prstGeom prst="rect">
            <a:avLst/>
          </a:prstGeom>
          <a:ln>
            <a:solidFill>
              <a:schemeClr val="accent3"/>
            </a:solidFill>
          </a:ln>
        </p:spPr>
      </p:pic>
      <p:graphicFrame>
        <p:nvGraphicFramePr>
          <p:cNvPr id="30" name="Table 29">
            <a:extLst>
              <a:ext uri="{FF2B5EF4-FFF2-40B4-BE49-F238E27FC236}">
                <a16:creationId xmlns:a16="http://schemas.microsoft.com/office/drawing/2014/main" xmlns="" id="{E064E5A7-9A81-431B-9D62-2A0EBFF975D6}"/>
              </a:ext>
            </a:extLst>
          </p:cNvPr>
          <p:cNvGraphicFramePr>
            <a:graphicFrameLocks noGrp="1"/>
          </p:cNvGraphicFramePr>
          <p:nvPr>
            <p:extLst>
              <p:ext uri="{D42A27DB-BD31-4B8C-83A1-F6EECF244321}">
                <p14:modId xmlns:p14="http://schemas.microsoft.com/office/powerpoint/2010/main" val="2616803812"/>
              </p:ext>
            </p:extLst>
          </p:nvPr>
        </p:nvGraphicFramePr>
        <p:xfrm>
          <a:off x="7505414" y="1484781"/>
          <a:ext cx="3862823" cy="1737360"/>
        </p:xfrm>
        <a:graphic>
          <a:graphicData uri="http://schemas.openxmlformats.org/drawingml/2006/table">
            <a:tbl>
              <a:tblPr firstRow="1" bandRow="1">
                <a:tableStyleId>{2D5ABB26-0587-4C30-8999-92F81FD0307C}</a:tableStyleId>
              </a:tblPr>
              <a:tblGrid>
                <a:gridCol w="3862823">
                  <a:extLst>
                    <a:ext uri="{9D8B030D-6E8A-4147-A177-3AD203B41FA5}">
                      <a16:colId xmlns:a16="http://schemas.microsoft.com/office/drawing/2014/main" xmlns="" val="3838309214"/>
                    </a:ext>
                  </a:extLst>
                </a:gridCol>
              </a:tblGrid>
              <a:tr h="1764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rPr>
                        <a:t>Main highlights:</a:t>
                      </a:r>
                    </a:p>
                  </a:txBody>
                  <a:tcPr/>
                </a:tc>
                <a:extLst>
                  <a:ext uri="{0D108BD9-81ED-4DB2-BD59-A6C34878D82A}">
                    <a16:rowId xmlns:a16="http://schemas.microsoft.com/office/drawing/2014/main" xmlns="" val="176545476"/>
                  </a:ext>
                </a:extLst>
              </a:tr>
              <a:tr h="1164367">
                <a:tc>
                  <a:txBody>
                    <a:bodyPr/>
                    <a:lstStyle/>
                    <a:p>
                      <a:pPr marL="171450" indent="-171450">
                        <a:buFont typeface="Arial" panose="020B0604020202020204" pitchFamily="34" charset="0"/>
                        <a:buChar char="•"/>
                      </a:pPr>
                      <a:r>
                        <a:rPr lang="en-US" sz="1100">
                          <a:solidFill>
                            <a:schemeClr val="bg1"/>
                          </a:solidFill>
                        </a:rPr>
                        <a:t>Gives insights into when the company expects to recognize profit over the coverage period of its IFRS 17 contracts </a:t>
                      </a:r>
                    </a:p>
                    <a:p>
                      <a:pPr marL="171450" indent="-171450">
                        <a:buFont typeface="Arial" panose="020B0604020202020204" pitchFamily="34" charset="0"/>
                        <a:buChar char="•"/>
                      </a:pPr>
                      <a:endParaRPr lang="en-US" sz="1100">
                        <a:solidFill>
                          <a:schemeClr val="bg1"/>
                        </a:solidFill>
                      </a:endParaRPr>
                    </a:p>
                    <a:p>
                      <a:pPr marL="171450" indent="-171450">
                        <a:buFont typeface="Arial" panose="020B0604020202020204" pitchFamily="34" charset="0"/>
                        <a:buChar char="•"/>
                      </a:pPr>
                      <a:r>
                        <a:rPr lang="en-US" sz="1100">
                          <a:solidFill>
                            <a:schemeClr val="bg1"/>
                          </a:solidFill>
                        </a:rPr>
                        <a:t>Must split for insurance contracts issued and reinsurance contracts held </a:t>
                      </a:r>
                    </a:p>
                    <a:p>
                      <a:pPr marL="171450" indent="-171450">
                        <a:buFont typeface="Arial" panose="020B0604020202020204" pitchFamily="34" charset="0"/>
                        <a:buChar char="•"/>
                      </a:pPr>
                      <a:endParaRPr lang="en-US" sz="1100">
                        <a:solidFill>
                          <a:schemeClr val="bg1"/>
                        </a:solidFill>
                      </a:endParaRPr>
                    </a:p>
                    <a:p>
                      <a:pPr marL="171450" indent="-171450">
                        <a:buFont typeface="Arial" panose="020B0604020202020204" pitchFamily="34" charset="0"/>
                        <a:buChar char="•"/>
                      </a:pPr>
                      <a:r>
                        <a:rPr lang="en-US" sz="1100">
                          <a:solidFill>
                            <a:schemeClr val="bg1"/>
                          </a:solidFill>
                        </a:rPr>
                        <a:t>One of the disclosure tables where more detailed split by LOB could be useful</a:t>
                      </a:r>
                    </a:p>
                  </a:txBody>
                  <a:tcPr/>
                </a:tc>
                <a:extLst>
                  <a:ext uri="{0D108BD9-81ED-4DB2-BD59-A6C34878D82A}">
                    <a16:rowId xmlns:a16="http://schemas.microsoft.com/office/drawing/2014/main" xmlns="" val="1463487168"/>
                  </a:ext>
                </a:extLst>
              </a:tr>
            </a:tbl>
          </a:graphicData>
        </a:graphic>
      </p:graphicFrame>
      <p:pic>
        <p:nvPicPr>
          <p:cNvPr id="6" name="Picture 5">
            <a:extLst>
              <a:ext uri="{FF2B5EF4-FFF2-40B4-BE49-F238E27FC236}">
                <a16:creationId xmlns:a16="http://schemas.microsoft.com/office/drawing/2014/main" xmlns="" id="{BB3F2B0D-5F1C-4B8A-9942-FBC296F0562E}"/>
              </a:ext>
            </a:extLst>
          </p:cNvPr>
          <p:cNvPicPr>
            <a:picLocks noChangeAspect="1"/>
          </p:cNvPicPr>
          <p:nvPr/>
        </p:nvPicPr>
        <p:blipFill>
          <a:blip r:embed="rId5"/>
          <a:stretch>
            <a:fillRect/>
          </a:stretch>
        </p:blipFill>
        <p:spPr>
          <a:xfrm>
            <a:off x="551380" y="1484784"/>
            <a:ext cx="6768751" cy="1935722"/>
          </a:xfrm>
          <a:prstGeom prst="rect">
            <a:avLst/>
          </a:prstGeom>
          <a:ln>
            <a:solidFill>
              <a:schemeClr val="accent2"/>
            </a:solidFill>
          </a:ln>
        </p:spPr>
      </p:pic>
      <p:sp>
        <p:nvSpPr>
          <p:cNvPr id="16" name="Rectangle 15">
            <a:extLst>
              <a:ext uri="{FF2B5EF4-FFF2-40B4-BE49-F238E27FC236}">
                <a16:creationId xmlns:a16="http://schemas.microsoft.com/office/drawing/2014/main" xmlns="" id="{18D088AB-92AB-4F07-8F2D-3B9ED9C7C196}"/>
              </a:ext>
            </a:extLst>
          </p:cNvPr>
          <p:cNvSpPr/>
          <p:nvPr/>
        </p:nvSpPr>
        <p:spPr>
          <a:xfrm rot="5400000">
            <a:off x="6950622" y="1823563"/>
            <a:ext cx="246758" cy="515843"/>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sp>
        <p:nvSpPr>
          <p:cNvPr id="17" name="Rectangle 16">
            <a:extLst>
              <a:ext uri="{FF2B5EF4-FFF2-40B4-BE49-F238E27FC236}">
                <a16:creationId xmlns:a16="http://schemas.microsoft.com/office/drawing/2014/main" xmlns="" id="{C1845CB2-F25A-4121-B7B0-395D4F739A2D}"/>
              </a:ext>
            </a:extLst>
          </p:cNvPr>
          <p:cNvSpPr/>
          <p:nvPr/>
        </p:nvSpPr>
        <p:spPr>
          <a:xfrm rot="5400000">
            <a:off x="6950622" y="2691028"/>
            <a:ext cx="246758" cy="515843"/>
          </a:xfrm>
          <a:prstGeom prst="rect">
            <a:avLst/>
          </a:prstGeom>
          <a:noFill/>
          <a:ln>
            <a:solidFill>
              <a:srgbClr val="FF0000"/>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CH">
              <a:latin typeface="SwissReSans" pitchFamily="34" charset="0"/>
            </a:endParaRPr>
          </a:p>
        </p:txBody>
      </p:sp>
      <p:pic>
        <p:nvPicPr>
          <p:cNvPr id="11" name="Picture 10">
            <a:extLst>
              <a:ext uri="{FF2B5EF4-FFF2-40B4-BE49-F238E27FC236}">
                <a16:creationId xmlns:a16="http://schemas.microsoft.com/office/drawing/2014/main" xmlns="" id="{FE3BFE33-1D27-4D9F-9EF0-6C0C18AFE4E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24082" y="116895"/>
            <a:ext cx="755375" cy="760943"/>
          </a:xfrm>
          <a:prstGeom prst="rect">
            <a:avLst/>
          </a:prstGeom>
        </p:spPr>
      </p:pic>
      <p:sp>
        <p:nvSpPr>
          <p:cNvPr id="12" name="TextBox 11">
            <a:extLst>
              <a:ext uri="{FF2B5EF4-FFF2-40B4-BE49-F238E27FC236}">
                <a16:creationId xmlns:a16="http://schemas.microsoft.com/office/drawing/2014/main" xmlns="" id="{1A915428-E695-4CFA-B9EE-AC403525B6EA}"/>
              </a:ext>
            </a:extLst>
          </p:cNvPr>
          <p:cNvSpPr txBox="1"/>
          <p:nvPr/>
        </p:nvSpPr>
        <p:spPr>
          <a:xfrm>
            <a:off x="1381539" y="6455316"/>
            <a:ext cx="8567530" cy="246221"/>
          </a:xfrm>
          <a:prstGeom prst="rect">
            <a:avLst/>
          </a:prstGeom>
          <a:noFill/>
        </p:spPr>
        <p:txBody>
          <a:bodyPr wrap="square" rtlCol="0">
            <a:spAutoFit/>
          </a:bodyPr>
          <a:lstStyle/>
          <a:p>
            <a:r>
              <a:rPr lang="en-GB" sz="1000" i="1" dirty="0">
                <a:latin typeface="SwissReSans" pitchFamily="34" charset="0"/>
              </a:rPr>
              <a:t>All figures in the presentation are for illustrative purposes only</a:t>
            </a:r>
          </a:p>
        </p:txBody>
      </p:sp>
    </p:spTree>
    <p:extLst>
      <p:ext uri="{BB962C8B-B14F-4D97-AF65-F5344CB8AC3E}">
        <p14:creationId xmlns:p14="http://schemas.microsoft.com/office/powerpoint/2010/main" val="2331341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474C1D2E-D522-46A4-837C-116376497A8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67" name="think-cell Slide" r:id="rId7" imgW="473" imgH="476" progId="TCLayout.ActiveDocument.1">
                  <p:embed/>
                </p:oleObj>
              </mc:Choice>
              <mc:Fallback>
                <p:oleObj name="think-cell Slide" r:id="rId7" imgW="473" imgH="476" progId="TCLayout.ActiveDocument.1">
                  <p:embed/>
                  <p:pic>
                    <p:nvPicPr>
                      <p:cNvPr id="6" name="Object 5" hidden="1">
                        <a:extLst>
                          <a:ext uri="{FF2B5EF4-FFF2-40B4-BE49-F238E27FC236}">
                            <a16:creationId xmlns:a16="http://schemas.microsoft.com/office/drawing/2014/main" xmlns="" id="{474C1D2E-D522-46A4-837C-116376497A8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837FD521-AEBC-4B85-9209-46424FE43CEB}"/>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SwissReSans" panose="020B0604020202020204" pitchFamily="34" charset="0"/>
              <a:ea typeface="+mj-ea"/>
              <a:cs typeface="+mj-cs"/>
              <a:sym typeface="SwissReSans" panose="020B0604020202020204" pitchFamily="34" charset="0"/>
            </a:endParaRPr>
          </a:p>
        </p:txBody>
      </p:sp>
      <p:sp>
        <p:nvSpPr>
          <p:cNvPr id="3" name="Title 2">
            <a:extLst>
              <a:ext uri="{FF2B5EF4-FFF2-40B4-BE49-F238E27FC236}">
                <a16:creationId xmlns:a16="http://schemas.microsoft.com/office/drawing/2014/main" xmlns="" id="{DE1A65A2-16B7-405C-8339-4FF72665910F}"/>
              </a:ext>
            </a:extLst>
          </p:cNvPr>
          <p:cNvSpPr>
            <a:spLocks noGrp="1"/>
          </p:cNvSpPr>
          <p:nvPr>
            <p:ph type="title"/>
          </p:nvPr>
        </p:nvSpPr>
        <p:spPr>
          <a:xfrm>
            <a:off x="704850" y="694085"/>
            <a:ext cx="7991474" cy="692647"/>
          </a:xfrm>
        </p:spPr>
        <p:txBody>
          <a:bodyPr/>
          <a:lstStyle/>
          <a:p>
            <a:r>
              <a:rPr lang="en-US">
                <a:latin typeface="+mn-lt"/>
              </a:rPr>
              <a:t>IFRS 17 - Key features</a:t>
            </a:r>
          </a:p>
        </p:txBody>
      </p:sp>
      <p:grpSp>
        <p:nvGrpSpPr>
          <p:cNvPr id="30" name="Group 29">
            <a:extLst>
              <a:ext uri="{FF2B5EF4-FFF2-40B4-BE49-F238E27FC236}">
                <a16:creationId xmlns:a16="http://schemas.microsoft.com/office/drawing/2014/main" xmlns="" id="{B445F04E-8E2D-41DD-A1EC-A70DE2238BF8}"/>
              </a:ext>
            </a:extLst>
          </p:cNvPr>
          <p:cNvGrpSpPr/>
          <p:nvPr/>
        </p:nvGrpSpPr>
        <p:grpSpPr>
          <a:xfrm>
            <a:off x="704850" y="1634166"/>
            <a:ext cx="11007724" cy="846900"/>
            <a:chOff x="704850" y="1624336"/>
            <a:chExt cx="11007724" cy="648072"/>
          </a:xfrm>
        </p:grpSpPr>
        <p:sp>
          <p:nvSpPr>
            <p:cNvPr id="37" name="Title 3">
              <a:extLst>
                <a:ext uri="{FF2B5EF4-FFF2-40B4-BE49-F238E27FC236}">
                  <a16:creationId xmlns:a16="http://schemas.microsoft.com/office/drawing/2014/main" xmlns="" id="{48ED3239-60D9-4BD8-9178-5643D1E98215}"/>
                </a:ext>
              </a:extLst>
            </p:cNvPr>
            <p:cNvSpPr txBox="1">
              <a:spLocks/>
            </p:cNvSpPr>
            <p:nvPr/>
          </p:nvSpPr>
          <p:spPr bwMode="black">
            <a:xfrm>
              <a:off x="1020355" y="1628775"/>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b="1">
                  <a:solidFill>
                    <a:schemeClr val="tx1"/>
                  </a:solidFill>
                </a:rPr>
                <a:t>An economic accounting model </a:t>
              </a:r>
            </a:p>
            <a:p>
              <a:r>
                <a:rPr lang="en-US" sz="1200">
                  <a:solidFill>
                    <a:schemeClr val="tx1"/>
                  </a:solidFill>
                </a:rPr>
                <a:t>Insurance contracts are held at market value, using current risk-free rates + an illiquidity premium</a:t>
              </a:r>
            </a:p>
            <a:p>
              <a:r>
                <a:rPr lang="en-US" sz="1200">
                  <a:solidFill>
                    <a:schemeClr val="tx1"/>
                  </a:solidFill>
                </a:rPr>
                <a:t>The valuation of insurance contracts is based on 3 buildings blocks, a present value of </a:t>
              </a:r>
              <a:r>
                <a:rPr lang="en-US" sz="1200" i="1">
                  <a:solidFill>
                    <a:schemeClr val="tx1"/>
                  </a:solidFill>
                </a:rPr>
                <a:t>Best Estimate Cash Flows (BECF), Risk Adjustment (RA) </a:t>
              </a:r>
              <a:r>
                <a:rPr lang="en-US" sz="1200">
                  <a:solidFill>
                    <a:schemeClr val="tx1"/>
                  </a:solidFill>
                </a:rPr>
                <a:t>and</a:t>
              </a:r>
              <a:r>
                <a:rPr lang="en-US" sz="1200" i="1">
                  <a:solidFill>
                    <a:schemeClr val="tx1"/>
                  </a:solidFill>
                </a:rPr>
                <a:t> Contractual Services Margins (CSM)</a:t>
              </a:r>
            </a:p>
          </p:txBody>
        </p:sp>
        <p:sp>
          <p:nvSpPr>
            <p:cNvPr id="38" name="Oval 1">
              <a:extLst>
                <a:ext uri="{FF2B5EF4-FFF2-40B4-BE49-F238E27FC236}">
                  <a16:creationId xmlns:a16="http://schemas.microsoft.com/office/drawing/2014/main" xmlns="" id="{71BA348C-0930-4A32-9B73-324100C09E65}"/>
                </a:ext>
              </a:extLst>
            </p:cNvPr>
            <p:cNvSpPr/>
            <p:nvPr/>
          </p:nvSpPr>
          <p:spPr>
            <a:xfrm>
              <a:off x="704850" y="1624336"/>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SwissReSans" pitchFamily="34" charset="0"/>
              </a:endParaRPr>
            </a:p>
          </p:txBody>
        </p:sp>
        <p:sp>
          <p:nvSpPr>
            <p:cNvPr id="44" name="Title 3">
              <a:extLst>
                <a:ext uri="{FF2B5EF4-FFF2-40B4-BE49-F238E27FC236}">
                  <a16:creationId xmlns:a16="http://schemas.microsoft.com/office/drawing/2014/main" xmlns="" id="{E281D719-D99E-475A-BC87-2638A6B9F6EC}"/>
                </a:ext>
              </a:extLst>
            </p:cNvPr>
            <p:cNvSpPr txBox="1">
              <a:spLocks/>
            </p:cNvSpPr>
            <p:nvPr/>
          </p:nvSpPr>
          <p:spPr bwMode="black">
            <a:xfrm>
              <a:off x="854815" y="1808571"/>
              <a:ext cx="530006" cy="4524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b="1">
                  <a:solidFill>
                    <a:schemeClr val="bg1"/>
                  </a:solidFill>
                </a:rPr>
                <a:t>01</a:t>
              </a:r>
            </a:p>
          </p:txBody>
        </p:sp>
      </p:grpSp>
      <p:grpSp>
        <p:nvGrpSpPr>
          <p:cNvPr id="45" name="Group 44">
            <a:extLst>
              <a:ext uri="{FF2B5EF4-FFF2-40B4-BE49-F238E27FC236}">
                <a16:creationId xmlns:a16="http://schemas.microsoft.com/office/drawing/2014/main" xmlns="" id="{FCEB34BE-2C98-4012-863E-6074C039CF11}"/>
              </a:ext>
            </a:extLst>
          </p:cNvPr>
          <p:cNvGrpSpPr/>
          <p:nvPr/>
        </p:nvGrpSpPr>
        <p:grpSpPr>
          <a:xfrm>
            <a:off x="704850" y="2508080"/>
            <a:ext cx="11007724" cy="846900"/>
            <a:chOff x="704850" y="2464595"/>
            <a:chExt cx="11007724" cy="648072"/>
          </a:xfrm>
        </p:grpSpPr>
        <p:sp>
          <p:nvSpPr>
            <p:cNvPr id="46" name="Title 3">
              <a:extLst>
                <a:ext uri="{FF2B5EF4-FFF2-40B4-BE49-F238E27FC236}">
                  <a16:creationId xmlns:a16="http://schemas.microsoft.com/office/drawing/2014/main" xmlns="" id="{7491D60C-CF5C-41E2-A984-12BBA3D3C9AA}"/>
                </a:ext>
              </a:extLst>
            </p:cNvPr>
            <p:cNvSpPr txBox="1">
              <a:spLocks/>
            </p:cNvSpPr>
            <p:nvPr/>
          </p:nvSpPr>
          <p:spPr bwMode="black">
            <a:xfrm>
              <a:off x="1020355" y="2465485"/>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b="1">
                  <a:solidFill>
                    <a:schemeClr val="tx1"/>
                  </a:solidFill>
                </a:rPr>
                <a:t>A</a:t>
              </a:r>
              <a:r>
                <a:rPr lang="en-GB" sz="1400" b="1" i="1">
                  <a:solidFill>
                    <a:schemeClr val="tx1"/>
                  </a:solidFill>
                </a:rPr>
                <a:t> transparent </a:t>
              </a:r>
              <a:r>
                <a:rPr lang="en-GB" sz="1400" b="1">
                  <a:solidFill>
                    <a:schemeClr val="tx1"/>
                  </a:solidFill>
                </a:rPr>
                <a:t>accounting model </a:t>
              </a:r>
            </a:p>
            <a:p>
              <a:r>
                <a:rPr lang="en-US" sz="1200">
                  <a:solidFill>
                    <a:schemeClr val="tx1"/>
                  </a:solidFill>
                </a:rPr>
                <a:t>This disaggregated view of the insurance contracts into 3 building blocks is the subject of extensive disclosures, bringing a lot of transparency regarding the underwriting performance of the company, the sources of profit</a:t>
              </a:r>
            </a:p>
          </p:txBody>
        </p:sp>
        <p:sp>
          <p:nvSpPr>
            <p:cNvPr id="47" name="Oval 33">
              <a:extLst>
                <a:ext uri="{FF2B5EF4-FFF2-40B4-BE49-F238E27FC236}">
                  <a16:creationId xmlns:a16="http://schemas.microsoft.com/office/drawing/2014/main" xmlns="" id="{B617F870-737A-42F1-AFB4-7F9B0521DE41}"/>
                </a:ext>
              </a:extLst>
            </p:cNvPr>
            <p:cNvSpPr/>
            <p:nvPr/>
          </p:nvSpPr>
          <p:spPr>
            <a:xfrm>
              <a:off x="704850" y="2464595"/>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SwissReSans" pitchFamily="34" charset="0"/>
              </a:endParaRPr>
            </a:p>
          </p:txBody>
        </p:sp>
        <p:sp>
          <p:nvSpPr>
            <p:cNvPr id="48" name="Title 3">
              <a:extLst>
                <a:ext uri="{FF2B5EF4-FFF2-40B4-BE49-F238E27FC236}">
                  <a16:creationId xmlns:a16="http://schemas.microsoft.com/office/drawing/2014/main" xmlns="" id="{121B6F39-9A21-46CB-A0B7-F769B88487C9}"/>
                </a:ext>
              </a:extLst>
            </p:cNvPr>
            <p:cNvSpPr txBox="1">
              <a:spLocks/>
            </p:cNvSpPr>
            <p:nvPr/>
          </p:nvSpPr>
          <p:spPr bwMode="black">
            <a:xfrm>
              <a:off x="854815" y="2656584"/>
              <a:ext cx="530006" cy="4524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b="1">
                  <a:solidFill>
                    <a:schemeClr val="bg1"/>
                  </a:solidFill>
                </a:rPr>
                <a:t>02</a:t>
              </a:r>
            </a:p>
          </p:txBody>
        </p:sp>
      </p:grpSp>
      <p:grpSp>
        <p:nvGrpSpPr>
          <p:cNvPr id="49" name="Group 48">
            <a:extLst>
              <a:ext uri="{FF2B5EF4-FFF2-40B4-BE49-F238E27FC236}">
                <a16:creationId xmlns:a16="http://schemas.microsoft.com/office/drawing/2014/main" xmlns="" id="{7E0F312C-A30E-4B93-AA02-743892899DF9}"/>
              </a:ext>
            </a:extLst>
          </p:cNvPr>
          <p:cNvGrpSpPr/>
          <p:nvPr/>
        </p:nvGrpSpPr>
        <p:grpSpPr>
          <a:xfrm>
            <a:off x="704850" y="3381994"/>
            <a:ext cx="11007724" cy="847870"/>
            <a:chOff x="704850" y="3294651"/>
            <a:chExt cx="11007724" cy="648814"/>
          </a:xfrm>
        </p:grpSpPr>
        <p:sp>
          <p:nvSpPr>
            <p:cNvPr id="50" name="Title 3">
              <a:extLst>
                <a:ext uri="{FF2B5EF4-FFF2-40B4-BE49-F238E27FC236}">
                  <a16:creationId xmlns:a16="http://schemas.microsoft.com/office/drawing/2014/main" xmlns="" id="{E1895EC9-A0A6-46AF-BB6D-B665715BF65A}"/>
                </a:ext>
              </a:extLst>
            </p:cNvPr>
            <p:cNvSpPr txBox="1">
              <a:spLocks/>
            </p:cNvSpPr>
            <p:nvPr/>
          </p:nvSpPr>
          <p:spPr bwMode="black">
            <a:xfrm>
              <a:off x="1020355" y="3294651"/>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b="1">
                  <a:solidFill>
                    <a:schemeClr val="tx1"/>
                  </a:solidFill>
                </a:rPr>
                <a:t>Profit recognition </a:t>
              </a:r>
            </a:p>
            <a:p>
              <a:r>
                <a:rPr lang="en-US" sz="1200">
                  <a:solidFill>
                    <a:schemeClr val="tx1"/>
                  </a:solidFill>
                </a:rPr>
                <a:t>The profit recognition is driven by the insurance services provided, which are often defined as the amount of coverage. Hence, for an insurance policy with a constant sum insured for its duration, the profits are expected to emerge evenly</a:t>
              </a:r>
            </a:p>
          </p:txBody>
        </p:sp>
        <p:sp>
          <p:nvSpPr>
            <p:cNvPr id="51" name="Oval 38">
              <a:extLst>
                <a:ext uri="{FF2B5EF4-FFF2-40B4-BE49-F238E27FC236}">
                  <a16:creationId xmlns:a16="http://schemas.microsoft.com/office/drawing/2014/main" xmlns="" id="{3D406003-5086-4027-8D96-7ADE82884126}"/>
                </a:ext>
              </a:extLst>
            </p:cNvPr>
            <p:cNvSpPr/>
            <p:nvPr/>
          </p:nvSpPr>
          <p:spPr>
            <a:xfrm>
              <a:off x="704850" y="3295393"/>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SwissReSans" pitchFamily="34" charset="0"/>
              </a:endParaRPr>
            </a:p>
          </p:txBody>
        </p:sp>
        <p:sp>
          <p:nvSpPr>
            <p:cNvPr id="52" name="Title 3">
              <a:extLst>
                <a:ext uri="{FF2B5EF4-FFF2-40B4-BE49-F238E27FC236}">
                  <a16:creationId xmlns:a16="http://schemas.microsoft.com/office/drawing/2014/main" xmlns="" id="{70240E02-06D4-4E0F-8F87-0BDDC8A20294}"/>
                </a:ext>
              </a:extLst>
            </p:cNvPr>
            <p:cNvSpPr txBox="1">
              <a:spLocks/>
            </p:cNvSpPr>
            <p:nvPr/>
          </p:nvSpPr>
          <p:spPr bwMode="black">
            <a:xfrm>
              <a:off x="854815" y="3488515"/>
              <a:ext cx="530006" cy="4524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b="1">
                  <a:solidFill>
                    <a:schemeClr val="bg1"/>
                  </a:solidFill>
                </a:rPr>
                <a:t>03</a:t>
              </a:r>
            </a:p>
          </p:txBody>
        </p:sp>
      </p:grpSp>
      <p:grpSp>
        <p:nvGrpSpPr>
          <p:cNvPr id="53" name="Group 52">
            <a:extLst>
              <a:ext uri="{FF2B5EF4-FFF2-40B4-BE49-F238E27FC236}">
                <a16:creationId xmlns:a16="http://schemas.microsoft.com/office/drawing/2014/main" xmlns="" id="{789C8BB3-E4A2-4083-A1B1-2A5B8EF67AE1}"/>
              </a:ext>
            </a:extLst>
          </p:cNvPr>
          <p:cNvGrpSpPr/>
          <p:nvPr/>
        </p:nvGrpSpPr>
        <p:grpSpPr>
          <a:xfrm>
            <a:off x="704850" y="4256877"/>
            <a:ext cx="11007724" cy="859592"/>
            <a:chOff x="704850" y="4131230"/>
            <a:chExt cx="11007724" cy="657784"/>
          </a:xfrm>
        </p:grpSpPr>
        <p:sp>
          <p:nvSpPr>
            <p:cNvPr id="54" name="Title 3">
              <a:extLst>
                <a:ext uri="{FF2B5EF4-FFF2-40B4-BE49-F238E27FC236}">
                  <a16:creationId xmlns:a16="http://schemas.microsoft.com/office/drawing/2014/main" xmlns="" id="{6F056B71-D402-4E41-B0F8-BB9B70245873}"/>
                </a:ext>
              </a:extLst>
            </p:cNvPr>
            <p:cNvSpPr txBox="1">
              <a:spLocks/>
            </p:cNvSpPr>
            <p:nvPr/>
          </p:nvSpPr>
          <p:spPr bwMode="black">
            <a:xfrm>
              <a:off x="1020355" y="4131230"/>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b="1">
                  <a:solidFill>
                    <a:schemeClr val="tx1"/>
                  </a:solidFill>
                </a:rPr>
                <a:t>Insurance Revenue (“Top line”) </a:t>
              </a:r>
            </a:p>
            <a:p>
              <a:r>
                <a:rPr lang="en-US" sz="1200">
                  <a:solidFill>
                    <a:schemeClr val="tx1"/>
                  </a:solidFill>
                </a:rPr>
                <a:t>Instead of being the </a:t>
              </a:r>
              <a:r>
                <a:rPr lang="en-US" sz="1200" i="1">
                  <a:solidFill>
                    <a:schemeClr val="tx1"/>
                  </a:solidFill>
                </a:rPr>
                <a:t>inflows</a:t>
              </a:r>
              <a:r>
                <a:rPr lang="en-US" sz="1200">
                  <a:solidFill>
                    <a:schemeClr val="tx1"/>
                  </a:solidFill>
                </a:rPr>
                <a:t> (premiums), the IR is made of the expected </a:t>
              </a:r>
              <a:r>
                <a:rPr lang="en-US" sz="1200" i="1">
                  <a:solidFill>
                    <a:schemeClr val="tx1"/>
                  </a:solidFill>
                </a:rPr>
                <a:t>outflows</a:t>
              </a:r>
              <a:r>
                <a:rPr lang="en-US" sz="1200">
                  <a:solidFill>
                    <a:schemeClr val="tx1"/>
                  </a:solidFill>
                </a:rPr>
                <a:t>, which are the insurance services expenses, together with the release of RA and CSM. This means a greater reliance on actuarial figures in determining the top line. </a:t>
              </a:r>
              <a:r>
                <a:rPr lang="en-US" sz="1200" i="1">
                  <a:solidFill>
                    <a:schemeClr val="tx1"/>
                  </a:solidFill>
                </a:rPr>
                <a:t>Non-distinct investment components </a:t>
              </a:r>
              <a:r>
                <a:rPr lang="en-US" sz="1200">
                  <a:solidFill>
                    <a:schemeClr val="tx1"/>
                  </a:solidFill>
                </a:rPr>
                <a:t>(NDIC) are excluded from the Insurance Revenue. It will have a major impact on treaties with profit commissions.</a:t>
              </a:r>
            </a:p>
          </p:txBody>
        </p:sp>
        <p:sp>
          <p:nvSpPr>
            <p:cNvPr id="55" name="Oval 45">
              <a:extLst>
                <a:ext uri="{FF2B5EF4-FFF2-40B4-BE49-F238E27FC236}">
                  <a16:creationId xmlns:a16="http://schemas.microsoft.com/office/drawing/2014/main" xmlns="" id="{07223320-F707-42BC-BFAF-E9AD73E66305}"/>
                </a:ext>
              </a:extLst>
            </p:cNvPr>
            <p:cNvSpPr/>
            <p:nvPr/>
          </p:nvSpPr>
          <p:spPr>
            <a:xfrm>
              <a:off x="704850" y="4131649"/>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SwissReSans" pitchFamily="34" charset="0"/>
              </a:endParaRPr>
            </a:p>
          </p:txBody>
        </p:sp>
        <p:sp>
          <p:nvSpPr>
            <p:cNvPr id="56" name="Title 3">
              <a:extLst>
                <a:ext uri="{FF2B5EF4-FFF2-40B4-BE49-F238E27FC236}">
                  <a16:creationId xmlns:a16="http://schemas.microsoft.com/office/drawing/2014/main" xmlns="" id="{02623D4D-3053-4062-9DA5-69208CE40319}"/>
                </a:ext>
              </a:extLst>
            </p:cNvPr>
            <p:cNvSpPr txBox="1">
              <a:spLocks/>
            </p:cNvSpPr>
            <p:nvPr/>
          </p:nvSpPr>
          <p:spPr bwMode="black">
            <a:xfrm>
              <a:off x="854815" y="4336528"/>
              <a:ext cx="530006" cy="4524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b="1">
                  <a:solidFill>
                    <a:schemeClr val="bg1"/>
                  </a:solidFill>
                </a:rPr>
                <a:t>04</a:t>
              </a:r>
            </a:p>
          </p:txBody>
        </p:sp>
      </p:grpSp>
      <p:grpSp>
        <p:nvGrpSpPr>
          <p:cNvPr id="57" name="Group 56">
            <a:extLst>
              <a:ext uri="{FF2B5EF4-FFF2-40B4-BE49-F238E27FC236}">
                <a16:creationId xmlns:a16="http://schemas.microsoft.com/office/drawing/2014/main" xmlns="" id="{7A4BCFE4-FCE3-48BD-82E3-17C797981E85}"/>
              </a:ext>
            </a:extLst>
          </p:cNvPr>
          <p:cNvGrpSpPr/>
          <p:nvPr/>
        </p:nvGrpSpPr>
        <p:grpSpPr>
          <a:xfrm>
            <a:off x="704850" y="5143482"/>
            <a:ext cx="11007724" cy="846900"/>
            <a:chOff x="704850" y="4973363"/>
            <a:chExt cx="11007724" cy="648072"/>
          </a:xfrm>
        </p:grpSpPr>
        <p:sp>
          <p:nvSpPr>
            <p:cNvPr id="58" name="Title 3">
              <a:extLst>
                <a:ext uri="{FF2B5EF4-FFF2-40B4-BE49-F238E27FC236}">
                  <a16:creationId xmlns:a16="http://schemas.microsoft.com/office/drawing/2014/main" xmlns="" id="{98D5E623-583C-460D-8A53-FE7C594FE9DB}"/>
                </a:ext>
              </a:extLst>
            </p:cNvPr>
            <p:cNvSpPr txBox="1">
              <a:spLocks/>
            </p:cNvSpPr>
            <p:nvPr/>
          </p:nvSpPr>
          <p:spPr bwMode="black">
            <a:xfrm>
              <a:off x="1020355" y="4978621"/>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b="1">
                  <a:solidFill>
                    <a:schemeClr val="tx1"/>
                  </a:solidFill>
                </a:rPr>
                <a:t>Reinsured Business </a:t>
              </a:r>
            </a:p>
            <a:p>
              <a:r>
                <a:rPr lang="en-US" sz="1200">
                  <a:solidFill>
                    <a:schemeClr val="tx1"/>
                  </a:solidFill>
                </a:rPr>
                <a:t>The accounting for reinsured business is done separately from the underlying business, which is a source of potential profit mismatch.</a:t>
              </a:r>
            </a:p>
            <a:p>
              <a:r>
                <a:rPr lang="en-US" sz="1200">
                  <a:solidFill>
                    <a:schemeClr val="tx1"/>
                  </a:solidFill>
                </a:rPr>
                <a:t>Reinsurance is quite transparent, being shown separately in the financial statements</a:t>
              </a:r>
            </a:p>
          </p:txBody>
        </p:sp>
        <p:sp>
          <p:nvSpPr>
            <p:cNvPr id="59" name="Oval 53">
              <a:extLst>
                <a:ext uri="{FF2B5EF4-FFF2-40B4-BE49-F238E27FC236}">
                  <a16:creationId xmlns:a16="http://schemas.microsoft.com/office/drawing/2014/main" xmlns="" id="{0428F3A3-BDFE-4594-BB61-A66328AD2785}"/>
                </a:ext>
              </a:extLst>
            </p:cNvPr>
            <p:cNvSpPr/>
            <p:nvPr/>
          </p:nvSpPr>
          <p:spPr>
            <a:xfrm>
              <a:off x="704850" y="4973363"/>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SwissReSans" pitchFamily="34" charset="0"/>
              </a:endParaRPr>
            </a:p>
          </p:txBody>
        </p:sp>
        <p:sp>
          <p:nvSpPr>
            <p:cNvPr id="60" name="Title 3">
              <a:extLst>
                <a:ext uri="{FF2B5EF4-FFF2-40B4-BE49-F238E27FC236}">
                  <a16:creationId xmlns:a16="http://schemas.microsoft.com/office/drawing/2014/main" xmlns="" id="{A286E7EA-14A9-4038-9ECB-2D3B0B56A2CC}"/>
                </a:ext>
              </a:extLst>
            </p:cNvPr>
            <p:cNvSpPr txBox="1">
              <a:spLocks/>
            </p:cNvSpPr>
            <p:nvPr/>
          </p:nvSpPr>
          <p:spPr bwMode="black">
            <a:xfrm>
              <a:off x="854815" y="5155235"/>
              <a:ext cx="530006" cy="45248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b="1">
                  <a:solidFill>
                    <a:schemeClr val="bg1"/>
                  </a:solidFill>
                </a:rPr>
                <a:t>05</a:t>
              </a:r>
            </a:p>
          </p:txBody>
        </p:sp>
      </p:grpSp>
      <p:sp>
        <p:nvSpPr>
          <p:cNvPr id="26" name="Slide Number Placeholder 7">
            <a:extLst>
              <a:ext uri="{FF2B5EF4-FFF2-40B4-BE49-F238E27FC236}">
                <a16:creationId xmlns:a16="http://schemas.microsoft.com/office/drawing/2014/main" xmlns="" id="{E9C4B6D4-893F-4A5E-B60F-C835DB592676}"/>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29" name="Picture 28">
            <a:extLst>
              <a:ext uri="{FF2B5EF4-FFF2-40B4-BE49-F238E27FC236}">
                <a16:creationId xmlns:a16="http://schemas.microsoft.com/office/drawing/2014/main" xmlns="" id="{53A6F5C7-903B-4EC9-BD84-842A0F387EC5}"/>
              </a:ext>
            </a:extLst>
          </p:cNvPr>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28" name="Picture 27">
            <a:extLst>
              <a:ext uri="{FF2B5EF4-FFF2-40B4-BE49-F238E27FC236}">
                <a16:creationId xmlns:a16="http://schemas.microsoft.com/office/drawing/2014/main" xmlns="" id="{5D9B90BF-A5D3-46F9-ACDF-6C5DAFEDDAE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324082" y="202926"/>
            <a:ext cx="755375" cy="760943"/>
          </a:xfrm>
          <a:prstGeom prst="rect">
            <a:avLst/>
          </a:prstGeom>
        </p:spPr>
      </p:pic>
    </p:spTree>
    <p:extLst>
      <p:ext uri="{BB962C8B-B14F-4D97-AF65-F5344CB8AC3E}">
        <p14:creationId xmlns:p14="http://schemas.microsoft.com/office/powerpoint/2010/main" val="30513490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extLst>
              <p:ext uri="{D42A27DB-BD31-4B8C-83A1-F6EECF244321}">
                <p14:modId xmlns:p14="http://schemas.microsoft.com/office/powerpoint/2010/main" val="1514515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91"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4000">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en-GB" sz="4000" dirty="0">
                <a:latin typeface="+mn-lt"/>
              </a:rPr>
              <a:t>Impact on financial accounting and KPIs</a:t>
            </a:r>
            <a:br>
              <a:rPr lang="en-GB" sz="4000" dirty="0">
                <a:latin typeface="+mn-lt"/>
              </a:rPr>
            </a:br>
            <a:endParaRPr lang="en-GB" sz="4000" dirty="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a:t>03</a:t>
            </a:r>
          </a:p>
        </p:txBody>
      </p:sp>
      <p:pic>
        <p:nvPicPr>
          <p:cNvPr id="7" name="Picture 6">
            <a:extLst>
              <a:ext uri="{FF2B5EF4-FFF2-40B4-BE49-F238E27FC236}">
                <a16:creationId xmlns:a16="http://schemas.microsoft.com/office/drawing/2014/main" xmlns="" id="{F1F74B21-A0D0-4588-B806-80CBB47537D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90851" y="5913203"/>
            <a:ext cx="755375" cy="760943"/>
          </a:xfrm>
          <a:prstGeom prst="rect">
            <a:avLst/>
          </a:prstGeom>
        </p:spPr>
      </p:pic>
    </p:spTree>
    <p:extLst>
      <p:ext uri="{BB962C8B-B14F-4D97-AF65-F5344CB8AC3E}">
        <p14:creationId xmlns:p14="http://schemas.microsoft.com/office/powerpoint/2010/main" val="35057912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073004600"/>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5883"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a:solidFill>
            <a:srgbClr val="FFFFFF"/>
          </a:solidFill>
          <a:ln w="6350">
            <a:solidFill>
              <a:srgbClr val="A1B1AD"/>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1500">
              <a:solidFill>
                <a:prstClr val="white"/>
              </a:solidFill>
              <a:latin typeface="SwissReSans Light" panose="020B0504020202020204" pitchFamily="34" charset="0"/>
              <a:ea typeface="+mj-ea"/>
              <a:cs typeface="+mj-cs"/>
              <a:sym typeface="SwissReSans Light" panose="020B0504020202020204" pitchFamily="34" charset="0"/>
            </a:endParaRPr>
          </a:p>
        </p:txBody>
      </p:sp>
      <p:sp>
        <p:nvSpPr>
          <p:cNvPr id="3" name="Title 2">
            <a:extLst>
              <a:ext uri="{FF2B5EF4-FFF2-40B4-BE49-F238E27FC236}">
                <a16:creationId xmlns:a16="http://schemas.microsoft.com/office/drawing/2014/main" xmlns="" id="{C377FCD0-A1EB-4843-BF62-563065B21243}"/>
              </a:ext>
            </a:extLst>
          </p:cNvPr>
          <p:cNvSpPr>
            <a:spLocks noGrp="1"/>
          </p:cNvSpPr>
          <p:nvPr>
            <p:ph type="title"/>
          </p:nvPr>
        </p:nvSpPr>
        <p:spPr>
          <a:xfrm>
            <a:off x="684213" y="692151"/>
            <a:ext cx="9516001" cy="692647"/>
          </a:xfrm>
        </p:spPr>
        <p:txBody>
          <a:bodyPr/>
          <a:lstStyle/>
          <a:p>
            <a:r>
              <a:rPr lang="en-GB"/>
              <a:t>Financial accounting impact overview</a:t>
            </a:r>
            <a:br>
              <a:rPr lang="en-GB"/>
            </a:br>
            <a:r>
              <a:rPr lang="en-GB" sz="1500">
                <a:latin typeface="SwissReSans Light" panose="020B0504020202020204" pitchFamily="34" charset="0"/>
              </a:rPr>
              <a:t>IFRS will impact various business aspects</a:t>
            </a:r>
            <a:endParaRPr lang="en-GB" sz="1500"/>
          </a:p>
        </p:txBody>
      </p:sp>
      <p:grpSp>
        <p:nvGrpSpPr>
          <p:cNvPr id="9" name="Group 8">
            <a:extLst>
              <a:ext uri="{FF2B5EF4-FFF2-40B4-BE49-F238E27FC236}">
                <a16:creationId xmlns:a16="http://schemas.microsoft.com/office/drawing/2014/main" xmlns="" id="{DDBE6331-BB1C-4D47-93AB-68E2365FEDBD}"/>
              </a:ext>
            </a:extLst>
          </p:cNvPr>
          <p:cNvGrpSpPr/>
          <p:nvPr/>
        </p:nvGrpSpPr>
        <p:grpSpPr>
          <a:xfrm>
            <a:off x="684212" y="1628775"/>
            <a:ext cx="11050589" cy="4274012"/>
            <a:chOff x="2208214" y="1391817"/>
            <a:chExt cx="8010400" cy="4274012"/>
          </a:xfrm>
        </p:grpSpPr>
        <p:sp>
          <p:nvSpPr>
            <p:cNvPr id="57" name="Rectangle 56"/>
            <p:cNvSpPr/>
            <p:nvPr/>
          </p:nvSpPr>
          <p:spPr>
            <a:xfrm>
              <a:off x="3208192" y="1391817"/>
              <a:ext cx="896638" cy="688429"/>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p:txBody>
        </p:sp>
        <p:sp>
          <p:nvSpPr>
            <p:cNvPr id="36" name="Rectangle 35"/>
            <p:cNvSpPr/>
            <p:nvPr/>
          </p:nvSpPr>
          <p:spPr>
            <a:xfrm>
              <a:off x="2208214" y="1391817"/>
              <a:ext cx="1153296" cy="688429"/>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Transparency</a:t>
              </a:r>
            </a:p>
          </p:txBody>
        </p:sp>
        <p:sp>
          <p:nvSpPr>
            <p:cNvPr id="37" name="Rectangle 36"/>
            <p:cNvSpPr/>
            <p:nvPr/>
          </p:nvSpPr>
          <p:spPr>
            <a:xfrm>
              <a:off x="4104831" y="1391817"/>
              <a:ext cx="6113783" cy="688429"/>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t"/>
            <a:lstStyle/>
            <a:p>
              <a:pPr marL="182563" indent="-182563">
                <a:spcAft>
                  <a:spcPts val="300"/>
                </a:spcAft>
                <a:buFont typeface="Arial" panose="020B0604020202020204" pitchFamily="34" charset="0"/>
                <a:buChar char="•"/>
              </a:pPr>
              <a:r>
                <a:rPr lang="en-GB" sz="1200">
                  <a:solidFill>
                    <a:srgbClr val="000000"/>
                  </a:solidFill>
                  <a:latin typeface="SwissReSans Light"/>
                </a:rPr>
                <a:t>Increases through disclosure requirements and there is more visibility into margins</a:t>
              </a:r>
            </a:p>
            <a:p>
              <a:pPr marL="182563" indent="-182563">
                <a:spcAft>
                  <a:spcPts val="300"/>
                </a:spcAft>
                <a:buFont typeface="Arial" panose="020B0604020202020204" pitchFamily="34" charset="0"/>
                <a:buChar char="•"/>
              </a:pPr>
              <a:r>
                <a:rPr lang="en-GB" sz="1200">
                  <a:solidFill>
                    <a:srgbClr val="000000"/>
                  </a:solidFill>
                  <a:latin typeface="SwissReSans Light"/>
                </a:rPr>
                <a:t>The financial risk in the insurance business is reflected quickly in the results as the market conditions change and ALM mismatch becomes more transparent in investment results</a:t>
              </a:r>
            </a:p>
          </p:txBody>
        </p:sp>
        <p:pic>
          <p:nvPicPr>
            <p:cNvPr id="6" name="Picture 5">
              <a:extLst>
                <a:ext uri="{FF2B5EF4-FFF2-40B4-BE49-F238E27FC236}">
                  <a16:creationId xmlns:a16="http://schemas.microsoft.com/office/drawing/2014/main" xmlns="" id="{FF4AE4E5-CA81-4A9F-9F6A-FE9B89DA82EF}"/>
                </a:ext>
              </a:extLst>
            </p:cNvPr>
            <p:cNvPicPr>
              <a:picLocks noChangeAspect="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10032" y="1520030"/>
              <a:ext cx="432000" cy="432000"/>
            </a:xfrm>
            <a:prstGeom prst="rect">
              <a:avLst/>
            </a:prstGeom>
          </p:spPr>
        </p:pic>
        <p:sp>
          <p:nvSpPr>
            <p:cNvPr id="58" name="Rectangle 57"/>
            <p:cNvSpPr/>
            <p:nvPr/>
          </p:nvSpPr>
          <p:spPr>
            <a:xfrm>
              <a:off x="3208192" y="2114315"/>
              <a:ext cx="896638" cy="81516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38" name="Rectangle 37"/>
            <p:cNvSpPr/>
            <p:nvPr/>
          </p:nvSpPr>
          <p:spPr>
            <a:xfrm>
              <a:off x="2208214" y="2114315"/>
              <a:ext cx="1153296" cy="81516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Volatility</a:t>
              </a:r>
            </a:p>
          </p:txBody>
        </p:sp>
        <p:sp>
          <p:nvSpPr>
            <p:cNvPr id="39" name="Rectangle 38"/>
            <p:cNvSpPr/>
            <p:nvPr/>
          </p:nvSpPr>
          <p:spPr>
            <a:xfrm>
              <a:off x="4104831" y="2115633"/>
              <a:ext cx="6113783" cy="813842"/>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Earnings volatility expected to increase for the whole industry</a:t>
              </a:r>
              <a:r>
                <a:rPr lang="en-GB" sz="1200" baseline="30000">
                  <a:solidFill>
                    <a:srgbClr val="000000"/>
                  </a:solidFill>
                  <a:latin typeface="SwissReSans Light"/>
                </a:rPr>
                <a:t>1)</a:t>
              </a:r>
              <a:r>
                <a:rPr lang="en-GB" sz="1200">
                  <a:solidFill>
                    <a:srgbClr val="000000"/>
                  </a:solidFill>
                  <a:latin typeface="SwissReSans Light"/>
                </a:rPr>
                <a:t>.</a:t>
              </a:r>
              <a:r>
                <a:rPr lang="en-GB" sz="1200" baseline="30000">
                  <a:solidFill>
                    <a:srgbClr val="000000"/>
                  </a:solidFill>
                  <a:latin typeface="SwissReSans Light"/>
                </a:rPr>
                <a:t> </a:t>
              </a:r>
              <a:r>
                <a:rPr lang="en-GB" sz="1200">
                  <a:solidFill>
                    <a:srgbClr val="000000"/>
                  </a:solidFill>
                  <a:latin typeface="SwissReSans Light"/>
                </a:rPr>
                <a:t>However,  CSM</a:t>
              </a:r>
              <a:r>
                <a:rPr lang="en-GB" sz="1200" baseline="30000">
                  <a:solidFill>
                    <a:srgbClr val="000000"/>
                  </a:solidFill>
                  <a:latin typeface="SwissReSans Light"/>
                </a:rPr>
                <a:t> </a:t>
              </a:r>
              <a:r>
                <a:rPr lang="en-GB" sz="1200">
                  <a:solidFill>
                    <a:srgbClr val="000000"/>
                  </a:solidFill>
                  <a:latin typeface="SwissReSans Light"/>
                </a:rPr>
                <a:t>serve as a volatility buffer. The longer the coverage period, the stronger the CSM effect</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Volatility in P&amp;L reflects underlying economic volatility of the business since IFRS 17 offers options to address most accounting mismatches</a:t>
              </a:r>
            </a:p>
          </p:txBody>
        </p:sp>
        <p:pic>
          <p:nvPicPr>
            <p:cNvPr id="7" name="Picture 6">
              <a:extLst>
                <a:ext uri="{FF2B5EF4-FFF2-40B4-BE49-F238E27FC236}">
                  <a16:creationId xmlns:a16="http://schemas.microsoft.com/office/drawing/2014/main" xmlns="" id="{04B507D0-372C-4776-B3E9-26AAF406378C}"/>
                </a:ext>
              </a:extLst>
            </p:cNvPr>
            <p:cNvPicPr>
              <a:picLocks noChangeAspect="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10032" y="2305895"/>
              <a:ext cx="432000" cy="432000"/>
            </a:xfrm>
            <a:prstGeom prst="rect">
              <a:avLst/>
            </a:prstGeom>
          </p:spPr>
        </p:pic>
        <p:sp>
          <p:nvSpPr>
            <p:cNvPr id="60" name="Rectangle 59"/>
            <p:cNvSpPr/>
            <p:nvPr/>
          </p:nvSpPr>
          <p:spPr>
            <a:xfrm>
              <a:off x="3208192" y="4592436"/>
              <a:ext cx="896638" cy="53480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43" name="Rectangle 42"/>
            <p:cNvSpPr/>
            <p:nvPr/>
          </p:nvSpPr>
          <p:spPr>
            <a:xfrm>
              <a:off x="2208214" y="4592436"/>
              <a:ext cx="1153296" cy="53480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KPIs</a:t>
              </a:r>
            </a:p>
          </p:txBody>
        </p:sp>
        <p:sp>
          <p:nvSpPr>
            <p:cNvPr id="44" name="Rectangle 43"/>
            <p:cNvSpPr/>
            <p:nvPr/>
          </p:nvSpPr>
          <p:spPr>
            <a:xfrm>
              <a:off x="4104831" y="4592436"/>
              <a:ext cx="6113783" cy="534800"/>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Some KPIs (e.g. ROE) are impacted by IFRS others such as SST remain unchanged</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Under IFRS a new set of KPIs will have to be developed</a:t>
              </a:r>
            </a:p>
          </p:txBody>
        </p:sp>
        <p:pic>
          <p:nvPicPr>
            <p:cNvPr id="12" name="Picture 11">
              <a:extLst>
                <a:ext uri="{FF2B5EF4-FFF2-40B4-BE49-F238E27FC236}">
                  <a16:creationId xmlns:a16="http://schemas.microsoft.com/office/drawing/2014/main" xmlns="" id="{F9348DD7-8F8E-4458-A561-9AB0A0D0BE27}"/>
                </a:ext>
              </a:extLst>
            </p:cNvPr>
            <p:cNvPicPr>
              <a:picLocks noChangeAspect="1"/>
            </p:cNvPicPr>
            <p:nvPr/>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10032" y="4643836"/>
              <a:ext cx="432000" cy="432000"/>
            </a:xfrm>
            <a:prstGeom prst="rect">
              <a:avLst/>
            </a:prstGeom>
          </p:spPr>
        </p:pic>
        <p:sp>
          <p:nvSpPr>
            <p:cNvPr id="29" name="Rectangle 60"/>
            <p:cNvSpPr/>
            <p:nvPr/>
          </p:nvSpPr>
          <p:spPr>
            <a:xfrm>
              <a:off x="3208192" y="2963546"/>
              <a:ext cx="896638" cy="1074751"/>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27" name="Rectangle 44"/>
            <p:cNvSpPr/>
            <p:nvPr/>
          </p:nvSpPr>
          <p:spPr>
            <a:xfrm>
              <a:off x="2208214" y="2963546"/>
              <a:ext cx="1153296" cy="1074751"/>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Equity</a:t>
              </a:r>
            </a:p>
          </p:txBody>
        </p:sp>
        <p:sp>
          <p:nvSpPr>
            <p:cNvPr id="28" name="Rectangle 45"/>
            <p:cNvSpPr/>
            <p:nvPr/>
          </p:nvSpPr>
          <p:spPr>
            <a:xfrm>
              <a:off x="4104831" y="2963546"/>
              <a:ext cx="6113783" cy="1074751"/>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Equity is influenced by various internal (e.g. cost of capital, level of aggregation, risk tolerance) and external factors (e.g. discount rate)</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Discounting on P&amp;C and L&amp;H reserves have an opposite effect, which reduces the overall impact on equity. </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CSM range at transition will provide flexibility for equity at IFRS introduction</a:t>
              </a:r>
            </a:p>
          </p:txBody>
        </p:sp>
        <p:pic>
          <p:nvPicPr>
            <p:cNvPr id="26" name="Picture 14">
              <a:extLst>
                <a:ext uri="{FF2B5EF4-FFF2-40B4-BE49-F238E27FC236}">
                  <a16:creationId xmlns:a16="http://schemas.microsoft.com/office/drawing/2014/main" xmlns="" id="{79490358-9234-4272-95F5-2DA01ACB2760}"/>
                </a:ext>
              </a:extLst>
            </p:cNvPr>
            <p:cNvPicPr>
              <a:picLocks noChangeAspect="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10032" y="3284920"/>
              <a:ext cx="432000" cy="432000"/>
            </a:xfrm>
            <a:prstGeom prst="rect">
              <a:avLst/>
            </a:prstGeom>
          </p:spPr>
        </p:pic>
        <p:grpSp>
          <p:nvGrpSpPr>
            <p:cNvPr id="15" name="Group 14">
              <a:extLst>
                <a:ext uri="{FF2B5EF4-FFF2-40B4-BE49-F238E27FC236}">
                  <a16:creationId xmlns:a16="http://schemas.microsoft.com/office/drawing/2014/main" xmlns="" id="{F69661C7-9882-4A0F-8F08-D8DF349CCDE4}"/>
                </a:ext>
              </a:extLst>
            </p:cNvPr>
            <p:cNvGrpSpPr/>
            <p:nvPr/>
          </p:nvGrpSpPr>
          <p:grpSpPr>
            <a:xfrm>
              <a:off x="2208215" y="1391817"/>
              <a:ext cx="8010399" cy="688429"/>
              <a:chOff x="684214" y="1648196"/>
              <a:chExt cx="8010399" cy="688429"/>
            </a:xfrm>
          </p:grpSpPr>
          <p:sp>
            <p:nvSpPr>
              <p:cNvPr id="16" name="Rectangle 56"/>
              <p:cNvSpPr/>
              <p:nvPr/>
            </p:nvSpPr>
            <p:spPr>
              <a:xfrm>
                <a:off x="1684192" y="1648196"/>
                <a:ext cx="896638" cy="688429"/>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p:txBody>
          </p:sp>
          <p:sp>
            <p:nvSpPr>
              <p:cNvPr id="17" name="Rectangle 35"/>
              <p:cNvSpPr/>
              <p:nvPr/>
            </p:nvSpPr>
            <p:spPr>
              <a:xfrm>
                <a:off x="684214" y="1648196"/>
                <a:ext cx="1153296" cy="688429"/>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Transparency</a:t>
                </a:r>
              </a:p>
            </p:txBody>
          </p:sp>
          <p:sp>
            <p:nvSpPr>
              <p:cNvPr id="18" name="Rectangle 36"/>
              <p:cNvSpPr/>
              <p:nvPr/>
            </p:nvSpPr>
            <p:spPr>
              <a:xfrm>
                <a:off x="2580830" y="1648196"/>
                <a:ext cx="6113783" cy="688429"/>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2563" indent="-182563">
                  <a:spcAft>
                    <a:spcPts val="300"/>
                  </a:spcAft>
                  <a:buFont typeface="Arial" panose="020B0604020202020204" pitchFamily="34" charset="0"/>
                  <a:buChar char="•"/>
                </a:pPr>
                <a:r>
                  <a:rPr lang="en-GB" sz="1200">
                    <a:solidFill>
                      <a:srgbClr val="000000"/>
                    </a:solidFill>
                    <a:latin typeface="SwissReSans Light"/>
                  </a:rPr>
                  <a:t>Transparency increases through additional disclosure requirements </a:t>
                </a:r>
              </a:p>
              <a:p>
                <a:pPr marL="182563" indent="-182563">
                  <a:spcAft>
                    <a:spcPts val="300"/>
                  </a:spcAft>
                  <a:buFont typeface="Arial" panose="020B0604020202020204" pitchFamily="34" charset="0"/>
                  <a:buChar char="•"/>
                </a:pPr>
                <a:r>
                  <a:rPr lang="en-GB" sz="1200">
                    <a:solidFill>
                      <a:srgbClr val="000000"/>
                    </a:solidFill>
                    <a:latin typeface="SwissReSans Light"/>
                  </a:rPr>
                  <a:t>The financial risk in the insurance business is reflected in the results as market conditions change and ALM mismatch becomes more transparent in investment results</a:t>
                </a:r>
              </a:p>
            </p:txBody>
          </p:sp>
          <p:pic>
            <p:nvPicPr>
              <p:cNvPr id="19" name="Picture 5">
                <a:extLst>
                  <a:ext uri="{FF2B5EF4-FFF2-40B4-BE49-F238E27FC236}">
                    <a16:creationId xmlns:a16="http://schemas.microsoft.com/office/drawing/2014/main" xmlns="" id="{FF4AE4E5-CA81-4A9F-9F6A-FE9B89DA82EF}"/>
                  </a:ext>
                </a:extLst>
              </p:cNvPr>
              <p:cNvPicPr>
                <a:picLocks noChangeAspect="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86032" y="1776410"/>
                <a:ext cx="432000" cy="432000"/>
              </a:xfrm>
              <a:prstGeom prst="rect">
                <a:avLst/>
              </a:prstGeom>
            </p:spPr>
          </p:pic>
        </p:grpSp>
        <p:grpSp>
          <p:nvGrpSpPr>
            <p:cNvPr id="14" name="Group 13">
              <a:extLst>
                <a:ext uri="{FF2B5EF4-FFF2-40B4-BE49-F238E27FC236}">
                  <a16:creationId xmlns:a16="http://schemas.microsoft.com/office/drawing/2014/main" xmlns="" id="{B163EBB0-4D65-4F49-B7A8-6CA986D608A5}"/>
                </a:ext>
              </a:extLst>
            </p:cNvPr>
            <p:cNvGrpSpPr/>
            <p:nvPr/>
          </p:nvGrpSpPr>
          <p:grpSpPr>
            <a:xfrm>
              <a:off x="2208215" y="2114315"/>
              <a:ext cx="8010399" cy="815160"/>
              <a:chOff x="684214" y="2380718"/>
              <a:chExt cx="8010399" cy="815160"/>
            </a:xfrm>
          </p:grpSpPr>
          <p:sp>
            <p:nvSpPr>
              <p:cNvPr id="20" name="Rectangle 57"/>
              <p:cNvSpPr/>
              <p:nvPr/>
            </p:nvSpPr>
            <p:spPr>
              <a:xfrm>
                <a:off x="1684192" y="2380718"/>
                <a:ext cx="896638" cy="81516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21" name="Rectangle 37"/>
              <p:cNvSpPr/>
              <p:nvPr/>
            </p:nvSpPr>
            <p:spPr>
              <a:xfrm>
                <a:off x="684214" y="2380718"/>
                <a:ext cx="1153296" cy="81516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Volatility</a:t>
                </a:r>
              </a:p>
            </p:txBody>
          </p:sp>
          <p:sp>
            <p:nvSpPr>
              <p:cNvPr id="22" name="Rectangle 38"/>
              <p:cNvSpPr/>
              <p:nvPr/>
            </p:nvSpPr>
            <p:spPr>
              <a:xfrm>
                <a:off x="2580830" y="2382036"/>
                <a:ext cx="6113783" cy="813842"/>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Earnings volatility expected to increase for the whole industry.</a:t>
                </a:r>
                <a:r>
                  <a:rPr lang="en-GB" sz="1200" baseline="30000">
                    <a:solidFill>
                      <a:srgbClr val="000000"/>
                    </a:solidFill>
                    <a:latin typeface="SwissReSans Light"/>
                  </a:rPr>
                  <a:t> </a:t>
                </a:r>
                <a:r>
                  <a:rPr lang="en-GB" sz="1200">
                    <a:solidFill>
                      <a:srgbClr val="000000"/>
                    </a:solidFill>
                    <a:latin typeface="SwissReSans Light"/>
                  </a:rPr>
                  <a:t>However, CSM</a:t>
                </a:r>
                <a:r>
                  <a:rPr lang="en-GB" sz="1200" baseline="30000">
                    <a:solidFill>
                      <a:srgbClr val="000000"/>
                    </a:solidFill>
                    <a:latin typeface="SwissReSans Light"/>
                  </a:rPr>
                  <a:t> </a:t>
                </a:r>
                <a:r>
                  <a:rPr lang="en-GB" sz="1200">
                    <a:solidFill>
                      <a:srgbClr val="000000"/>
                    </a:solidFill>
                    <a:latin typeface="SwissReSans Light"/>
                  </a:rPr>
                  <a:t>serves as a volatility buffer. The longer the coverage period, the stronger the CSM buffer effect</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Volatility in P&amp;L reflects underlying economic volatility of the business since IFRS 17 offers options to address most accounting mismatches</a:t>
                </a:r>
              </a:p>
            </p:txBody>
          </p:sp>
          <p:pic>
            <p:nvPicPr>
              <p:cNvPr id="23" name="Picture 6">
                <a:extLst>
                  <a:ext uri="{FF2B5EF4-FFF2-40B4-BE49-F238E27FC236}">
                    <a16:creationId xmlns:a16="http://schemas.microsoft.com/office/drawing/2014/main" xmlns="" id="{04B507D0-372C-4776-B3E9-26AAF406378C}"/>
                  </a:ext>
                </a:extLst>
              </p:cNvPr>
              <p:cNvPicPr>
                <a:picLocks noChangeAspect="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86032" y="2572298"/>
                <a:ext cx="432000" cy="432000"/>
              </a:xfrm>
              <a:prstGeom prst="rect">
                <a:avLst/>
              </a:prstGeom>
            </p:spPr>
          </p:pic>
        </p:grpSp>
        <p:grpSp>
          <p:nvGrpSpPr>
            <p:cNvPr id="8" name="Group 7">
              <a:extLst>
                <a:ext uri="{FF2B5EF4-FFF2-40B4-BE49-F238E27FC236}">
                  <a16:creationId xmlns:a16="http://schemas.microsoft.com/office/drawing/2014/main" xmlns="" id="{6E4EEBA7-FBD9-4578-8C50-9FBC3DFB06E4}"/>
                </a:ext>
              </a:extLst>
            </p:cNvPr>
            <p:cNvGrpSpPr/>
            <p:nvPr/>
          </p:nvGrpSpPr>
          <p:grpSpPr>
            <a:xfrm>
              <a:off x="2208215" y="4592436"/>
              <a:ext cx="8010399" cy="534800"/>
              <a:chOff x="684214" y="1027935"/>
              <a:chExt cx="8010399" cy="534800"/>
            </a:xfrm>
          </p:grpSpPr>
          <p:sp>
            <p:nvSpPr>
              <p:cNvPr id="24" name="Rectangle 59"/>
              <p:cNvSpPr/>
              <p:nvPr/>
            </p:nvSpPr>
            <p:spPr>
              <a:xfrm>
                <a:off x="1684192" y="1027935"/>
                <a:ext cx="896638" cy="53480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25" name="Rectangle 42"/>
              <p:cNvSpPr/>
              <p:nvPr/>
            </p:nvSpPr>
            <p:spPr>
              <a:xfrm>
                <a:off x="684214" y="1027935"/>
                <a:ext cx="1153296" cy="53480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KPIs</a:t>
                </a:r>
              </a:p>
            </p:txBody>
          </p:sp>
          <p:sp>
            <p:nvSpPr>
              <p:cNvPr id="30" name="Rectangle 43"/>
              <p:cNvSpPr/>
              <p:nvPr/>
            </p:nvSpPr>
            <p:spPr>
              <a:xfrm>
                <a:off x="2580830" y="1027935"/>
                <a:ext cx="6113783" cy="534800"/>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Some metrics (e.g. RoE) are impacted by IFRS, others such as SST remain unchanged</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Under IFRS, a new set of KPIs may have to be developed</a:t>
                </a:r>
              </a:p>
            </p:txBody>
          </p:sp>
          <p:pic>
            <p:nvPicPr>
              <p:cNvPr id="35" name="Picture 11">
                <a:extLst>
                  <a:ext uri="{FF2B5EF4-FFF2-40B4-BE49-F238E27FC236}">
                    <a16:creationId xmlns:a16="http://schemas.microsoft.com/office/drawing/2014/main" xmlns="" id="{F9348DD7-8F8E-4458-A561-9AB0A0D0BE27}"/>
                  </a:ext>
                </a:extLst>
              </p:cNvPr>
              <p:cNvPicPr>
                <a:picLocks noChangeAspect="1"/>
              </p:cNvPicPr>
              <p:nvPr/>
            </p:nvPicPr>
            <p:blipFill>
              <a:blip r:embed="rId11"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86032" y="1079335"/>
                <a:ext cx="432000" cy="432000"/>
              </a:xfrm>
              <a:prstGeom prst="rect">
                <a:avLst/>
              </a:prstGeom>
            </p:spPr>
          </p:pic>
        </p:grpSp>
        <p:grpSp>
          <p:nvGrpSpPr>
            <p:cNvPr id="13" name="Group 12">
              <a:extLst>
                <a:ext uri="{FF2B5EF4-FFF2-40B4-BE49-F238E27FC236}">
                  <a16:creationId xmlns:a16="http://schemas.microsoft.com/office/drawing/2014/main" xmlns="" id="{FF55BF14-2089-44ED-92A3-E993F50202C7}"/>
                </a:ext>
              </a:extLst>
            </p:cNvPr>
            <p:cNvGrpSpPr/>
            <p:nvPr/>
          </p:nvGrpSpPr>
          <p:grpSpPr>
            <a:xfrm>
              <a:off x="2208215" y="2963546"/>
              <a:ext cx="8010399" cy="1074751"/>
              <a:chOff x="684214" y="3236124"/>
              <a:chExt cx="8010399" cy="1074751"/>
            </a:xfrm>
          </p:grpSpPr>
          <p:sp>
            <p:nvSpPr>
              <p:cNvPr id="40" name="Rectangle 60"/>
              <p:cNvSpPr/>
              <p:nvPr/>
            </p:nvSpPr>
            <p:spPr>
              <a:xfrm>
                <a:off x="1684192" y="3236124"/>
                <a:ext cx="896638" cy="1074751"/>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45" name="Rectangle 44"/>
              <p:cNvSpPr/>
              <p:nvPr/>
            </p:nvSpPr>
            <p:spPr>
              <a:xfrm>
                <a:off x="684214" y="3236124"/>
                <a:ext cx="1153296" cy="1074751"/>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Equity</a:t>
                </a:r>
              </a:p>
            </p:txBody>
          </p:sp>
          <p:sp>
            <p:nvSpPr>
              <p:cNvPr id="47" name="Rectangle 45"/>
              <p:cNvSpPr/>
              <p:nvPr/>
            </p:nvSpPr>
            <p:spPr>
              <a:xfrm>
                <a:off x="2580830" y="3236124"/>
                <a:ext cx="6113783" cy="1074751"/>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Equity is influenced by various internal (e.g. cost of capital, level of aggregation, risk tolerance) and external factors (e.g. discount rate)</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Discounting of P&amp;C and L&amp;H reserves has compensating effects on transition, which reduces the net transition impact on shareholders’ equity </a:t>
                </a: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Different transition approaches will create materially different transitional CSM balances, judgment will be required</a:t>
                </a:r>
                <a:endParaRPr lang="en-GB" sz="1200" baseline="30000">
                  <a:solidFill>
                    <a:srgbClr val="000000"/>
                  </a:solidFill>
                  <a:latin typeface="SwissReSans Light"/>
                </a:endParaRPr>
              </a:p>
            </p:txBody>
          </p:sp>
          <p:pic>
            <p:nvPicPr>
              <p:cNvPr id="48" name="Picture 14">
                <a:extLst>
                  <a:ext uri="{FF2B5EF4-FFF2-40B4-BE49-F238E27FC236}">
                    <a16:creationId xmlns:a16="http://schemas.microsoft.com/office/drawing/2014/main" xmlns="" id="{79490358-9234-4272-95F5-2DA01ACB2760}"/>
                  </a:ext>
                </a:extLst>
              </p:cNvPr>
              <p:cNvPicPr>
                <a:picLocks noChangeAspect="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86032" y="3557499"/>
                <a:ext cx="432000" cy="432000"/>
              </a:xfrm>
              <a:prstGeom prst="rect">
                <a:avLst/>
              </a:prstGeom>
            </p:spPr>
          </p:pic>
        </p:grpSp>
        <p:sp>
          <p:nvSpPr>
            <p:cNvPr id="31" name="Rectangle 30">
              <a:extLst>
                <a:ext uri="{FF2B5EF4-FFF2-40B4-BE49-F238E27FC236}">
                  <a16:creationId xmlns:a16="http://schemas.microsoft.com/office/drawing/2014/main" xmlns="" id="{893E2A9F-6AD8-4D64-8B0F-7B02E3476FC9}"/>
                </a:ext>
              </a:extLst>
            </p:cNvPr>
            <p:cNvSpPr/>
            <p:nvPr/>
          </p:nvSpPr>
          <p:spPr>
            <a:xfrm>
              <a:off x="3208192" y="4072366"/>
              <a:ext cx="896638" cy="48600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32" name="Rectangle 31">
              <a:extLst>
                <a:ext uri="{FF2B5EF4-FFF2-40B4-BE49-F238E27FC236}">
                  <a16:creationId xmlns:a16="http://schemas.microsoft.com/office/drawing/2014/main" xmlns="" id="{67F20D00-54D4-4EA7-9893-2CDE11CC1FAF}"/>
                </a:ext>
              </a:extLst>
            </p:cNvPr>
            <p:cNvSpPr/>
            <p:nvPr/>
          </p:nvSpPr>
          <p:spPr>
            <a:xfrm>
              <a:off x="2208214" y="4072366"/>
              <a:ext cx="1153296" cy="48600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Non-insurance topics</a:t>
              </a:r>
            </a:p>
          </p:txBody>
        </p:sp>
        <p:sp>
          <p:nvSpPr>
            <p:cNvPr id="33" name="Rectangle 32">
              <a:extLst>
                <a:ext uri="{FF2B5EF4-FFF2-40B4-BE49-F238E27FC236}">
                  <a16:creationId xmlns:a16="http://schemas.microsoft.com/office/drawing/2014/main" xmlns="" id="{C710E2D1-D261-4E08-8B3B-BC13C2BBB932}"/>
                </a:ext>
              </a:extLst>
            </p:cNvPr>
            <p:cNvSpPr/>
            <p:nvPr/>
          </p:nvSpPr>
          <p:spPr>
            <a:xfrm>
              <a:off x="4104831" y="4072366"/>
              <a:ext cx="6113783" cy="486000"/>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Financial instrument classification and measurement under IFRS 9 expected to yield results similar to US GAAP</a:t>
              </a:r>
            </a:p>
          </p:txBody>
        </p:sp>
        <p:pic>
          <p:nvPicPr>
            <p:cNvPr id="34" name="Picture 33">
              <a:extLst>
                <a:ext uri="{FF2B5EF4-FFF2-40B4-BE49-F238E27FC236}">
                  <a16:creationId xmlns:a16="http://schemas.microsoft.com/office/drawing/2014/main" xmlns="" id="{A12710CF-DB21-4A37-9CDB-15BA41266564}"/>
                </a:ext>
              </a:extLst>
            </p:cNvPr>
            <p:cNvPicPr>
              <a:picLocks noChangeAspect="1"/>
            </p:cNvPicPr>
            <p:nvPr/>
          </p:nvPicPr>
          <p:blipFill>
            <a:blip r:embed="rId1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510032" y="4099366"/>
              <a:ext cx="432000" cy="432000"/>
            </a:xfrm>
            <a:prstGeom prst="rect">
              <a:avLst/>
            </a:prstGeom>
          </p:spPr>
        </p:pic>
        <p:grpSp>
          <p:nvGrpSpPr>
            <p:cNvPr id="10" name="Group 9">
              <a:extLst>
                <a:ext uri="{FF2B5EF4-FFF2-40B4-BE49-F238E27FC236}">
                  <a16:creationId xmlns:a16="http://schemas.microsoft.com/office/drawing/2014/main" xmlns="" id="{BC488118-FABD-4A5B-B608-E552F2959BAD}"/>
                </a:ext>
              </a:extLst>
            </p:cNvPr>
            <p:cNvGrpSpPr/>
            <p:nvPr/>
          </p:nvGrpSpPr>
          <p:grpSpPr>
            <a:xfrm>
              <a:off x="2208215" y="5161307"/>
              <a:ext cx="8010399" cy="504522"/>
              <a:chOff x="684214" y="5186324"/>
              <a:chExt cx="8010399" cy="759888"/>
            </a:xfrm>
          </p:grpSpPr>
          <p:sp>
            <p:nvSpPr>
              <p:cNvPr id="49" name="Rectangle 58"/>
              <p:cNvSpPr/>
              <p:nvPr/>
            </p:nvSpPr>
            <p:spPr>
              <a:xfrm>
                <a:off x="1684192" y="5186324"/>
                <a:ext cx="896638" cy="759888"/>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50" name="Rectangle 40"/>
              <p:cNvSpPr/>
              <p:nvPr/>
            </p:nvSpPr>
            <p:spPr>
              <a:xfrm>
                <a:off x="684214" y="5186324"/>
                <a:ext cx="1153296" cy="759888"/>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Profit emergence</a:t>
                </a:r>
              </a:p>
            </p:txBody>
          </p:sp>
          <p:sp>
            <p:nvSpPr>
              <p:cNvPr id="51" name="Rectangle 41"/>
              <p:cNvSpPr/>
              <p:nvPr/>
            </p:nvSpPr>
            <p:spPr>
              <a:xfrm>
                <a:off x="2580830" y="5186324"/>
                <a:ext cx="6113783" cy="759888"/>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Profit emergence under IFRS 17 will, in general, be more expedited than US GAAP</a:t>
                </a:r>
                <a:endParaRPr lang="en-GB" sz="1200" baseline="30000">
                  <a:solidFill>
                    <a:srgbClr val="000000"/>
                  </a:solidFill>
                  <a:latin typeface="SwissReSans Light"/>
                </a:endParaRPr>
              </a:p>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Profit runoff patterns will more closely resemble the runoff of the risk</a:t>
                </a:r>
              </a:p>
            </p:txBody>
          </p:sp>
        </p:grpSp>
        <p:grpSp>
          <p:nvGrpSpPr>
            <p:cNvPr id="11" name="Group 10">
              <a:extLst>
                <a:ext uri="{FF2B5EF4-FFF2-40B4-BE49-F238E27FC236}">
                  <a16:creationId xmlns:a16="http://schemas.microsoft.com/office/drawing/2014/main" xmlns="" id="{EDF3F24E-E0EB-48F0-9666-87BE359AF88E}"/>
                </a:ext>
              </a:extLst>
            </p:cNvPr>
            <p:cNvGrpSpPr/>
            <p:nvPr/>
          </p:nvGrpSpPr>
          <p:grpSpPr>
            <a:xfrm>
              <a:off x="2208215" y="4072366"/>
              <a:ext cx="8010399" cy="486000"/>
              <a:chOff x="684214" y="77935"/>
              <a:chExt cx="8010399" cy="486000"/>
            </a:xfrm>
          </p:grpSpPr>
          <p:sp>
            <p:nvSpPr>
              <p:cNvPr id="53" name="Rectangle 30">
                <a:extLst>
                  <a:ext uri="{FF2B5EF4-FFF2-40B4-BE49-F238E27FC236}">
                    <a16:creationId xmlns:a16="http://schemas.microsoft.com/office/drawing/2014/main" xmlns="" id="{893E2A9F-6AD8-4D64-8B0F-7B02E3476FC9}"/>
                  </a:ext>
                </a:extLst>
              </p:cNvPr>
              <p:cNvSpPr/>
              <p:nvPr/>
            </p:nvSpPr>
            <p:spPr>
              <a:xfrm>
                <a:off x="1684192" y="77935"/>
                <a:ext cx="896638" cy="486000"/>
              </a:xfrm>
              <a:prstGeom prst="rect">
                <a:avLst/>
              </a:prstGeom>
              <a:solidFill>
                <a:srgbClr val="9FB8E4"/>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endParaRPr lang="en-GB" sz="1200" b="1">
                  <a:solidFill>
                    <a:srgbClr val="FFFFFF"/>
                  </a:solidFill>
                  <a:latin typeface="SwissReSans Light"/>
                </a:endParaRPr>
              </a:p>
              <a:p>
                <a:pPr algn="ctr"/>
                <a:endParaRPr lang="en-GB" sz="1200" b="1">
                  <a:solidFill>
                    <a:srgbClr val="FFFFFF"/>
                  </a:solidFill>
                  <a:latin typeface="SwissReSans Light"/>
                </a:endParaRPr>
              </a:p>
              <a:p>
                <a:pPr algn="ctr"/>
                <a:endParaRPr lang="en-GB" sz="1200" b="1">
                  <a:solidFill>
                    <a:srgbClr val="FFFFFF"/>
                  </a:solidFill>
                  <a:latin typeface="SwissReSans Light"/>
                </a:endParaRPr>
              </a:p>
            </p:txBody>
          </p:sp>
          <p:sp>
            <p:nvSpPr>
              <p:cNvPr id="54" name="Rectangle 31">
                <a:extLst>
                  <a:ext uri="{FF2B5EF4-FFF2-40B4-BE49-F238E27FC236}">
                    <a16:creationId xmlns:a16="http://schemas.microsoft.com/office/drawing/2014/main" xmlns="" id="{67F20D00-54D4-4EA7-9893-2CDE11CC1FAF}"/>
                  </a:ext>
                </a:extLst>
              </p:cNvPr>
              <p:cNvSpPr/>
              <p:nvPr/>
            </p:nvSpPr>
            <p:spPr>
              <a:xfrm>
                <a:off x="684214" y="77935"/>
                <a:ext cx="1153296" cy="486000"/>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1200" b="1">
                    <a:solidFill>
                      <a:srgbClr val="FFFFFF"/>
                    </a:solidFill>
                    <a:latin typeface="SwissReSans Light"/>
                  </a:rPr>
                  <a:t>Non-insurance topics</a:t>
                </a:r>
              </a:p>
            </p:txBody>
          </p:sp>
          <p:sp>
            <p:nvSpPr>
              <p:cNvPr id="55" name="Rectangle 32">
                <a:extLst>
                  <a:ext uri="{FF2B5EF4-FFF2-40B4-BE49-F238E27FC236}">
                    <a16:creationId xmlns:a16="http://schemas.microsoft.com/office/drawing/2014/main" xmlns="" id="{C710E2D1-D261-4E08-8B3B-BC13C2BBB932}"/>
                  </a:ext>
                </a:extLst>
              </p:cNvPr>
              <p:cNvSpPr/>
              <p:nvPr/>
            </p:nvSpPr>
            <p:spPr>
              <a:xfrm>
                <a:off x="2580830" y="77935"/>
                <a:ext cx="6113783" cy="486000"/>
              </a:xfrm>
              <a:prstGeom prst="rect">
                <a:avLst/>
              </a:prstGeom>
              <a:solidFill>
                <a:srgbClr val="E7EDF8"/>
              </a:solidFill>
              <a:ln w="9525" cap="flat" cmpd="sng" algn="ctr">
                <a:noFill/>
                <a:prstDash val="solid"/>
              </a:ln>
              <a:effectLst/>
              <a:extLst>
                <a:ext uri="{91240B29-F687-4F45-9708-019B960494DF}">
                  <a14:hiddenLine xmlns:a14="http://schemas.microsoft.com/office/drawing/2010/main" w="9525" cap="flat" cmpd="sng" algn="ctr">
                    <a:solidFill>
                      <a:srgbClr val="FFA02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2563" indent="-182563">
                  <a:spcAft>
                    <a:spcPts val="300"/>
                  </a:spcAft>
                  <a:buFont typeface="Arial" panose="020B0604020202020204" pitchFamily="34" charset="0"/>
                  <a:buChar char="•"/>
                  <a:tabLst>
                    <a:tab pos="182563" algn="l"/>
                  </a:tabLst>
                </a:pPr>
                <a:r>
                  <a:rPr lang="en-GB" sz="1200">
                    <a:solidFill>
                      <a:srgbClr val="000000"/>
                    </a:solidFill>
                    <a:latin typeface="SwissReSans Light"/>
                  </a:rPr>
                  <a:t>Financial instrument classification and measurement under IFRS 9 expected to yield results similar to US GAAP</a:t>
                </a:r>
              </a:p>
            </p:txBody>
          </p:sp>
          <p:pic>
            <p:nvPicPr>
              <p:cNvPr id="56" name="Picture 33">
                <a:extLst>
                  <a:ext uri="{FF2B5EF4-FFF2-40B4-BE49-F238E27FC236}">
                    <a16:creationId xmlns:a16="http://schemas.microsoft.com/office/drawing/2014/main" xmlns="" id="{A12710CF-DB21-4A37-9CDB-15BA41266564}"/>
                  </a:ext>
                </a:extLst>
              </p:cNvPr>
              <p:cNvPicPr>
                <a:picLocks noChangeAspect="1"/>
              </p:cNvPicPr>
              <p:nvPr/>
            </p:nvPicPr>
            <p:blipFill>
              <a:blip r:embed="rId1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986032" y="104935"/>
                <a:ext cx="432000" cy="432000"/>
              </a:xfrm>
              <a:prstGeom prst="rect">
                <a:avLst/>
              </a:prstGeom>
            </p:spPr>
          </p:pic>
        </p:grpSp>
        <p:pic>
          <p:nvPicPr>
            <p:cNvPr id="64" name="Graphic 63" descr="Upward trend">
              <a:extLst>
                <a:ext uri="{FF2B5EF4-FFF2-40B4-BE49-F238E27FC236}">
                  <a16:creationId xmlns:a16="http://schemas.microsoft.com/office/drawing/2014/main" xmlns="" id="{B977BD06-7A47-4799-B1F7-B83B7D2C3D6A}"/>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3510032" y="5229200"/>
              <a:ext cx="432000" cy="432000"/>
            </a:xfrm>
            <a:prstGeom prst="rect">
              <a:avLst/>
            </a:prstGeom>
          </p:spPr>
        </p:pic>
      </p:grpSp>
      <p:sp>
        <p:nvSpPr>
          <p:cNvPr id="59" name="Slide Number Placeholder 7">
            <a:extLst>
              <a:ext uri="{FF2B5EF4-FFF2-40B4-BE49-F238E27FC236}">
                <a16:creationId xmlns:a16="http://schemas.microsoft.com/office/drawing/2014/main" xmlns="" id="{55C6003E-3498-417B-A96C-21A146DBC061}"/>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61" name="Picture 60">
            <a:extLst>
              <a:ext uri="{FF2B5EF4-FFF2-40B4-BE49-F238E27FC236}">
                <a16:creationId xmlns:a16="http://schemas.microsoft.com/office/drawing/2014/main" xmlns="" id="{B6E1C572-4B04-4476-AC98-92E6E907B0EF}"/>
              </a:ext>
            </a:extLst>
          </p:cNvPr>
          <p:cNvPicPr>
            <a:picLocks noChangeAspect="1"/>
          </p:cNvPicPr>
          <p:nvPr>
            <p:custDataLst>
              <p:tags r:id="rId4"/>
            </p:custDataLst>
          </p:nvPr>
        </p:nvPicPr>
        <p:blipFill>
          <a:blip r:embed="rId16"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63" name="Picture 62">
            <a:extLst>
              <a:ext uri="{FF2B5EF4-FFF2-40B4-BE49-F238E27FC236}">
                <a16:creationId xmlns:a16="http://schemas.microsoft.com/office/drawing/2014/main" xmlns="" id="{EBAFB053-F7C1-4A3C-AACB-DE5D01343ED6}"/>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27421696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C507664D-DC68-4634-83D3-990A2E54EB3E}"/>
              </a:ext>
            </a:extLst>
          </p:cNvPr>
          <p:cNvGraphicFramePr>
            <a:graphicFrameLocks noChangeAspect="1"/>
          </p:cNvGraphicFramePr>
          <p:nvPr>
            <p:custDataLst>
              <p:tags r:id="rId2"/>
            </p:custDataLst>
            <p:extLst>
              <p:ext uri="{D42A27DB-BD31-4B8C-83A1-F6EECF244321}">
                <p14:modId xmlns:p14="http://schemas.microsoft.com/office/powerpoint/2010/main" val="3249056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31" name="think-cell Slide" r:id="rId7" imgW="592" imgH="591" progId="TCLayout.ActiveDocument.1">
                  <p:embed/>
                </p:oleObj>
              </mc:Choice>
              <mc:Fallback>
                <p:oleObj name="think-cell Slide" r:id="rId7" imgW="592" imgH="591" progId="TCLayout.ActiveDocument.1">
                  <p:embed/>
                  <p:pic>
                    <p:nvPicPr>
                      <p:cNvPr id="5" name="Object 4" hidden="1">
                        <a:extLst>
                          <a:ext uri="{FF2B5EF4-FFF2-40B4-BE49-F238E27FC236}">
                            <a16:creationId xmlns:a16="http://schemas.microsoft.com/office/drawing/2014/main" xmlns="" id="{C507664D-DC68-4634-83D3-990A2E54EB3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649BF4B0-D530-4A01-9E29-0C970897B75C}"/>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GB" sz="24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grpSp>
        <p:nvGrpSpPr>
          <p:cNvPr id="7" name="Group 6">
            <a:extLst>
              <a:ext uri="{FF2B5EF4-FFF2-40B4-BE49-F238E27FC236}">
                <a16:creationId xmlns:a16="http://schemas.microsoft.com/office/drawing/2014/main" xmlns="" id="{60CE6BE1-3C55-4430-833A-8C221CF772EF}"/>
              </a:ext>
            </a:extLst>
          </p:cNvPr>
          <p:cNvGrpSpPr/>
          <p:nvPr/>
        </p:nvGrpSpPr>
        <p:grpSpPr>
          <a:xfrm>
            <a:off x="3071697" y="6442370"/>
            <a:ext cx="4824503" cy="254265"/>
            <a:chOff x="3071697" y="6442366"/>
            <a:chExt cx="6408686" cy="316023"/>
          </a:xfrm>
        </p:grpSpPr>
        <p:grpSp>
          <p:nvGrpSpPr>
            <p:cNvPr id="16" name="Group 15">
              <a:extLst>
                <a:ext uri="{FF2B5EF4-FFF2-40B4-BE49-F238E27FC236}">
                  <a16:creationId xmlns:a16="http://schemas.microsoft.com/office/drawing/2014/main" xmlns="" id="{C217827F-F378-4CD6-B28B-32811A1E264F}"/>
                </a:ext>
              </a:extLst>
            </p:cNvPr>
            <p:cNvGrpSpPr>
              <a:grpSpLocks noChangeAspect="1"/>
            </p:cNvGrpSpPr>
            <p:nvPr/>
          </p:nvGrpSpPr>
          <p:grpSpPr>
            <a:xfrm>
              <a:off x="7014216" y="6451722"/>
              <a:ext cx="288000" cy="288000"/>
              <a:chOff x="262275" y="1271045"/>
              <a:chExt cx="187325" cy="187325"/>
            </a:xfrm>
          </p:grpSpPr>
          <p:sp>
            <p:nvSpPr>
              <p:cNvPr id="12" name="Oval 11">
                <a:extLst>
                  <a:ext uri="{FF2B5EF4-FFF2-40B4-BE49-F238E27FC236}">
                    <a16:creationId xmlns:a16="http://schemas.microsoft.com/office/drawing/2014/main" xmlns="" id="{D1CF2C0B-CB75-4735-9C57-02BFC64F805B}"/>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13" name="Arc 12">
                <a:extLst>
                  <a:ext uri="{FF2B5EF4-FFF2-40B4-BE49-F238E27FC236}">
                    <a16:creationId xmlns:a16="http://schemas.microsoft.com/office/drawing/2014/main" xmlns="" id="{B1A6FB45-6DA7-451F-9A69-096519984590}"/>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27" name="Oval 26">
              <a:extLst>
                <a:ext uri="{FF2B5EF4-FFF2-40B4-BE49-F238E27FC236}">
                  <a16:creationId xmlns:a16="http://schemas.microsoft.com/office/drawing/2014/main" xmlns="" id="{AD735CA5-1580-4CE6-9BE6-DC0B9777EE90}"/>
                </a:ext>
              </a:extLst>
            </p:cNvPr>
            <p:cNvSpPr>
              <a:spLocks noChangeAspect="1"/>
            </p:cNvSpPr>
            <p:nvPr/>
          </p:nvSpPr>
          <p:spPr bwMode="auto">
            <a:xfrm>
              <a:off x="8328388" y="6451722"/>
              <a:ext cx="288000" cy="288000"/>
            </a:xfrm>
            <a:prstGeom prst="ellipse">
              <a:avLst/>
            </a:prstGeom>
            <a:solidFill>
              <a:schemeClr val="tx2"/>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xmlns="" id="{8437B2E1-9C10-4A23-9140-2F96F48AE055}"/>
                </a:ext>
              </a:extLst>
            </p:cNvPr>
            <p:cNvSpPr>
              <a:spLocks noChangeAspect="1"/>
            </p:cNvSpPr>
            <p:nvPr/>
          </p:nvSpPr>
          <p:spPr bwMode="auto">
            <a:xfrm>
              <a:off x="3071697" y="6447868"/>
              <a:ext cx="288000" cy="288000"/>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xmlns="" id="{07CE8DBB-D5AE-4936-83A9-142A5FAFE214}"/>
                </a:ext>
              </a:extLst>
            </p:cNvPr>
            <p:cNvSpPr/>
            <p:nvPr/>
          </p:nvSpPr>
          <p:spPr>
            <a:xfrm>
              <a:off x="3359696" y="6453368"/>
              <a:ext cx="864001" cy="305021"/>
            </a:xfrm>
            <a:prstGeom prst="rect">
              <a:avLst/>
            </a:prstGeom>
          </p:spPr>
          <p:txBody>
            <a:bodyPr wrap="square">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rPr>
                <a:t>None</a:t>
              </a:r>
            </a:p>
          </p:txBody>
        </p:sp>
        <p:grpSp>
          <p:nvGrpSpPr>
            <p:cNvPr id="50" name="Group 49">
              <a:extLst>
                <a:ext uri="{FF2B5EF4-FFF2-40B4-BE49-F238E27FC236}">
                  <a16:creationId xmlns:a16="http://schemas.microsoft.com/office/drawing/2014/main" xmlns="" id="{D7D009CF-D806-4FB8-A768-E23E2EE5FA33}"/>
                </a:ext>
              </a:extLst>
            </p:cNvPr>
            <p:cNvGrpSpPr>
              <a:grpSpLocks noChangeAspect="1"/>
            </p:cNvGrpSpPr>
            <p:nvPr/>
          </p:nvGrpSpPr>
          <p:grpSpPr>
            <a:xfrm>
              <a:off x="4385870" y="6451722"/>
              <a:ext cx="288000" cy="288000"/>
              <a:chOff x="262276" y="504827"/>
              <a:chExt cx="187325" cy="187325"/>
            </a:xfrm>
          </p:grpSpPr>
          <p:sp>
            <p:nvSpPr>
              <p:cNvPr id="51" name="Oval 50">
                <a:extLst>
                  <a:ext uri="{FF2B5EF4-FFF2-40B4-BE49-F238E27FC236}">
                    <a16:creationId xmlns:a16="http://schemas.microsoft.com/office/drawing/2014/main" xmlns="" id="{A8D3A3BB-6A10-4A22-A7FE-32B6A4141516}"/>
                  </a:ext>
                </a:extLst>
              </p:cNvPr>
              <p:cNvSpPr/>
              <p:nvPr/>
            </p:nvSpPr>
            <p:spPr bwMode="auto">
              <a:xfrm>
                <a:off x="262276" y="504827"/>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52" name="Arc 51">
                <a:extLst>
                  <a:ext uri="{FF2B5EF4-FFF2-40B4-BE49-F238E27FC236}">
                    <a16:creationId xmlns:a16="http://schemas.microsoft.com/office/drawing/2014/main" xmlns="" id="{1B3388B9-B975-4692-B699-8CC73D8722D2}"/>
                  </a:ext>
                </a:extLst>
              </p:cNvPr>
              <p:cNvSpPr/>
              <p:nvPr/>
            </p:nvSpPr>
            <p:spPr bwMode="gray">
              <a:xfrm>
                <a:off x="262276" y="504827"/>
                <a:ext cx="187325" cy="187324"/>
              </a:xfrm>
              <a:prstGeom prst="arc">
                <a:avLst>
                  <a:gd name="adj1" fmla="val 16200000"/>
                  <a:gd name="adj2" fmla="val 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53" name="Rectangle 52">
              <a:extLst>
                <a:ext uri="{FF2B5EF4-FFF2-40B4-BE49-F238E27FC236}">
                  <a16:creationId xmlns:a16="http://schemas.microsoft.com/office/drawing/2014/main" xmlns="" id="{7F26F91B-39C8-4F9F-85A2-AC4A9BB649B9}"/>
                </a:ext>
              </a:extLst>
            </p:cNvPr>
            <p:cNvSpPr/>
            <p:nvPr/>
          </p:nvSpPr>
          <p:spPr>
            <a:xfrm>
              <a:off x="4670171" y="6447868"/>
              <a:ext cx="864001" cy="305021"/>
            </a:xfrm>
            <a:prstGeom prst="rect">
              <a:avLst/>
            </a:prstGeom>
          </p:spPr>
          <p:txBody>
            <a:bodyPr wrap="square">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rPr>
                <a:t>Low</a:t>
              </a:r>
            </a:p>
          </p:txBody>
        </p:sp>
        <p:grpSp>
          <p:nvGrpSpPr>
            <p:cNvPr id="54" name="Group 53">
              <a:extLst>
                <a:ext uri="{FF2B5EF4-FFF2-40B4-BE49-F238E27FC236}">
                  <a16:creationId xmlns:a16="http://schemas.microsoft.com/office/drawing/2014/main" xmlns="" id="{C1CFF049-49C3-44A7-9FF2-D342D19E37EC}"/>
                </a:ext>
              </a:extLst>
            </p:cNvPr>
            <p:cNvGrpSpPr>
              <a:grpSpLocks noChangeAspect="1"/>
            </p:cNvGrpSpPr>
            <p:nvPr/>
          </p:nvGrpSpPr>
          <p:grpSpPr>
            <a:xfrm>
              <a:off x="5700043" y="6442366"/>
              <a:ext cx="288000" cy="288000"/>
              <a:chOff x="262276" y="917464"/>
              <a:chExt cx="187325" cy="187325"/>
            </a:xfrm>
          </p:grpSpPr>
          <p:sp>
            <p:nvSpPr>
              <p:cNvPr id="55" name="Oval 54">
                <a:extLst>
                  <a:ext uri="{FF2B5EF4-FFF2-40B4-BE49-F238E27FC236}">
                    <a16:creationId xmlns:a16="http://schemas.microsoft.com/office/drawing/2014/main" xmlns="" id="{C81CDBCE-9E48-464B-B9AE-69D03DABEEAE}"/>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56" name="Arc 55">
                <a:extLst>
                  <a:ext uri="{FF2B5EF4-FFF2-40B4-BE49-F238E27FC236}">
                    <a16:creationId xmlns:a16="http://schemas.microsoft.com/office/drawing/2014/main" xmlns="" id="{2E2CB92E-EB6B-40A2-8D8D-9A807D9CB519}"/>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57" name="Rectangle 56">
              <a:extLst>
                <a:ext uri="{FF2B5EF4-FFF2-40B4-BE49-F238E27FC236}">
                  <a16:creationId xmlns:a16="http://schemas.microsoft.com/office/drawing/2014/main" xmlns="" id="{A5F7200A-FA80-4DDF-B842-FBCE065B7A67}"/>
                </a:ext>
              </a:extLst>
            </p:cNvPr>
            <p:cNvSpPr/>
            <p:nvPr/>
          </p:nvSpPr>
          <p:spPr>
            <a:xfrm>
              <a:off x="5988041" y="6451721"/>
              <a:ext cx="864001" cy="305021"/>
            </a:xfrm>
            <a:prstGeom prst="rect">
              <a:avLst/>
            </a:prstGeom>
          </p:spPr>
          <p:txBody>
            <a:bodyPr wrap="square">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rPr>
                <a:t>Medium</a:t>
              </a:r>
            </a:p>
          </p:txBody>
        </p:sp>
        <p:sp>
          <p:nvSpPr>
            <p:cNvPr id="58" name="Rectangle 57">
              <a:extLst>
                <a:ext uri="{FF2B5EF4-FFF2-40B4-BE49-F238E27FC236}">
                  <a16:creationId xmlns:a16="http://schemas.microsoft.com/office/drawing/2014/main" xmlns="" id="{C296C6A0-3EAA-43BC-BD24-4477D3BC3669}"/>
                </a:ext>
              </a:extLst>
            </p:cNvPr>
            <p:cNvSpPr/>
            <p:nvPr/>
          </p:nvSpPr>
          <p:spPr>
            <a:xfrm>
              <a:off x="7302212" y="6451720"/>
              <a:ext cx="864001" cy="305021"/>
            </a:xfrm>
            <a:prstGeom prst="rect">
              <a:avLst/>
            </a:prstGeom>
          </p:spPr>
          <p:txBody>
            <a:bodyPr wrap="square">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rPr>
                <a:t>High</a:t>
              </a:r>
            </a:p>
          </p:txBody>
        </p:sp>
        <p:sp>
          <p:nvSpPr>
            <p:cNvPr id="59" name="Rectangle 58">
              <a:extLst>
                <a:ext uri="{FF2B5EF4-FFF2-40B4-BE49-F238E27FC236}">
                  <a16:creationId xmlns:a16="http://schemas.microsoft.com/office/drawing/2014/main" xmlns="" id="{39201159-D694-470B-A66A-E5A0CF4E40A0}"/>
                </a:ext>
              </a:extLst>
            </p:cNvPr>
            <p:cNvSpPr/>
            <p:nvPr/>
          </p:nvSpPr>
          <p:spPr>
            <a:xfrm>
              <a:off x="8616382" y="6451720"/>
              <a:ext cx="864001" cy="305021"/>
            </a:xfrm>
            <a:prstGeom prst="rect">
              <a:avLst/>
            </a:prstGeom>
          </p:spPr>
          <p:txBody>
            <a:bodyPr wrap="square">
              <a:spAutoFit/>
            </a:bodyPr>
            <a:lstStyle/>
            <a:p>
              <a:pPr marL="355600" marR="0" lvl="0" indent="-35560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Calibri" panose="020F0502020204030204"/>
                  <a:ea typeface="+mn-ea"/>
                  <a:cs typeface="+mn-cs"/>
                </a:rPr>
                <a:t>Full</a:t>
              </a:r>
            </a:p>
          </p:txBody>
        </p:sp>
      </p:grpSp>
      <p:grpSp>
        <p:nvGrpSpPr>
          <p:cNvPr id="6" name="Group 5">
            <a:extLst>
              <a:ext uri="{FF2B5EF4-FFF2-40B4-BE49-F238E27FC236}">
                <a16:creationId xmlns:a16="http://schemas.microsoft.com/office/drawing/2014/main" xmlns="" id="{64CD7D7E-C492-4F8A-8468-91ACBE9A4F31}"/>
              </a:ext>
            </a:extLst>
          </p:cNvPr>
          <p:cNvGrpSpPr/>
          <p:nvPr/>
        </p:nvGrpSpPr>
        <p:grpSpPr>
          <a:xfrm>
            <a:off x="695326" y="1227925"/>
            <a:ext cx="11017297" cy="5100060"/>
            <a:chOff x="695326" y="1227925"/>
            <a:chExt cx="11017297" cy="5100060"/>
          </a:xfrm>
        </p:grpSpPr>
        <p:graphicFrame>
          <p:nvGraphicFramePr>
            <p:cNvPr id="21" name="Table 10">
              <a:extLst>
                <a:ext uri="{FF2B5EF4-FFF2-40B4-BE49-F238E27FC236}">
                  <a16:creationId xmlns:a16="http://schemas.microsoft.com/office/drawing/2014/main" xmlns="" id="{63A83B2A-D271-471C-9CEF-147C48133A8D}"/>
                </a:ext>
              </a:extLst>
            </p:cNvPr>
            <p:cNvGraphicFramePr>
              <a:graphicFrameLocks/>
            </p:cNvGraphicFramePr>
            <p:nvPr>
              <p:extLst>
                <p:ext uri="{D42A27DB-BD31-4B8C-83A1-F6EECF244321}">
                  <p14:modId xmlns:p14="http://schemas.microsoft.com/office/powerpoint/2010/main" val="981178084"/>
                </p:ext>
              </p:extLst>
            </p:nvPr>
          </p:nvGraphicFramePr>
          <p:xfrm>
            <a:off x="695326" y="1227925"/>
            <a:ext cx="11017297" cy="5100060"/>
          </p:xfrm>
          <a:graphic>
            <a:graphicData uri="http://schemas.openxmlformats.org/drawingml/2006/table">
              <a:tbl>
                <a:tblPr firstRow="1" bandRow="1">
                  <a:tableStyleId>{2D5ABB26-0587-4C30-8999-92F81FD0307C}</a:tableStyleId>
                </a:tblPr>
                <a:tblGrid>
                  <a:gridCol w="3528466">
                    <a:extLst>
                      <a:ext uri="{9D8B030D-6E8A-4147-A177-3AD203B41FA5}">
                        <a16:colId xmlns:a16="http://schemas.microsoft.com/office/drawing/2014/main" xmlns="" val="2224452792"/>
                      </a:ext>
                    </a:extLst>
                  </a:gridCol>
                  <a:gridCol w="2304256">
                    <a:extLst>
                      <a:ext uri="{9D8B030D-6E8A-4147-A177-3AD203B41FA5}">
                        <a16:colId xmlns:a16="http://schemas.microsoft.com/office/drawing/2014/main" xmlns="" val="2705754917"/>
                      </a:ext>
                    </a:extLst>
                  </a:gridCol>
                  <a:gridCol w="2688298">
                    <a:extLst>
                      <a:ext uri="{9D8B030D-6E8A-4147-A177-3AD203B41FA5}">
                        <a16:colId xmlns:a16="http://schemas.microsoft.com/office/drawing/2014/main" xmlns="" val="1803725281"/>
                      </a:ext>
                    </a:extLst>
                  </a:gridCol>
                  <a:gridCol w="2496277">
                    <a:extLst>
                      <a:ext uri="{9D8B030D-6E8A-4147-A177-3AD203B41FA5}">
                        <a16:colId xmlns:a16="http://schemas.microsoft.com/office/drawing/2014/main" xmlns="" val="585028241"/>
                      </a:ext>
                    </a:extLst>
                  </a:gridCol>
                </a:tblGrid>
                <a:tr h="392644">
                  <a:tc>
                    <a:txBody>
                      <a:bodyPr/>
                      <a:lstStyle/>
                      <a:p>
                        <a:pPr algn="l"/>
                        <a:r>
                          <a:rPr lang="en-GB" sz="1200" b="1" noProof="0">
                            <a:solidFill>
                              <a:srgbClr val="000000"/>
                            </a:solidFill>
                            <a:latin typeface="+mn-lt"/>
                          </a:rPr>
                          <a:t>KPI</a:t>
                        </a:r>
                      </a:p>
                    </a:txBody>
                    <a:tcPr marL="53783" marR="53783" marT="26892" marB="26892">
                      <a:lnT w="12700" cap="flat" cmpd="sng" algn="ctr">
                        <a:solidFill>
                          <a:schemeClr val="accent3"/>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GB" sz="1200" b="1" noProof="0">
                            <a:solidFill>
                              <a:srgbClr val="000000"/>
                            </a:solidFill>
                            <a:latin typeface="+mn-lt"/>
                          </a:rPr>
                          <a:t>Degree of IFRS change</a:t>
                        </a:r>
                      </a:p>
                    </a:txBody>
                    <a:tcPr marL="72000" marR="72000" marT="26892" marB="26892">
                      <a:lnT w="12700" cap="flat" cmpd="sng" algn="ctr">
                        <a:solidFill>
                          <a:schemeClr val="accent3"/>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algn="ctr"/>
                        <a:r>
                          <a:rPr lang="en-GB" sz="1200" b="1" noProof="0">
                            <a:solidFill>
                              <a:srgbClr val="000000"/>
                            </a:solidFill>
                            <a:latin typeface="+mn-lt"/>
                          </a:rPr>
                          <a:t>Future IFRS state of equation</a:t>
                        </a:r>
                      </a:p>
                    </a:txBody>
                    <a:tcPr marL="72000" marR="72000" marT="26892" marB="26892">
                      <a:lnT w="12700" cap="flat" cmpd="sng" algn="ctr">
                        <a:solidFill>
                          <a:schemeClr val="accent3"/>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noProof="0">
                            <a:solidFill>
                              <a:srgbClr val="000000"/>
                            </a:solidFill>
                            <a:latin typeface="+mn-lt"/>
                          </a:rPr>
                          <a:t>Ability to influence via accounting policy formulation</a:t>
                        </a:r>
                      </a:p>
                    </a:txBody>
                    <a:tcPr marL="72000" marR="72000" marT="26892" marB="26892">
                      <a:lnT w="12700" cap="flat" cmpd="sng" algn="ctr">
                        <a:solidFill>
                          <a:schemeClr val="accent3"/>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702319657"/>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Net income attributable to common shareholders</a:t>
                        </a:r>
                      </a:p>
                    </a:txBody>
                    <a:tcPr marL="53783" marR="53783" marT="26892" marB="26892" anchor="ctr">
                      <a:lnT w="19050" cap="flat" cmpd="sng" algn="ctr">
                        <a:solidFill>
                          <a:schemeClr val="tx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C00000"/>
                          </a:solidFill>
                          <a:latin typeface="+mn-lt"/>
                        </a:endParaRPr>
                      </a:p>
                    </a:txBody>
                    <a:tcPr marL="72000" marR="72000" marT="26892" marB="26892">
                      <a:lnT w="19050" cap="flat" cmpd="sng" algn="ctr">
                        <a:solidFill>
                          <a:schemeClr val="tx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19050" cap="flat" cmpd="sng" algn="ctr">
                        <a:solidFill>
                          <a:schemeClr val="tx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19050" cap="flat" cmpd="sng" algn="ctr">
                        <a:solidFill>
                          <a:schemeClr val="tx2"/>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3266678879"/>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Gross premiums written</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C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C00000"/>
                            </a:solidFill>
                            <a:latin typeface="+mn-lt"/>
                          </a:rPr>
                          <a:t>No IFRS KPI – may change to an “APM”</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722619312"/>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Premiums earned and fee income</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C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C00000"/>
                            </a:solidFill>
                            <a:latin typeface="+mn-lt"/>
                          </a:rPr>
                          <a:t>Does not exist (alternative requir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000000"/>
                          </a:solidFill>
                          <a:effectLst/>
                          <a:uLnTx/>
                          <a:uFillTx/>
                          <a:latin typeface="+mn-lt"/>
                          <a:ea typeface="+mn-ea"/>
                          <a:cs typeface="+mn-cs"/>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381288164"/>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Earnings per share</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FFC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998073416"/>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Shareholders’ equity</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FFC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39012927"/>
                    </a:ext>
                  </a:extLst>
                </a:tr>
                <a:tr h="355081">
                  <a:tc>
                    <a:txBody>
                      <a:bodyPr/>
                      <a:lstStyle/>
                      <a:p>
                        <a:pPr algn="l"/>
                        <a:r>
                          <a:rPr lang="en-GB" sz="1200" noProof="0">
                            <a:solidFill>
                              <a:srgbClr val="000000"/>
                            </a:solidFill>
                            <a:latin typeface="+mn-lt"/>
                          </a:rPr>
                          <a:t>Return on equity in %</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FFC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048970811"/>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Return on investments in %</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FFC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099410250"/>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Net operating margin in %</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FFC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7934"/>
                            </a:solidFill>
                            <a:latin typeface="+mn-lt"/>
                          </a:rPr>
                          <a:t>Need to re-define</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315422549"/>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Combined ratio in %</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C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kern="1200" noProof="0">
                            <a:solidFill>
                              <a:srgbClr val="007934"/>
                            </a:solidFill>
                            <a:latin typeface="+mn-lt"/>
                            <a:ea typeface="+mn-ea"/>
                            <a:cs typeface="+mn-cs"/>
                          </a:rPr>
                          <a:t>Need to re-define</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647307219"/>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Gross cash generation</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00B05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rgbClr val="000000"/>
                            </a:solidFill>
                            <a:latin typeface="+mn-lt"/>
                          </a:rPr>
                          <a:t>Continues as defined</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425769904"/>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Value of new business</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chemeClr val="tx2"/>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chemeClr val="accent3">
                                <a:lumMod val="75000"/>
                              </a:schemeClr>
                            </a:solidFill>
                            <a:latin typeface="+mn-lt"/>
                          </a:rPr>
                          <a:t>New but definitions may diverge more than the past</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chemeClr val="tx2"/>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496170942"/>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Insurance service result</a:t>
                        </a:r>
                      </a:p>
                    </a:txBody>
                    <a:tcPr marL="53783" marR="53783"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chemeClr val="tx2"/>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ctr">
                          <a:buFont typeface="Arial" panose="020B0604020202020204" pitchFamily="34" charset="0"/>
                          <a:buNone/>
                        </a:pPr>
                        <a:r>
                          <a:rPr lang="en-GB" sz="1200" noProof="0">
                            <a:solidFill>
                              <a:schemeClr val="accent3">
                                <a:lumMod val="75000"/>
                              </a:schemeClr>
                            </a:solidFill>
                            <a:latin typeface="+mn-lt"/>
                          </a:rPr>
                          <a:t>New</a:t>
                        </a:r>
                      </a:p>
                    </a:txBody>
                    <a:tcPr marL="72000" marR="72000" marT="26892" marB="26892" anchor="ctr">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a:solidFill>
                            <a:schemeClr val="tx2"/>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43587288"/>
                    </a:ext>
                  </a:extLst>
                </a:tr>
                <a:tr h="3550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mn-lt"/>
                            <a:ea typeface="+mn-ea"/>
                            <a:cs typeface="+mn-cs"/>
                          </a:rPr>
                          <a:t>Renewals</a:t>
                        </a:r>
                      </a:p>
                    </a:txBody>
                    <a:tcPr marL="53783" marR="53783" marT="26892" marB="26892" anchor="ctr">
                      <a:lnT w="9525" cap="flat" cmpd="sng" algn="ctr">
                        <a:solidFill>
                          <a:schemeClr val="bg1">
                            <a:lumMod val="6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a:buFont typeface="Arial" panose="020B0604020202020204" pitchFamily="34" charset="0"/>
                          <a:buNone/>
                        </a:pPr>
                        <a:endParaRPr lang="en-GB" sz="1200" noProof="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noProof="0">
                            <a:solidFill>
                              <a:srgbClr val="007934"/>
                            </a:solidFill>
                            <a:latin typeface="+mn-lt"/>
                          </a:rPr>
                          <a:t>Need to re-define</a:t>
                        </a:r>
                      </a:p>
                    </a:txBody>
                    <a:tcPr marL="72000" marR="72000" marT="26892" marB="26892" anchor="ctr">
                      <a:lnT w="9525" cap="flat" cmpd="sng" algn="ctr">
                        <a:solidFill>
                          <a:schemeClr val="bg1">
                            <a:lumMod val="6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l">
                          <a:buFont typeface="Arial" panose="020B0604020202020204" pitchFamily="34" charset="0"/>
                          <a:buNone/>
                        </a:pPr>
                        <a:endParaRPr lang="en-GB" sz="1200" noProof="0" dirty="0">
                          <a:solidFill>
                            <a:srgbClr val="000000"/>
                          </a:solidFill>
                          <a:latin typeface="+mn-lt"/>
                        </a:endParaRPr>
                      </a:p>
                    </a:txBody>
                    <a:tcPr marL="72000" marR="72000" marT="26892" marB="26892">
                      <a:lnT w="9525" cap="flat" cmpd="sng" algn="ctr">
                        <a:solidFill>
                          <a:schemeClr val="bg1">
                            <a:lumMod val="65000"/>
                          </a:schemeClr>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277290226"/>
                    </a:ext>
                  </a:extLst>
                </a:tr>
              </a:tbl>
            </a:graphicData>
          </a:graphic>
        </p:graphicFrame>
        <p:sp>
          <p:nvSpPr>
            <p:cNvPr id="18" name="Oval 17">
              <a:extLst>
                <a:ext uri="{FF2B5EF4-FFF2-40B4-BE49-F238E27FC236}">
                  <a16:creationId xmlns:a16="http://schemas.microsoft.com/office/drawing/2014/main" xmlns="" id="{9012FA87-F446-44CF-A9BC-602E27E0E6E7}"/>
                </a:ext>
              </a:extLst>
            </p:cNvPr>
            <p:cNvSpPr>
              <a:spLocks noChangeAspect="1"/>
            </p:cNvSpPr>
            <p:nvPr/>
          </p:nvSpPr>
          <p:spPr bwMode="auto">
            <a:xfrm>
              <a:off x="5159896" y="2030297"/>
              <a:ext cx="288000" cy="288000"/>
            </a:xfrm>
            <a:prstGeom prst="ellipse">
              <a:avLst/>
            </a:prstGeom>
            <a:solidFill>
              <a:schemeClr val="tx2"/>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grpSp>
          <p:nvGrpSpPr>
            <p:cNvPr id="19" name="Group 18">
              <a:extLst>
                <a:ext uri="{FF2B5EF4-FFF2-40B4-BE49-F238E27FC236}">
                  <a16:creationId xmlns:a16="http://schemas.microsoft.com/office/drawing/2014/main" xmlns="" id="{38A3C3CE-5353-4FBA-A49F-B9577446C694}"/>
                </a:ext>
              </a:extLst>
            </p:cNvPr>
            <p:cNvGrpSpPr>
              <a:grpSpLocks noChangeAspect="1"/>
            </p:cNvGrpSpPr>
            <p:nvPr/>
          </p:nvGrpSpPr>
          <p:grpSpPr>
            <a:xfrm>
              <a:off x="5159896" y="1675599"/>
              <a:ext cx="288000" cy="288000"/>
              <a:chOff x="262275" y="1271045"/>
              <a:chExt cx="187325" cy="187325"/>
            </a:xfrm>
          </p:grpSpPr>
          <p:sp>
            <p:nvSpPr>
              <p:cNvPr id="20" name="Oval 19">
                <a:extLst>
                  <a:ext uri="{FF2B5EF4-FFF2-40B4-BE49-F238E27FC236}">
                    <a16:creationId xmlns:a16="http://schemas.microsoft.com/office/drawing/2014/main" xmlns="" id="{99C52E1D-D561-4F18-85C8-8DBB93B9ECDD}"/>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22" name="Arc 21">
                <a:extLst>
                  <a:ext uri="{FF2B5EF4-FFF2-40B4-BE49-F238E27FC236}">
                    <a16:creationId xmlns:a16="http://schemas.microsoft.com/office/drawing/2014/main" xmlns="" id="{E00CE904-4A29-4917-962F-6845DD7F5C91}"/>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23" name="Group 22">
              <a:extLst>
                <a:ext uri="{FF2B5EF4-FFF2-40B4-BE49-F238E27FC236}">
                  <a16:creationId xmlns:a16="http://schemas.microsoft.com/office/drawing/2014/main" xmlns="" id="{836C4DA3-24A2-4783-842D-5E75E19A698E}"/>
                </a:ext>
              </a:extLst>
            </p:cNvPr>
            <p:cNvGrpSpPr>
              <a:grpSpLocks noChangeAspect="1"/>
            </p:cNvGrpSpPr>
            <p:nvPr/>
          </p:nvGrpSpPr>
          <p:grpSpPr>
            <a:xfrm>
              <a:off x="5159896" y="4513183"/>
              <a:ext cx="288000" cy="288000"/>
              <a:chOff x="262275" y="1271045"/>
              <a:chExt cx="187325" cy="187325"/>
            </a:xfrm>
          </p:grpSpPr>
          <p:sp>
            <p:nvSpPr>
              <p:cNvPr id="24" name="Oval 23">
                <a:extLst>
                  <a:ext uri="{FF2B5EF4-FFF2-40B4-BE49-F238E27FC236}">
                    <a16:creationId xmlns:a16="http://schemas.microsoft.com/office/drawing/2014/main" xmlns="" id="{E75F5004-C12D-490D-8BB5-30A381809158}"/>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25" name="Arc 24">
                <a:extLst>
                  <a:ext uri="{FF2B5EF4-FFF2-40B4-BE49-F238E27FC236}">
                    <a16:creationId xmlns:a16="http://schemas.microsoft.com/office/drawing/2014/main" xmlns="" id="{8C7DA9B4-71F1-4269-AEB1-499C9F26083D}"/>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26" name="Oval 25">
              <a:extLst>
                <a:ext uri="{FF2B5EF4-FFF2-40B4-BE49-F238E27FC236}">
                  <a16:creationId xmlns:a16="http://schemas.microsoft.com/office/drawing/2014/main" xmlns="" id="{8A100F87-3520-4C1B-9D91-0D0ECF1F7BCA}"/>
                </a:ext>
              </a:extLst>
            </p:cNvPr>
            <p:cNvSpPr>
              <a:spLocks noChangeAspect="1"/>
            </p:cNvSpPr>
            <p:nvPr/>
          </p:nvSpPr>
          <p:spPr bwMode="auto">
            <a:xfrm>
              <a:off x="5159896" y="2384995"/>
              <a:ext cx="288000" cy="288000"/>
            </a:xfrm>
            <a:prstGeom prst="ellipse">
              <a:avLst/>
            </a:prstGeom>
            <a:solidFill>
              <a:schemeClr val="tx2"/>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xmlns="" id="{E9927920-6E53-417D-9148-95AC39638593}"/>
                </a:ext>
              </a:extLst>
            </p:cNvPr>
            <p:cNvGrpSpPr>
              <a:grpSpLocks noChangeAspect="1"/>
            </p:cNvGrpSpPr>
            <p:nvPr/>
          </p:nvGrpSpPr>
          <p:grpSpPr>
            <a:xfrm>
              <a:off x="5159896" y="2739693"/>
              <a:ext cx="288000" cy="288000"/>
              <a:chOff x="262276" y="917464"/>
              <a:chExt cx="187325" cy="187325"/>
            </a:xfrm>
          </p:grpSpPr>
          <p:sp>
            <p:nvSpPr>
              <p:cNvPr id="30" name="Oval 29">
                <a:extLst>
                  <a:ext uri="{FF2B5EF4-FFF2-40B4-BE49-F238E27FC236}">
                    <a16:creationId xmlns:a16="http://schemas.microsoft.com/office/drawing/2014/main" xmlns="" id="{8B1E8D79-8552-45C1-9DFA-EEF137D6B7B8}"/>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31" name="Arc 30">
                <a:extLst>
                  <a:ext uri="{FF2B5EF4-FFF2-40B4-BE49-F238E27FC236}">
                    <a16:creationId xmlns:a16="http://schemas.microsoft.com/office/drawing/2014/main" xmlns="" id="{9218E1D4-7B43-46A1-8AA6-F98908F96ADA}"/>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32" name="Group 31">
              <a:extLst>
                <a:ext uri="{FF2B5EF4-FFF2-40B4-BE49-F238E27FC236}">
                  <a16:creationId xmlns:a16="http://schemas.microsoft.com/office/drawing/2014/main" xmlns="" id="{7B52900F-7E72-4639-9A89-7092E127141A}"/>
                </a:ext>
              </a:extLst>
            </p:cNvPr>
            <p:cNvGrpSpPr>
              <a:grpSpLocks noChangeAspect="1"/>
            </p:cNvGrpSpPr>
            <p:nvPr/>
          </p:nvGrpSpPr>
          <p:grpSpPr>
            <a:xfrm>
              <a:off x="5159896" y="3094391"/>
              <a:ext cx="288000" cy="288000"/>
              <a:chOff x="262276" y="917464"/>
              <a:chExt cx="187325" cy="187325"/>
            </a:xfrm>
          </p:grpSpPr>
          <p:sp>
            <p:nvSpPr>
              <p:cNvPr id="33" name="Oval 32">
                <a:extLst>
                  <a:ext uri="{FF2B5EF4-FFF2-40B4-BE49-F238E27FC236}">
                    <a16:creationId xmlns:a16="http://schemas.microsoft.com/office/drawing/2014/main" xmlns="" id="{32254A38-4520-47F7-B4DC-F6CAC2321D34}"/>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34" name="Arc 33">
                <a:extLst>
                  <a:ext uri="{FF2B5EF4-FFF2-40B4-BE49-F238E27FC236}">
                    <a16:creationId xmlns:a16="http://schemas.microsoft.com/office/drawing/2014/main" xmlns="" id="{C019468D-4533-427D-B932-6C8BB3D6DD0D}"/>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35" name="Group 34">
              <a:extLst>
                <a:ext uri="{FF2B5EF4-FFF2-40B4-BE49-F238E27FC236}">
                  <a16:creationId xmlns:a16="http://schemas.microsoft.com/office/drawing/2014/main" xmlns="" id="{EA801144-A1FD-427F-BB6F-63A1FA83EDB9}"/>
                </a:ext>
              </a:extLst>
            </p:cNvPr>
            <p:cNvGrpSpPr>
              <a:grpSpLocks noChangeAspect="1"/>
            </p:cNvGrpSpPr>
            <p:nvPr/>
          </p:nvGrpSpPr>
          <p:grpSpPr>
            <a:xfrm>
              <a:off x="5159896" y="3449089"/>
              <a:ext cx="288000" cy="288000"/>
              <a:chOff x="262276" y="917464"/>
              <a:chExt cx="187325" cy="187325"/>
            </a:xfrm>
          </p:grpSpPr>
          <p:sp>
            <p:nvSpPr>
              <p:cNvPr id="36" name="Oval 35">
                <a:extLst>
                  <a:ext uri="{FF2B5EF4-FFF2-40B4-BE49-F238E27FC236}">
                    <a16:creationId xmlns:a16="http://schemas.microsoft.com/office/drawing/2014/main" xmlns="" id="{30119329-FE90-4B08-8E42-66DFD6CDF0D6}"/>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37" name="Arc 36">
                <a:extLst>
                  <a:ext uri="{FF2B5EF4-FFF2-40B4-BE49-F238E27FC236}">
                    <a16:creationId xmlns:a16="http://schemas.microsoft.com/office/drawing/2014/main" xmlns="" id="{54094FC3-6390-4B3A-B38D-75CF4C979741}"/>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38" name="Group 37">
              <a:extLst>
                <a:ext uri="{FF2B5EF4-FFF2-40B4-BE49-F238E27FC236}">
                  <a16:creationId xmlns:a16="http://schemas.microsoft.com/office/drawing/2014/main" xmlns="" id="{32A54CF7-3C76-4B5E-9E3B-25E49E4C8B38}"/>
                </a:ext>
              </a:extLst>
            </p:cNvPr>
            <p:cNvGrpSpPr>
              <a:grpSpLocks noChangeAspect="1"/>
            </p:cNvGrpSpPr>
            <p:nvPr/>
          </p:nvGrpSpPr>
          <p:grpSpPr>
            <a:xfrm>
              <a:off x="5159896" y="3803787"/>
              <a:ext cx="288000" cy="288000"/>
              <a:chOff x="262276" y="917464"/>
              <a:chExt cx="187325" cy="187325"/>
            </a:xfrm>
          </p:grpSpPr>
          <p:sp>
            <p:nvSpPr>
              <p:cNvPr id="39" name="Oval 38">
                <a:extLst>
                  <a:ext uri="{FF2B5EF4-FFF2-40B4-BE49-F238E27FC236}">
                    <a16:creationId xmlns:a16="http://schemas.microsoft.com/office/drawing/2014/main" xmlns="" id="{E3DD4175-A84C-4D07-A39E-30A2A87B6591}"/>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40" name="Arc 39">
                <a:extLst>
                  <a:ext uri="{FF2B5EF4-FFF2-40B4-BE49-F238E27FC236}">
                    <a16:creationId xmlns:a16="http://schemas.microsoft.com/office/drawing/2014/main" xmlns="" id="{FF6A6EBD-92AE-472C-A74B-C34C3A5EEDCE}"/>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41" name="Group 40">
              <a:extLst>
                <a:ext uri="{FF2B5EF4-FFF2-40B4-BE49-F238E27FC236}">
                  <a16:creationId xmlns:a16="http://schemas.microsoft.com/office/drawing/2014/main" xmlns="" id="{2AE4B1B1-D09F-4367-A4DD-709DA8173F63}"/>
                </a:ext>
              </a:extLst>
            </p:cNvPr>
            <p:cNvGrpSpPr>
              <a:grpSpLocks noChangeAspect="1"/>
            </p:cNvGrpSpPr>
            <p:nvPr/>
          </p:nvGrpSpPr>
          <p:grpSpPr>
            <a:xfrm>
              <a:off x="5159896" y="4158485"/>
              <a:ext cx="288000" cy="288000"/>
              <a:chOff x="262276" y="917464"/>
              <a:chExt cx="187325" cy="187325"/>
            </a:xfrm>
          </p:grpSpPr>
          <p:sp>
            <p:nvSpPr>
              <p:cNvPr id="42" name="Oval 41">
                <a:extLst>
                  <a:ext uri="{FF2B5EF4-FFF2-40B4-BE49-F238E27FC236}">
                    <a16:creationId xmlns:a16="http://schemas.microsoft.com/office/drawing/2014/main" xmlns="" id="{1D5FF2DA-3EB4-4700-B40F-B57F2FC51AA7}"/>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43" name="Arc 42">
                <a:extLst>
                  <a:ext uri="{FF2B5EF4-FFF2-40B4-BE49-F238E27FC236}">
                    <a16:creationId xmlns:a16="http://schemas.microsoft.com/office/drawing/2014/main" xmlns="" id="{91669007-E98E-417B-AB8A-161C9781568D}"/>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44" name="Group 43">
              <a:extLst>
                <a:ext uri="{FF2B5EF4-FFF2-40B4-BE49-F238E27FC236}">
                  <a16:creationId xmlns:a16="http://schemas.microsoft.com/office/drawing/2014/main" xmlns="" id="{20B67924-BEB6-4D80-B10B-82BBB22373ED}"/>
                </a:ext>
              </a:extLst>
            </p:cNvPr>
            <p:cNvGrpSpPr>
              <a:grpSpLocks noChangeAspect="1"/>
            </p:cNvGrpSpPr>
            <p:nvPr/>
          </p:nvGrpSpPr>
          <p:grpSpPr>
            <a:xfrm>
              <a:off x="5159896" y="4867881"/>
              <a:ext cx="288000" cy="288000"/>
              <a:chOff x="262276" y="504827"/>
              <a:chExt cx="187325" cy="187325"/>
            </a:xfrm>
          </p:grpSpPr>
          <p:sp>
            <p:nvSpPr>
              <p:cNvPr id="45" name="Oval 44">
                <a:extLst>
                  <a:ext uri="{FF2B5EF4-FFF2-40B4-BE49-F238E27FC236}">
                    <a16:creationId xmlns:a16="http://schemas.microsoft.com/office/drawing/2014/main" xmlns="" id="{B418186E-DBAF-4605-9147-82AA385AD761}"/>
                  </a:ext>
                </a:extLst>
              </p:cNvPr>
              <p:cNvSpPr/>
              <p:nvPr/>
            </p:nvSpPr>
            <p:spPr bwMode="auto">
              <a:xfrm>
                <a:off x="262276" y="504827"/>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46" name="Arc 45">
                <a:extLst>
                  <a:ext uri="{FF2B5EF4-FFF2-40B4-BE49-F238E27FC236}">
                    <a16:creationId xmlns:a16="http://schemas.microsoft.com/office/drawing/2014/main" xmlns="" id="{5A9E98EC-21B5-4FCC-901C-45934B67C48B}"/>
                  </a:ext>
                </a:extLst>
              </p:cNvPr>
              <p:cNvSpPr/>
              <p:nvPr/>
            </p:nvSpPr>
            <p:spPr bwMode="gray">
              <a:xfrm>
                <a:off x="262276" y="504827"/>
                <a:ext cx="187325" cy="187324"/>
              </a:xfrm>
              <a:prstGeom prst="arc">
                <a:avLst>
                  <a:gd name="adj1" fmla="val 16200000"/>
                  <a:gd name="adj2" fmla="val 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47" name="Oval 46">
              <a:extLst>
                <a:ext uri="{FF2B5EF4-FFF2-40B4-BE49-F238E27FC236}">
                  <a16:creationId xmlns:a16="http://schemas.microsoft.com/office/drawing/2014/main" xmlns="" id="{FD044DBC-2321-454D-A970-5A9504AFF348}"/>
                </a:ext>
              </a:extLst>
            </p:cNvPr>
            <p:cNvSpPr>
              <a:spLocks noChangeAspect="1"/>
            </p:cNvSpPr>
            <p:nvPr/>
          </p:nvSpPr>
          <p:spPr bwMode="auto">
            <a:xfrm>
              <a:off x="5159896" y="5270764"/>
              <a:ext cx="288000" cy="288000"/>
            </a:xfrm>
            <a:prstGeom prst="ellipse">
              <a:avLst/>
            </a:prstGeom>
            <a:solidFill>
              <a:schemeClr val="tx2"/>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48" name="Oval 47">
              <a:extLst>
                <a:ext uri="{FF2B5EF4-FFF2-40B4-BE49-F238E27FC236}">
                  <a16:creationId xmlns:a16="http://schemas.microsoft.com/office/drawing/2014/main" xmlns="" id="{35F58FD8-0ED1-48B0-B555-6C6E8056CBE3}"/>
                </a:ext>
              </a:extLst>
            </p:cNvPr>
            <p:cNvSpPr>
              <a:spLocks noChangeAspect="1"/>
            </p:cNvSpPr>
            <p:nvPr/>
          </p:nvSpPr>
          <p:spPr bwMode="auto">
            <a:xfrm>
              <a:off x="5159896" y="5635852"/>
              <a:ext cx="288000" cy="288000"/>
            </a:xfrm>
            <a:prstGeom prst="ellipse">
              <a:avLst/>
            </a:prstGeom>
            <a:solidFill>
              <a:schemeClr val="tx2"/>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grpSp>
          <p:nvGrpSpPr>
            <p:cNvPr id="60" name="Group 59">
              <a:extLst>
                <a:ext uri="{FF2B5EF4-FFF2-40B4-BE49-F238E27FC236}">
                  <a16:creationId xmlns:a16="http://schemas.microsoft.com/office/drawing/2014/main" xmlns="" id="{B49A061E-2A85-4B3D-8193-E4C946A4D0AA}"/>
                </a:ext>
              </a:extLst>
            </p:cNvPr>
            <p:cNvGrpSpPr>
              <a:grpSpLocks noChangeAspect="1"/>
            </p:cNvGrpSpPr>
            <p:nvPr/>
          </p:nvGrpSpPr>
          <p:grpSpPr>
            <a:xfrm>
              <a:off x="10397744" y="1675599"/>
              <a:ext cx="288000" cy="288000"/>
              <a:chOff x="262276" y="917464"/>
              <a:chExt cx="187325" cy="187325"/>
            </a:xfrm>
          </p:grpSpPr>
          <p:sp>
            <p:nvSpPr>
              <p:cNvPr id="61" name="Oval 60">
                <a:extLst>
                  <a:ext uri="{FF2B5EF4-FFF2-40B4-BE49-F238E27FC236}">
                    <a16:creationId xmlns:a16="http://schemas.microsoft.com/office/drawing/2014/main" xmlns="" id="{44C1715B-64F0-40E9-9518-946027470656}"/>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62" name="Arc 61">
                <a:extLst>
                  <a:ext uri="{FF2B5EF4-FFF2-40B4-BE49-F238E27FC236}">
                    <a16:creationId xmlns:a16="http://schemas.microsoft.com/office/drawing/2014/main" xmlns="" id="{FFB8AC00-FA00-4477-96C3-9C773050F13F}"/>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sp>
          <p:nvSpPr>
            <p:cNvPr id="63" name="Oval 62">
              <a:extLst>
                <a:ext uri="{FF2B5EF4-FFF2-40B4-BE49-F238E27FC236}">
                  <a16:creationId xmlns:a16="http://schemas.microsoft.com/office/drawing/2014/main" xmlns="" id="{629F4D58-DFFA-4AD1-9CDA-8DEFB8562CF9}"/>
                </a:ext>
              </a:extLst>
            </p:cNvPr>
            <p:cNvSpPr>
              <a:spLocks noChangeAspect="1"/>
            </p:cNvSpPr>
            <p:nvPr/>
          </p:nvSpPr>
          <p:spPr bwMode="auto">
            <a:xfrm>
              <a:off x="10397744" y="2384627"/>
              <a:ext cx="288000" cy="288000"/>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xmlns="" id="{89FE0B8B-429C-4680-B95C-B69A4F8304F5}"/>
                </a:ext>
              </a:extLst>
            </p:cNvPr>
            <p:cNvSpPr>
              <a:spLocks noChangeAspect="1"/>
            </p:cNvSpPr>
            <p:nvPr/>
          </p:nvSpPr>
          <p:spPr bwMode="auto">
            <a:xfrm>
              <a:off x="10397744" y="2030113"/>
              <a:ext cx="288000" cy="288000"/>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grpSp>
          <p:nvGrpSpPr>
            <p:cNvPr id="65" name="Group 64">
              <a:extLst>
                <a:ext uri="{FF2B5EF4-FFF2-40B4-BE49-F238E27FC236}">
                  <a16:creationId xmlns:a16="http://schemas.microsoft.com/office/drawing/2014/main" xmlns="" id="{72794FEF-48E4-4006-9748-236BE48FA9AE}"/>
                </a:ext>
              </a:extLst>
            </p:cNvPr>
            <p:cNvGrpSpPr>
              <a:grpSpLocks noChangeAspect="1"/>
            </p:cNvGrpSpPr>
            <p:nvPr/>
          </p:nvGrpSpPr>
          <p:grpSpPr>
            <a:xfrm>
              <a:off x="10397744" y="2739141"/>
              <a:ext cx="288000" cy="288000"/>
              <a:chOff x="262276" y="504827"/>
              <a:chExt cx="187325" cy="187325"/>
            </a:xfrm>
          </p:grpSpPr>
          <p:sp>
            <p:nvSpPr>
              <p:cNvPr id="66" name="Oval 65">
                <a:extLst>
                  <a:ext uri="{FF2B5EF4-FFF2-40B4-BE49-F238E27FC236}">
                    <a16:creationId xmlns:a16="http://schemas.microsoft.com/office/drawing/2014/main" xmlns="" id="{AA447FD7-A744-49C3-9472-4351553631BF}"/>
                  </a:ext>
                </a:extLst>
              </p:cNvPr>
              <p:cNvSpPr/>
              <p:nvPr/>
            </p:nvSpPr>
            <p:spPr bwMode="auto">
              <a:xfrm>
                <a:off x="262276" y="504827"/>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67" name="Arc 66">
                <a:extLst>
                  <a:ext uri="{FF2B5EF4-FFF2-40B4-BE49-F238E27FC236}">
                    <a16:creationId xmlns:a16="http://schemas.microsoft.com/office/drawing/2014/main" xmlns="" id="{4FFF9426-FE8B-480B-9A1C-16165B0F2F4B}"/>
                  </a:ext>
                </a:extLst>
              </p:cNvPr>
              <p:cNvSpPr/>
              <p:nvPr/>
            </p:nvSpPr>
            <p:spPr bwMode="gray">
              <a:xfrm>
                <a:off x="262276" y="504827"/>
                <a:ext cx="187325" cy="187324"/>
              </a:xfrm>
              <a:prstGeom prst="arc">
                <a:avLst>
                  <a:gd name="adj1" fmla="val 16200000"/>
                  <a:gd name="adj2" fmla="val 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68" name="Group 67">
              <a:extLst>
                <a:ext uri="{FF2B5EF4-FFF2-40B4-BE49-F238E27FC236}">
                  <a16:creationId xmlns:a16="http://schemas.microsoft.com/office/drawing/2014/main" xmlns="" id="{12B1A130-9169-4B97-A29E-CDC2A1F449B6}"/>
                </a:ext>
              </a:extLst>
            </p:cNvPr>
            <p:cNvGrpSpPr>
              <a:grpSpLocks noChangeAspect="1"/>
            </p:cNvGrpSpPr>
            <p:nvPr/>
          </p:nvGrpSpPr>
          <p:grpSpPr>
            <a:xfrm>
              <a:off x="10397744" y="3093655"/>
              <a:ext cx="288000" cy="288000"/>
              <a:chOff x="262275" y="1271045"/>
              <a:chExt cx="187325" cy="187325"/>
            </a:xfrm>
          </p:grpSpPr>
          <p:sp>
            <p:nvSpPr>
              <p:cNvPr id="69" name="Oval 68">
                <a:extLst>
                  <a:ext uri="{FF2B5EF4-FFF2-40B4-BE49-F238E27FC236}">
                    <a16:creationId xmlns:a16="http://schemas.microsoft.com/office/drawing/2014/main" xmlns="" id="{A0209BD9-F3A3-469E-9AB4-44DDCFA5D274}"/>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70" name="Arc 69">
                <a:extLst>
                  <a:ext uri="{FF2B5EF4-FFF2-40B4-BE49-F238E27FC236}">
                    <a16:creationId xmlns:a16="http://schemas.microsoft.com/office/drawing/2014/main" xmlns="" id="{0656F7F8-391B-4215-8BDE-07637FD4A9B5}"/>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71" name="Group 70">
              <a:extLst>
                <a:ext uri="{FF2B5EF4-FFF2-40B4-BE49-F238E27FC236}">
                  <a16:creationId xmlns:a16="http://schemas.microsoft.com/office/drawing/2014/main" xmlns="" id="{A644BD1F-7E93-4469-B1BE-8214A98933E7}"/>
                </a:ext>
              </a:extLst>
            </p:cNvPr>
            <p:cNvGrpSpPr>
              <a:grpSpLocks noChangeAspect="1"/>
            </p:cNvGrpSpPr>
            <p:nvPr/>
          </p:nvGrpSpPr>
          <p:grpSpPr>
            <a:xfrm>
              <a:off x="10397744" y="3448169"/>
              <a:ext cx="288000" cy="288000"/>
              <a:chOff x="262275" y="1271045"/>
              <a:chExt cx="187325" cy="187325"/>
            </a:xfrm>
          </p:grpSpPr>
          <p:sp>
            <p:nvSpPr>
              <p:cNvPr id="72" name="Oval 71">
                <a:extLst>
                  <a:ext uri="{FF2B5EF4-FFF2-40B4-BE49-F238E27FC236}">
                    <a16:creationId xmlns:a16="http://schemas.microsoft.com/office/drawing/2014/main" xmlns="" id="{BD02A8E1-9768-44E2-A2B2-FE71C592A718}"/>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73" name="Arc 72">
                <a:extLst>
                  <a:ext uri="{FF2B5EF4-FFF2-40B4-BE49-F238E27FC236}">
                    <a16:creationId xmlns:a16="http://schemas.microsoft.com/office/drawing/2014/main" xmlns="" id="{BA794030-4B51-4453-B79E-1C2ED2F38CAC}"/>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xmlns="" id="{1EBFBE8E-6174-4868-824E-B4EA2DE7110F}"/>
                </a:ext>
              </a:extLst>
            </p:cNvPr>
            <p:cNvGrpSpPr>
              <a:grpSpLocks noChangeAspect="1"/>
            </p:cNvGrpSpPr>
            <p:nvPr/>
          </p:nvGrpSpPr>
          <p:grpSpPr>
            <a:xfrm>
              <a:off x="10397744" y="3802683"/>
              <a:ext cx="288000" cy="288000"/>
              <a:chOff x="262276" y="917464"/>
              <a:chExt cx="187325" cy="187325"/>
            </a:xfrm>
          </p:grpSpPr>
          <p:sp>
            <p:nvSpPr>
              <p:cNvPr id="75" name="Oval 74">
                <a:extLst>
                  <a:ext uri="{FF2B5EF4-FFF2-40B4-BE49-F238E27FC236}">
                    <a16:creationId xmlns:a16="http://schemas.microsoft.com/office/drawing/2014/main" xmlns="" id="{900995AE-EF27-4A87-9BEC-79DE170D1E30}"/>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76" name="Arc 75">
                <a:extLst>
                  <a:ext uri="{FF2B5EF4-FFF2-40B4-BE49-F238E27FC236}">
                    <a16:creationId xmlns:a16="http://schemas.microsoft.com/office/drawing/2014/main" xmlns="" id="{69DB790E-0678-41A2-8940-A91B6C83C17C}"/>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77" name="Group 76">
              <a:extLst>
                <a:ext uri="{FF2B5EF4-FFF2-40B4-BE49-F238E27FC236}">
                  <a16:creationId xmlns:a16="http://schemas.microsoft.com/office/drawing/2014/main" xmlns="" id="{D9689ADB-0AD7-46BB-9C6A-E8CE9D1FD433}"/>
                </a:ext>
              </a:extLst>
            </p:cNvPr>
            <p:cNvGrpSpPr>
              <a:grpSpLocks noChangeAspect="1"/>
            </p:cNvGrpSpPr>
            <p:nvPr/>
          </p:nvGrpSpPr>
          <p:grpSpPr>
            <a:xfrm>
              <a:off x="10397744" y="4157197"/>
              <a:ext cx="288000" cy="288000"/>
              <a:chOff x="262276" y="504827"/>
              <a:chExt cx="187325" cy="187325"/>
            </a:xfrm>
          </p:grpSpPr>
          <p:sp>
            <p:nvSpPr>
              <p:cNvPr id="78" name="Oval 77">
                <a:extLst>
                  <a:ext uri="{FF2B5EF4-FFF2-40B4-BE49-F238E27FC236}">
                    <a16:creationId xmlns:a16="http://schemas.microsoft.com/office/drawing/2014/main" xmlns="" id="{F62535FA-E8C3-4CFC-91DB-127EED802DC3}"/>
                  </a:ext>
                </a:extLst>
              </p:cNvPr>
              <p:cNvSpPr/>
              <p:nvPr/>
            </p:nvSpPr>
            <p:spPr bwMode="auto">
              <a:xfrm>
                <a:off x="262276" y="504827"/>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79" name="Arc 78">
                <a:extLst>
                  <a:ext uri="{FF2B5EF4-FFF2-40B4-BE49-F238E27FC236}">
                    <a16:creationId xmlns:a16="http://schemas.microsoft.com/office/drawing/2014/main" xmlns="" id="{DAF2D905-B040-43A4-ABA1-DE1B0E580E8E}"/>
                  </a:ext>
                </a:extLst>
              </p:cNvPr>
              <p:cNvSpPr/>
              <p:nvPr/>
            </p:nvSpPr>
            <p:spPr bwMode="gray">
              <a:xfrm>
                <a:off x="262276" y="504827"/>
                <a:ext cx="187325" cy="187324"/>
              </a:xfrm>
              <a:prstGeom prst="arc">
                <a:avLst>
                  <a:gd name="adj1" fmla="val 16200000"/>
                  <a:gd name="adj2" fmla="val 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80" name="Group 79">
              <a:extLst>
                <a:ext uri="{FF2B5EF4-FFF2-40B4-BE49-F238E27FC236}">
                  <a16:creationId xmlns:a16="http://schemas.microsoft.com/office/drawing/2014/main" xmlns="" id="{EF504944-7063-4FA2-8F0A-7A1E2020939E}"/>
                </a:ext>
              </a:extLst>
            </p:cNvPr>
            <p:cNvGrpSpPr>
              <a:grpSpLocks noChangeAspect="1"/>
            </p:cNvGrpSpPr>
            <p:nvPr/>
          </p:nvGrpSpPr>
          <p:grpSpPr>
            <a:xfrm>
              <a:off x="10397744" y="4511711"/>
              <a:ext cx="288000" cy="288000"/>
              <a:chOff x="262275" y="1271045"/>
              <a:chExt cx="187325" cy="187325"/>
            </a:xfrm>
          </p:grpSpPr>
          <p:sp>
            <p:nvSpPr>
              <p:cNvPr id="81" name="Oval 80">
                <a:extLst>
                  <a:ext uri="{FF2B5EF4-FFF2-40B4-BE49-F238E27FC236}">
                    <a16:creationId xmlns:a16="http://schemas.microsoft.com/office/drawing/2014/main" xmlns="" id="{2A141F00-AAAC-4018-9551-E4D0A23604E9}"/>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82" name="Arc 81">
                <a:extLst>
                  <a:ext uri="{FF2B5EF4-FFF2-40B4-BE49-F238E27FC236}">
                    <a16:creationId xmlns:a16="http://schemas.microsoft.com/office/drawing/2014/main" xmlns="" id="{F9EB68E2-1896-487E-9E0C-A30535E6D1B5}"/>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83" name="Group 82">
              <a:extLst>
                <a:ext uri="{FF2B5EF4-FFF2-40B4-BE49-F238E27FC236}">
                  <a16:creationId xmlns:a16="http://schemas.microsoft.com/office/drawing/2014/main" xmlns="" id="{C96E4CF1-A69D-42B6-801B-0383E4CD56D7}"/>
                </a:ext>
              </a:extLst>
            </p:cNvPr>
            <p:cNvGrpSpPr>
              <a:grpSpLocks noChangeAspect="1"/>
            </p:cNvGrpSpPr>
            <p:nvPr/>
          </p:nvGrpSpPr>
          <p:grpSpPr>
            <a:xfrm>
              <a:off x="10397744" y="4866225"/>
              <a:ext cx="288000" cy="288000"/>
              <a:chOff x="262276" y="504827"/>
              <a:chExt cx="187325" cy="187325"/>
            </a:xfrm>
          </p:grpSpPr>
          <p:sp>
            <p:nvSpPr>
              <p:cNvPr id="84" name="Oval 83">
                <a:extLst>
                  <a:ext uri="{FF2B5EF4-FFF2-40B4-BE49-F238E27FC236}">
                    <a16:creationId xmlns:a16="http://schemas.microsoft.com/office/drawing/2014/main" xmlns="" id="{B634EBF7-0292-41B2-A346-FDB53AD65C00}"/>
                  </a:ext>
                </a:extLst>
              </p:cNvPr>
              <p:cNvSpPr/>
              <p:nvPr/>
            </p:nvSpPr>
            <p:spPr bwMode="auto">
              <a:xfrm>
                <a:off x="262276" y="504827"/>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85" name="Arc 84">
                <a:extLst>
                  <a:ext uri="{FF2B5EF4-FFF2-40B4-BE49-F238E27FC236}">
                    <a16:creationId xmlns:a16="http://schemas.microsoft.com/office/drawing/2014/main" xmlns="" id="{C5FA8948-ED2F-4D52-8C79-78A894EDEFD3}"/>
                  </a:ext>
                </a:extLst>
              </p:cNvPr>
              <p:cNvSpPr/>
              <p:nvPr/>
            </p:nvSpPr>
            <p:spPr bwMode="gray">
              <a:xfrm>
                <a:off x="262276" y="504827"/>
                <a:ext cx="187325" cy="187324"/>
              </a:xfrm>
              <a:prstGeom prst="arc">
                <a:avLst>
                  <a:gd name="adj1" fmla="val 16200000"/>
                  <a:gd name="adj2" fmla="val 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86" name="Group 85">
              <a:extLst>
                <a:ext uri="{FF2B5EF4-FFF2-40B4-BE49-F238E27FC236}">
                  <a16:creationId xmlns:a16="http://schemas.microsoft.com/office/drawing/2014/main" xmlns="" id="{BFC80C31-71F1-4FC5-A256-C4E8F0CA755D}"/>
                </a:ext>
              </a:extLst>
            </p:cNvPr>
            <p:cNvGrpSpPr>
              <a:grpSpLocks noChangeAspect="1"/>
            </p:cNvGrpSpPr>
            <p:nvPr/>
          </p:nvGrpSpPr>
          <p:grpSpPr>
            <a:xfrm>
              <a:off x="10397744" y="5220739"/>
              <a:ext cx="288000" cy="288000"/>
              <a:chOff x="262276" y="917464"/>
              <a:chExt cx="187325" cy="187325"/>
            </a:xfrm>
          </p:grpSpPr>
          <p:sp>
            <p:nvSpPr>
              <p:cNvPr id="87" name="Oval 86">
                <a:extLst>
                  <a:ext uri="{FF2B5EF4-FFF2-40B4-BE49-F238E27FC236}">
                    <a16:creationId xmlns:a16="http://schemas.microsoft.com/office/drawing/2014/main" xmlns="" id="{262B2370-0A05-4AE1-93FE-9F23CEF3BE5A}"/>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88" name="Arc 87">
                <a:extLst>
                  <a:ext uri="{FF2B5EF4-FFF2-40B4-BE49-F238E27FC236}">
                    <a16:creationId xmlns:a16="http://schemas.microsoft.com/office/drawing/2014/main" xmlns="" id="{4DB2C043-BA6A-4BB3-AA4C-026F1EE322A0}"/>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89" name="Group 88">
              <a:extLst>
                <a:ext uri="{FF2B5EF4-FFF2-40B4-BE49-F238E27FC236}">
                  <a16:creationId xmlns:a16="http://schemas.microsoft.com/office/drawing/2014/main" xmlns="" id="{1041984F-3BF1-47C9-B337-A100E6D88C90}"/>
                </a:ext>
              </a:extLst>
            </p:cNvPr>
            <p:cNvGrpSpPr>
              <a:grpSpLocks noChangeAspect="1"/>
            </p:cNvGrpSpPr>
            <p:nvPr/>
          </p:nvGrpSpPr>
          <p:grpSpPr>
            <a:xfrm>
              <a:off x="10397744" y="5575249"/>
              <a:ext cx="288000" cy="288000"/>
              <a:chOff x="262276" y="917464"/>
              <a:chExt cx="187325" cy="187325"/>
            </a:xfrm>
          </p:grpSpPr>
          <p:sp>
            <p:nvSpPr>
              <p:cNvPr id="90" name="Oval 89">
                <a:extLst>
                  <a:ext uri="{FF2B5EF4-FFF2-40B4-BE49-F238E27FC236}">
                    <a16:creationId xmlns:a16="http://schemas.microsoft.com/office/drawing/2014/main" xmlns="" id="{63FE0A4D-60BD-492C-A36B-AEDC92689E09}"/>
                  </a:ext>
                </a:extLst>
              </p:cNvPr>
              <p:cNvSpPr/>
              <p:nvPr/>
            </p:nvSpPr>
            <p:spPr bwMode="auto">
              <a:xfrm>
                <a:off x="262276" y="917464"/>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1" name="Arc 90">
                <a:extLst>
                  <a:ext uri="{FF2B5EF4-FFF2-40B4-BE49-F238E27FC236}">
                    <a16:creationId xmlns:a16="http://schemas.microsoft.com/office/drawing/2014/main" xmlns="" id="{15FBBFB9-A61C-4AD2-9F75-DB574069BB02}"/>
                  </a:ext>
                </a:extLst>
              </p:cNvPr>
              <p:cNvSpPr/>
              <p:nvPr/>
            </p:nvSpPr>
            <p:spPr bwMode="gray">
              <a:xfrm>
                <a:off x="262276" y="917464"/>
                <a:ext cx="187324" cy="187324"/>
              </a:xfrm>
              <a:prstGeom prst="arc">
                <a:avLst>
                  <a:gd name="adj1" fmla="val 16200000"/>
                  <a:gd name="adj2" fmla="val 54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92" name="Group 91">
              <a:extLst>
                <a:ext uri="{FF2B5EF4-FFF2-40B4-BE49-F238E27FC236}">
                  <a16:creationId xmlns:a16="http://schemas.microsoft.com/office/drawing/2014/main" xmlns="" id="{6B6CAF01-E8E9-4694-B81E-1C7CCBBBA409}"/>
                </a:ext>
              </a:extLst>
            </p:cNvPr>
            <p:cNvGrpSpPr>
              <a:grpSpLocks noChangeAspect="1"/>
            </p:cNvGrpSpPr>
            <p:nvPr/>
          </p:nvGrpSpPr>
          <p:grpSpPr>
            <a:xfrm>
              <a:off x="5159896" y="5993834"/>
              <a:ext cx="288000" cy="288000"/>
              <a:chOff x="262275" y="1271045"/>
              <a:chExt cx="187325" cy="187325"/>
            </a:xfrm>
          </p:grpSpPr>
          <p:sp>
            <p:nvSpPr>
              <p:cNvPr id="93" name="Oval 92">
                <a:extLst>
                  <a:ext uri="{FF2B5EF4-FFF2-40B4-BE49-F238E27FC236}">
                    <a16:creationId xmlns:a16="http://schemas.microsoft.com/office/drawing/2014/main" xmlns="" id="{2D316D46-0D2D-4271-A0A0-D8EB7D650793}"/>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4" name="Arc 93">
                <a:extLst>
                  <a:ext uri="{FF2B5EF4-FFF2-40B4-BE49-F238E27FC236}">
                    <a16:creationId xmlns:a16="http://schemas.microsoft.com/office/drawing/2014/main" xmlns="" id="{B127A46C-D4CE-4836-994E-16309F226683}"/>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nvGrpSpPr>
            <p:cNvPr id="95" name="Group 94">
              <a:extLst>
                <a:ext uri="{FF2B5EF4-FFF2-40B4-BE49-F238E27FC236}">
                  <a16:creationId xmlns:a16="http://schemas.microsoft.com/office/drawing/2014/main" xmlns="" id="{2CFDB3CE-BEDE-4A5E-848D-C70158C70FA3}"/>
                </a:ext>
              </a:extLst>
            </p:cNvPr>
            <p:cNvGrpSpPr>
              <a:grpSpLocks noChangeAspect="1"/>
            </p:cNvGrpSpPr>
            <p:nvPr/>
          </p:nvGrpSpPr>
          <p:grpSpPr>
            <a:xfrm>
              <a:off x="10397744" y="5933786"/>
              <a:ext cx="288000" cy="288000"/>
              <a:chOff x="262275" y="1271045"/>
              <a:chExt cx="187325" cy="187325"/>
            </a:xfrm>
          </p:grpSpPr>
          <p:sp>
            <p:nvSpPr>
              <p:cNvPr id="96" name="Oval 95">
                <a:extLst>
                  <a:ext uri="{FF2B5EF4-FFF2-40B4-BE49-F238E27FC236}">
                    <a16:creationId xmlns:a16="http://schemas.microsoft.com/office/drawing/2014/main" xmlns="" id="{294C8AC7-5940-451D-907F-08102F668287}"/>
                  </a:ext>
                </a:extLst>
              </p:cNvPr>
              <p:cNvSpPr/>
              <p:nvPr/>
            </p:nvSpPr>
            <p:spPr bwMode="auto">
              <a:xfrm>
                <a:off x="262275" y="1271045"/>
                <a:ext cx="187325" cy="187325"/>
              </a:xfrm>
              <a:prstGeom prst="ellipse">
                <a:avLst/>
              </a:prstGeom>
              <a:solidFill>
                <a:schemeClr val="bg1"/>
              </a:solidFill>
              <a:ln w="9525" cap="sq" cmpd="sng" algn="ctr">
                <a:solidFill>
                  <a:schemeClr val="tx2"/>
                </a:solidFill>
                <a:prstDash val="solid"/>
                <a:miter lim="800000"/>
                <a:tailEnd type="none"/>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2E2E38"/>
                  </a:solidFill>
                  <a:effectLst/>
                  <a:uLnTx/>
                  <a:uFillTx/>
                  <a:latin typeface="Calibri" panose="020F0502020204030204"/>
                  <a:ea typeface="+mn-ea"/>
                  <a:cs typeface="+mn-cs"/>
                </a:endParaRPr>
              </a:p>
            </p:txBody>
          </p:sp>
          <p:sp>
            <p:nvSpPr>
              <p:cNvPr id="97" name="Arc 96">
                <a:extLst>
                  <a:ext uri="{FF2B5EF4-FFF2-40B4-BE49-F238E27FC236}">
                    <a16:creationId xmlns:a16="http://schemas.microsoft.com/office/drawing/2014/main" xmlns="" id="{54A8D7B3-F3BD-4766-8813-4246ABDA5873}"/>
                  </a:ext>
                </a:extLst>
              </p:cNvPr>
              <p:cNvSpPr/>
              <p:nvPr/>
            </p:nvSpPr>
            <p:spPr bwMode="gray">
              <a:xfrm>
                <a:off x="262276" y="1271045"/>
                <a:ext cx="187324" cy="187325"/>
              </a:xfrm>
              <a:prstGeom prst="arc">
                <a:avLst>
                  <a:gd name="adj1" fmla="val 16200000"/>
                  <a:gd name="adj2" fmla="val 10800000"/>
                </a:avLst>
              </a:prstGeom>
              <a:solidFill>
                <a:schemeClr val="tx2"/>
              </a:solidFill>
              <a:ln w="9525" cap="sq" cmpd="sng" algn="ctr">
                <a:solidFill>
                  <a:schemeClr val="tx2"/>
                </a:solidFill>
                <a:prstDash val="solid"/>
                <a:miter lim="800000"/>
                <a:headEnd type="none" w="med" len="med"/>
                <a:tailEnd type="none" w="med" len="me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83E36"/>
                  </a:solidFill>
                  <a:effectLst/>
                  <a:uLnTx/>
                  <a:uFillTx/>
                  <a:latin typeface="Calibri" panose="020F0502020204030204"/>
                  <a:ea typeface="+mn-ea"/>
                  <a:cs typeface="+mn-cs"/>
                </a:endParaRPr>
              </a:p>
            </p:txBody>
          </p:sp>
        </p:grpSp>
      </p:grpSp>
      <p:sp>
        <p:nvSpPr>
          <p:cNvPr id="99" name="Title 2">
            <a:extLst>
              <a:ext uri="{FF2B5EF4-FFF2-40B4-BE49-F238E27FC236}">
                <a16:creationId xmlns:a16="http://schemas.microsoft.com/office/drawing/2014/main" xmlns="" id="{D7FFCBD2-CDE7-475B-B884-D1EF927F725A}"/>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GB"/>
              <a:t>KPIs: Impact on financial highlights as per current external financial reporting</a:t>
            </a:r>
            <a: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endParaRPr>
          </a:p>
        </p:txBody>
      </p:sp>
      <p:sp>
        <p:nvSpPr>
          <p:cNvPr id="100" name="Slide Number Placeholder 7">
            <a:extLst>
              <a:ext uri="{FF2B5EF4-FFF2-40B4-BE49-F238E27FC236}">
                <a16:creationId xmlns:a16="http://schemas.microsoft.com/office/drawing/2014/main" xmlns="" id="{EB7E0E02-B09F-41EE-BA5C-5251AEA2EA81}"/>
              </a:ext>
            </a:extLst>
          </p:cNvPr>
          <p:cNvSpPr txBox="1">
            <a:spLocks/>
          </p:cNvSpPr>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9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103" name="Picture 102">
            <a:extLst>
              <a:ext uri="{FF2B5EF4-FFF2-40B4-BE49-F238E27FC236}">
                <a16:creationId xmlns:a16="http://schemas.microsoft.com/office/drawing/2014/main" xmlns="" id="{039A7C6C-0A83-402F-8FDF-0996ACA57C49}"/>
              </a:ext>
            </a:extLst>
          </p:cNvPr>
          <p:cNvPicPr>
            <a:picLocks noChangeAspect="1"/>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98" name="Picture 97">
            <a:extLst>
              <a:ext uri="{FF2B5EF4-FFF2-40B4-BE49-F238E27FC236}">
                <a16:creationId xmlns:a16="http://schemas.microsoft.com/office/drawing/2014/main" xmlns="" id="{771F61A2-8383-4951-9321-B468F1AEAA4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438054" y="113705"/>
            <a:ext cx="550817" cy="554877"/>
          </a:xfrm>
          <a:prstGeom prst="rect">
            <a:avLst/>
          </a:prstGeom>
        </p:spPr>
      </p:pic>
    </p:spTree>
    <p:extLst>
      <p:ext uri="{BB962C8B-B14F-4D97-AF65-F5344CB8AC3E}">
        <p14:creationId xmlns:p14="http://schemas.microsoft.com/office/powerpoint/2010/main" val="1555791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l="-2000" r="-2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5D085F0D-6BC1-41C3-9538-14275D705E95}"/>
              </a:ext>
            </a:extLst>
          </p:cNvPr>
          <p:cNvSpPr/>
          <p:nvPr/>
        </p:nvSpPr>
        <p:spPr bwMode="auto">
          <a:xfrm>
            <a:off x="2972337" y="2024854"/>
            <a:ext cx="4191000" cy="652908"/>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700" b="1" i="0" u="none" strike="noStrike" kern="0" cap="none" spc="0" normalizeH="0" baseline="0" noProof="0" dirty="0">
                <a:ln>
                  <a:noFill/>
                </a:ln>
                <a:solidFill>
                  <a:srgbClr val="000000"/>
                </a:solidFill>
                <a:effectLst/>
                <a:uLnTx/>
                <a:uFillTx/>
                <a:latin typeface="Trebuchet MS" panose="020B0603020202020204" pitchFamily="34" charset="0"/>
                <a:ea typeface="+mn-ea"/>
                <a:cs typeface="Calibri" panose="020F0502020204030204" pitchFamily="34" charset="0"/>
              </a:rPr>
              <a:t>Ashwani Kumar Arora, </a:t>
            </a:r>
            <a:r>
              <a:rPr kumimoji="0" lang="en-US" altLang="en-US" sz="1700" b="0" i="0" u="none" strike="noStrike" kern="0" cap="none" spc="0" normalizeH="0" baseline="0" noProof="0" dirty="0">
                <a:ln>
                  <a:noFill/>
                </a:ln>
                <a:solidFill>
                  <a:srgbClr val="000000"/>
                </a:solidFill>
                <a:effectLst/>
                <a:uLnTx/>
                <a:uFillTx/>
                <a:latin typeface="Trebuchet MS" panose="020B0603020202020204" pitchFamily="34" charset="0"/>
                <a:ea typeface="+mn-ea"/>
                <a:cs typeface="Calibri" panose="020F0502020204030204" pitchFamily="34" charset="0"/>
              </a:rPr>
              <a:t>Memb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700" b="0" i="0" u="none" strike="noStrike" kern="0" cap="none" spc="0" normalizeH="0" baseline="0" noProof="0" dirty="0">
                <a:ln>
                  <a:noFill/>
                </a:ln>
                <a:solidFill>
                  <a:srgbClr val="000000"/>
                </a:solidFill>
                <a:effectLst/>
                <a:uLnTx/>
                <a:uFillTx/>
                <a:latin typeface="Trebuchet MS" panose="020B0603020202020204" pitchFamily="34" charset="0"/>
                <a:ea typeface="+mn-ea"/>
                <a:cs typeface="Calibri" panose="020F0502020204030204" pitchFamily="34" charset="0"/>
              </a:rPr>
              <a:t>Advisory Group on General Insurance, IAI</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54441" y="174639"/>
            <a:ext cx="1085347" cy="1093347"/>
          </a:xfrm>
          <a:prstGeom prst="rect">
            <a:avLst/>
          </a:prstGeom>
          <a:blipFill dpi="0" rotWithShape="1">
            <a:blip r:embed="rId5" cstate="print"/>
            <a:srcRect/>
            <a:stretch>
              <a:fillRect/>
            </a:stretch>
          </a:blipFill>
        </p:spPr>
      </p:pic>
      <p:sp>
        <p:nvSpPr>
          <p:cNvPr id="4" name="Rectangle 3"/>
          <p:cNvSpPr txBox="1">
            <a:spLocks noChangeArrowheads="1"/>
          </p:cNvSpPr>
          <p:nvPr/>
        </p:nvSpPr>
        <p:spPr>
          <a:xfrm>
            <a:off x="2933700" y="3020826"/>
            <a:ext cx="7505700" cy="3019328"/>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342900" marR="0" lvl="0" indent="-342900" algn="just" defTabSz="914400" rtl="0" eaLnBrk="0" fontAlgn="base" latinLnBrk="0" hangingPunct="0">
              <a:lnSpc>
                <a:spcPct val="100000"/>
              </a:lnSpc>
              <a:spcBef>
                <a:spcPts val="0"/>
              </a:spcBef>
              <a:spcAft>
                <a:spcPts val="800"/>
              </a:spcAft>
              <a:buClr>
                <a:srgbClr val="0070C0"/>
              </a:buClr>
              <a:buSzPct val="85000"/>
              <a:buFont typeface="Wingdings" panose="05000000000000000000"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Footer Placeholder 4"/>
          <p:cNvSpPr txBox="1">
            <a:spLocks/>
          </p:cNvSpPr>
          <p:nvPr/>
        </p:nvSpPr>
        <p:spPr>
          <a:xfrm>
            <a:off x="9829800" y="6492875"/>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imes New Roman"/>
                <a:ea typeface="+mn-ea"/>
                <a:cs typeface="+mn-cs"/>
              </a:rPr>
              <a:t>www.actuariesindia.org</a:t>
            </a:r>
          </a:p>
        </p:txBody>
      </p:sp>
      <p:sp>
        <p:nvSpPr>
          <p:cNvPr id="8" name="Rectangle 3">
            <a:extLst>
              <a:ext uri="{FF2B5EF4-FFF2-40B4-BE49-F238E27FC236}">
                <a16:creationId xmlns:a16="http://schemas.microsoft.com/office/drawing/2014/main" xmlns="" id="{7200CEE6-C489-4B18-BC65-012A3B1D09A1}"/>
              </a:ext>
            </a:extLst>
          </p:cNvPr>
          <p:cNvSpPr txBox="1">
            <a:spLocks noChangeArrowheads="1"/>
          </p:cNvSpPr>
          <p:nvPr/>
        </p:nvSpPr>
        <p:spPr>
          <a:xfrm>
            <a:off x="3733800" y="1828800"/>
            <a:ext cx="6705600" cy="838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4" name="Rectangle 13">
            <a:extLst>
              <a:ext uri="{FF2B5EF4-FFF2-40B4-BE49-F238E27FC236}">
                <a16:creationId xmlns:a16="http://schemas.microsoft.com/office/drawing/2014/main" xmlns="" id="{2B7806D3-7E00-4D15-890E-9BEB9A40EDC7}"/>
              </a:ext>
            </a:extLst>
          </p:cNvPr>
          <p:cNvSpPr/>
          <p:nvPr/>
        </p:nvSpPr>
        <p:spPr>
          <a:xfrm>
            <a:off x="2972337" y="2804029"/>
            <a:ext cx="8305800" cy="2308324"/>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rPr>
              <a:t>Ashwani Kumar Arora is currently working in the capacity of Appointed Actuary for Chola MS General Insurance, India. Prior to this, he has taken the Appointed Actuary role for Future Generali General Insurance, India. He has a total experience of 13 years in General Insurance spa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mn-cs"/>
              </a:rPr>
              <a:t>Ashwani is a fellow from Institute of Actuaries of India and Institute of Actuaries (UK) with specialization in GI. He has done Mathematics (Hons.) from Hansraj College, Delhi University.</a:t>
            </a:r>
          </a:p>
        </p:txBody>
      </p:sp>
      <p:sp>
        <p:nvSpPr>
          <p:cNvPr id="10" name="Rectangle 2"/>
          <p:cNvSpPr txBox="1">
            <a:spLocks noChangeArrowheads="1"/>
          </p:cNvSpPr>
          <p:nvPr/>
        </p:nvSpPr>
        <p:spPr>
          <a:xfrm>
            <a:off x="1905000" y="174639"/>
            <a:ext cx="7010400" cy="782638"/>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C00000"/>
                </a:solidFill>
                <a:effectLst/>
                <a:uLnTx/>
                <a:uFillTx/>
                <a:latin typeface="Arial"/>
                <a:ea typeface="+mj-ea"/>
                <a:cs typeface="+mj-cs"/>
              </a:rPr>
              <a:t>Moderator</a:t>
            </a:r>
            <a:endParaRPr kumimoji="0" lang="en-US" altLang="en-US" sz="1800" b="1" i="0" u="none" strike="noStrike" kern="0" cap="none" spc="0" normalizeH="0" baseline="0" noProof="0" dirty="0">
              <a:ln>
                <a:noFill/>
              </a:ln>
              <a:solidFill>
                <a:srgbClr val="C00000"/>
              </a:solidFill>
              <a:effectLst/>
              <a:uLnTx/>
              <a:uFillTx/>
              <a:latin typeface="Arial"/>
              <a:ea typeface="+mj-ea"/>
              <a:cs typeface="+mj-cs"/>
            </a:endParaRPr>
          </a:p>
        </p:txBody>
      </p:sp>
      <p:pic>
        <p:nvPicPr>
          <p:cNvPr id="6" name="Picture 5">
            <a:extLst>
              <a:ext uri="{FF2B5EF4-FFF2-40B4-BE49-F238E27FC236}">
                <a16:creationId xmlns:a16="http://schemas.microsoft.com/office/drawing/2014/main" xmlns="" id="{2E24165B-EBF0-49A1-8E81-75E90BCDE019}"/>
              </a:ext>
            </a:extLst>
          </p:cNvPr>
          <p:cNvPicPr>
            <a:picLocks noChangeAspect="1"/>
          </p:cNvPicPr>
          <p:nvPr/>
        </p:nvPicPr>
        <p:blipFill>
          <a:blip r:embed="rId6"/>
          <a:stretch>
            <a:fillRect/>
          </a:stretch>
        </p:blipFill>
        <p:spPr>
          <a:xfrm>
            <a:off x="1429471" y="1821758"/>
            <a:ext cx="1313729" cy="1590464"/>
          </a:xfrm>
          <a:prstGeom prst="rect">
            <a:avLst/>
          </a:prstGeom>
        </p:spPr>
      </p:pic>
    </p:spTree>
    <p:extLst>
      <p:ext uri="{BB962C8B-B14F-4D97-AF65-F5344CB8AC3E}">
        <p14:creationId xmlns:p14="http://schemas.microsoft.com/office/powerpoint/2010/main" val="33423369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2"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GB" sz="40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en-GB" sz="4000" dirty="0">
                <a:latin typeface="+mn-lt"/>
              </a:rPr>
              <a:t>Policy development – and Challenges</a:t>
            </a:r>
            <a:br>
              <a:rPr lang="en-GB" sz="4000" dirty="0">
                <a:latin typeface="+mn-lt"/>
              </a:rPr>
            </a:br>
            <a:endParaRPr lang="en-GB" sz="4000" dirty="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a:t>04</a:t>
            </a:r>
          </a:p>
        </p:txBody>
      </p:sp>
      <p:pic>
        <p:nvPicPr>
          <p:cNvPr id="6" name="Picture 5">
            <a:extLst>
              <a:ext uri="{FF2B5EF4-FFF2-40B4-BE49-F238E27FC236}">
                <a16:creationId xmlns:a16="http://schemas.microsoft.com/office/drawing/2014/main" xmlns="" id="{8577DD6B-DFA1-4060-AA00-AD46F7EA953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41156" y="5909270"/>
            <a:ext cx="755375" cy="760943"/>
          </a:xfrm>
          <a:prstGeom prst="rect">
            <a:avLst/>
          </a:prstGeom>
        </p:spPr>
      </p:pic>
    </p:spTree>
    <p:extLst>
      <p:ext uri="{BB962C8B-B14F-4D97-AF65-F5344CB8AC3E}">
        <p14:creationId xmlns:p14="http://schemas.microsoft.com/office/powerpoint/2010/main" val="19101791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F6ABE1E8-8ECA-43B1-AD1F-476A6CB4CC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6" name="think-cell Slide" r:id="rId5" imgW="473" imgH="476" progId="TCLayout.ActiveDocument.1">
                  <p:embed/>
                </p:oleObj>
              </mc:Choice>
              <mc:Fallback>
                <p:oleObj name="think-cell Slide" r:id="rId5" imgW="473" imgH="476" progId="TCLayout.ActiveDocument.1">
                  <p:embed/>
                  <p:pic>
                    <p:nvPicPr>
                      <p:cNvPr id="2" name="Object 1" hidden="1">
                        <a:extLst>
                          <a:ext uri="{FF2B5EF4-FFF2-40B4-BE49-F238E27FC236}">
                            <a16:creationId xmlns:a16="http://schemas.microsoft.com/office/drawing/2014/main" xmlns="" id="{F6ABE1E8-8ECA-43B1-AD1F-476A6CB4CC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4" name="Group 23">
            <a:extLst>
              <a:ext uri="{FF2B5EF4-FFF2-40B4-BE49-F238E27FC236}">
                <a16:creationId xmlns:a16="http://schemas.microsoft.com/office/drawing/2014/main" xmlns="" id="{B27C9CC3-655C-4135-8CF9-013341224D65}"/>
              </a:ext>
            </a:extLst>
          </p:cNvPr>
          <p:cNvGrpSpPr/>
          <p:nvPr/>
        </p:nvGrpSpPr>
        <p:grpSpPr>
          <a:xfrm>
            <a:off x="9122839" y="1519928"/>
            <a:ext cx="2537392" cy="3466950"/>
            <a:chOff x="8755442" y="2024846"/>
            <a:chExt cx="2920622" cy="3466950"/>
          </a:xfrm>
        </p:grpSpPr>
        <p:sp>
          <p:nvSpPr>
            <p:cNvPr id="71" name="TextBox 27"/>
            <p:cNvSpPr txBox="1"/>
            <p:nvPr/>
          </p:nvSpPr>
          <p:spPr>
            <a:xfrm>
              <a:off x="8755442" y="2024846"/>
              <a:ext cx="2920622" cy="400110"/>
            </a:xfrm>
            <a:prstGeom prst="rect">
              <a:avLst/>
            </a:prstGeom>
            <a:noFill/>
          </p:spPr>
          <p:txBody>
            <a:bodyPr wrap="square" l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0F4DBC"/>
                  </a:solidFill>
                  <a:effectLst/>
                  <a:uLnTx/>
                  <a:uFillTx/>
                  <a:latin typeface="SwissReSans Light" panose="020B0504020202020204" pitchFamily="34" charset="0"/>
                  <a:ea typeface="+mn-ea"/>
                  <a:cs typeface="+mn-cs"/>
                </a:rPr>
                <a:t>Overarching points:</a:t>
              </a:r>
            </a:p>
          </p:txBody>
        </p:sp>
        <p:sp>
          <p:nvSpPr>
            <p:cNvPr id="72" name="TextBox 28"/>
            <p:cNvSpPr txBox="1"/>
            <p:nvPr/>
          </p:nvSpPr>
          <p:spPr>
            <a:xfrm>
              <a:off x="8755443" y="2603826"/>
              <a:ext cx="2920620" cy="2887970"/>
            </a:xfrm>
            <a:prstGeom prst="rect">
              <a:avLst/>
            </a:prstGeom>
            <a:noFill/>
          </p:spPr>
          <p:txBody>
            <a:bodyPr wrap="square" lIns="0" rtlCol="0">
              <a:spAutoFit/>
            </a:bodyPr>
            <a:lstStyle/>
            <a:p>
              <a:pPr marL="214313" marR="0" lvl="0" indent="-214313" algn="l" defTabSz="685800" rtl="0" eaLnBrk="1" fontAlgn="auto" latinLnBrk="0" hangingPunct="1">
                <a:lnSpc>
                  <a:spcPct val="100000"/>
                </a:lnSpc>
                <a:spcBef>
                  <a:spcPts val="0"/>
                </a:spcBef>
                <a:spcAft>
                  <a:spcPts val="450"/>
                </a:spcAft>
                <a:buClr>
                  <a:srgbClr val="0F4DBC"/>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Principle based nature allows greater customization, but requires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increased interpretation</a:t>
              </a:r>
            </a:p>
            <a:p>
              <a:pPr marL="214313" marR="0" lvl="0" indent="-214313" algn="l" defTabSz="685800" rtl="0" eaLnBrk="1" fontAlgn="auto" latinLnBrk="0" hangingPunct="1">
                <a:lnSpc>
                  <a:spcPct val="100000"/>
                </a:lnSpc>
                <a:spcBef>
                  <a:spcPts val="0"/>
                </a:spcBef>
                <a:spcAft>
                  <a:spcPts val="450"/>
                </a:spcAft>
                <a:buClr>
                  <a:srgbClr val="0F4DBC"/>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Important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strategic objectives </a:t>
              </a: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related to IFRS conversion (incl.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comparability</a:t>
              </a: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 with peers and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steering</a:t>
              </a: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 the business)</a:t>
              </a:r>
            </a:p>
            <a:p>
              <a:pPr marL="214313" marR="0" lvl="0" indent="-214313" algn="l" defTabSz="685800" rtl="0" eaLnBrk="1" fontAlgn="auto" latinLnBrk="0" hangingPunct="1">
                <a:lnSpc>
                  <a:spcPct val="100000"/>
                </a:lnSpc>
                <a:spcBef>
                  <a:spcPts val="0"/>
                </a:spcBef>
                <a:spcAft>
                  <a:spcPts val="450"/>
                </a:spcAft>
                <a:buClr>
                  <a:srgbClr val="0F4DBC"/>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Appropriate consideration of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operational implementation aspects</a:t>
              </a: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 (Data, System, Process, People)</a:t>
              </a:r>
            </a:p>
            <a:p>
              <a:pPr marL="214313" marR="0" lvl="0" indent="-214313" algn="l" defTabSz="685800" rtl="0" eaLnBrk="1" fontAlgn="auto" latinLnBrk="0" hangingPunct="1">
                <a:lnSpc>
                  <a:spcPct val="100000"/>
                </a:lnSpc>
                <a:spcBef>
                  <a:spcPts val="0"/>
                </a:spcBef>
                <a:spcAft>
                  <a:spcPts val="450"/>
                </a:spcAft>
                <a:buClr>
                  <a:srgbClr val="0F4DBC"/>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Crucial link to IFRS 9 –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ALM considerations</a:t>
              </a:r>
            </a:p>
            <a:p>
              <a:pPr marL="214313" marR="0" lvl="0" indent="-214313" algn="l" defTabSz="685800" rtl="0" eaLnBrk="1" fontAlgn="auto" latinLnBrk="0" hangingPunct="1">
                <a:lnSpc>
                  <a:spcPct val="100000"/>
                </a:lnSpc>
                <a:spcBef>
                  <a:spcPts val="0"/>
                </a:spcBef>
                <a:spcAft>
                  <a:spcPts val="450"/>
                </a:spcAft>
                <a:buClr>
                  <a:srgbClr val="0F4DBC"/>
                </a:buClr>
                <a:buSzTx/>
                <a:buFont typeface="Wingdings" panose="05000000000000000000" pitchFamily="2" charset="2"/>
                <a:buChar char="§"/>
                <a:tabLst/>
                <a:defRPr/>
              </a:pP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Close </a:t>
              </a:r>
              <a:r>
                <a:rPr kumimoji="0" lang="en-GB" sz="1100" b="1"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collaboration across Finance and BM </a:t>
              </a:r>
              <a:r>
                <a:rPr kumimoji="0" lang="en-GB" sz="1100" b="0" i="0" u="none" strike="noStrike" kern="1200" cap="none" spc="0" normalizeH="0" baseline="0" noProof="0" dirty="0">
                  <a:ln>
                    <a:noFill/>
                  </a:ln>
                  <a:solidFill>
                    <a:srgbClr val="283E36"/>
                  </a:solidFill>
                  <a:effectLst/>
                  <a:uLnTx/>
                  <a:uFillTx/>
                  <a:latin typeface="SwissReSans Light" panose="020B0504020202020204" pitchFamily="34" charset="0"/>
                  <a:ea typeface="+mn-ea"/>
                  <a:cs typeface="+mn-cs"/>
                </a:rPr>
                <a:t>confirmed vital</a:t>
              </a:r>
            </a:p>
          </p:txBody>
        </p:sp>
      </p:grpSp>
      <p:cxnSp>
        <p:nvCxnSpPr>
          <p:cNvPr id="107" name="Straight Connector 106">
            <a:extLst>
              <a:ext uri="{FF2B5EF4-FFF2-40B4-BE49-F238E27FC236}">
                <a16:creationId xmlns:a16="http://schemas.microsoft.com/office/drawing/2014/main" xmlns="" id="{58E396B4-82DB-41F0-BD9F-BD5FBA8A6BF7}"/>
              </a:ext>
            </a:extLst>
          </p:cNvPr>
          <p:cNvCxnSpPr>
            <a:cxnSpLocks/>
          </p:cNvCxnSpPr>
          <p:nvPr/>
        </p:nvCxnSpPr>
        <p:spPr>
          <a:xfrm flipH="1">
            <a:off x="4561997" y="5023537"/>
            <a:ext cx="5788" cy="208190"/>
          </a:xfrm>
          <a:prstGeom prst="line">
            <a:avLst/>
          </a:prstGeom>
        </p:spPr>
        <p:style>
          <a:lnRef idx="1">
            <a:schemeClr val="accent1"/>
          </a:lnRef>
          <a:fillRef idx="0">
            <a:schemeClr val="accent1"/>
          </a:fillRef>
          <a:effectRef idx="0">
            <a:schemeClr val="accent1"/>
          </a:effectRef>
          <a:fontRef idx="minor">
            <a:schemeClr val="tx1"/>
          </a:fontRef>
        </p:style>
      </p:cxnSp>
      <p:sp>
        <p:nvSpPr>
          <p:cNvPr id="115" name="Title 2">
            <a:extLst>
              <a:ext uri="{FF2B5EF4-FFF2-40B4-BE49-F238E27FC236}">
                <a16:creationId xmlns:a16="http://schemas.microsoft.com/office/drawing/2014/main" xmlns="" id="{2417771A-504D-46D1-8BF2-2D58A0DC2280}"/>
              </a:ext>
            </a:extLst>
          </p:cNvPr>
          <p:cNvSpPr txBox="1">
            <a:spLocks/>
          </p:cNvSpPr>
          <p:nvPr/>
        </p:nvSpPr>
        <p:spPr bwMode="black">
          <a:xfrm>
            <a:off x="856636" y="1044133"/>
            <a:ext cx="10655299" cy="99093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dirty="0">
                <a:solidFill>
                  <a:srgbClr val="0F4DBC"/>
                </a:solidFill>
              </a:rPr>
              <a:t>IFRS policy recommendation development</a:t>
            </a:r>
            <a: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br>
            <a:r>
              <a:rPr lang="en-US" sz="1500" dirty="0">
                <a:solidFill>
                  <a:srgbClr val="0F4DBC"/>
                </a:solidFill>
                <a:latin typeface="SwissReSans Light" panose="020B0504020202020204" pitchFamily="34" charset="0"/>
              </a:rPr>
              <a:t>Important to have an internal committee to advise on Policies, and explain to Regulators and Auditors</a:t>
            </a:r>
          </a:p>
          <a:p>
            <a:pPr lvl="0"/>
            <a:r>
              <a:rPr lang="en-US" sz="1500" dirty="0">
                <a:solidFill>
                  <a:srgbClr val="0F4DBC"/>
                </a:solidFill>
                <a:latin typeface="SwissReSans Light" panose="020B0504020202020204" pitchFamily="34" charset="0"/>
              </a:rPr>
              <a:t>crucial to link Actuarial Reserving and Pricing, Finance, Underwriters and Legal teams</a:t>
            </a:r>
          </a:p>
          <a:p>
            <a:pPr lvl="0"/>
            <a: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endParaRPr>
          </a:p>
        </p:txBody>
      </p:sp>
      <p:sp>
        <p:nvSpPr>
          <p:cNvPr id="116" name="Slide Number Placeholder 7">
            <a:extLst>
              <a:ext uri="{FF2B5EF4-FFF2-40B4-BE49-F238E27FC236}">
                <a16:creationId xmlns:a16="http://schemas.microsoft.com/office/drawing/2014/main" xmlns="" id="{83D8E639-03E8-4AF8-8547-397DA640A4C5}"/>
              </a:ext>
            </a:extLst>
          </p:cNvPr>
          <p:cNvSpPr txBox="1">
            <a:spLocks/>
          </p:cNvSpPr>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9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118" name="Picture 117">
            <a:extLst>
              <a:ext uri="{FF2B5EF4-FFF2-40B4-BE49-F238E27FC236}">
                <a16:creationId xmlns:a16="http://schemas.microsoft.com/office/drawing/2014/main" xmlns="" id="{422B80AD-78B4-4EDF-B10C-27DA6E31F62C}"/>
              </a:ext>
            </a:extLst>
          </p:cNvPr>
          <p:cNvPicPr>
            <a:picLocks noChangeAspect="1"/>
          </p:cNvPicPr>
          <p:nvPr>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4" y="6456611"/>
            <a:ext cx="924431" cy="217513"/>
          </a:xfrm>
          <a:prstGeom prst="rect">
            <a:avLst/>
          </a:prstGeom>
        </p:spPr>
      </p:pic>
      <p:pic>
        <p:nvPicPr>
          <p:cNvPr id="106" name="Picture 105">
            <a:extLst>
              <a:ext uri="{FF2B5EF4-FFF2-40B4-BE49-F238E27FC236}">
                <a16:creationId xmlns:a16="http://schemas.microsoft.com/office/drawing/2014/main" xmlns="" id="{FCA559BF-BBE4-4711-981B-74009367628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02988" y="225051"/>
            <a:ext cx="714483" cy="719749"/>
          </a:xfrm>
          <a:prstGeom prst="rect">
            <a:avLst/>
          </a:prstGeom>
        </p:spPr>
      </p:pic>
      <p:grpSp>
        <p:nvGrpSpPr>
          <p:cNvPr id="114" name="Group 113">
            <a:extLst>
              <a:ext uri="{FF2B5EF4-FFF2-40B4-BE49-F238E27FC236}">
                <a16:creationId xmlns:a16="http://schemas.microsoft.com/office/drawing/2014/main" xmlns="" id="{78814317-5313-4D3B-8107-C501EA84DC32}"/>
              </a:ext>
            </a:extLst>
          </p:cNvPr>
          <p:cNvGrpSpPr/>
          <p:nvPr/>
        </p:nvGrpSpPr>
        <p:grpSpPr>
          <a:xfrm>
            <a:off x="701272" y="2061776"/>
            <a:ext cx="8221748" cy="3970738"/>
            <a:chOff x="1858598" y="2079469"/>
            <a:chExt cx="8037244" cy="2987094"/>
          </a:xfrm>
        </p:grpSpPr>
        <p:sp>
          <p:nvSpPr>
            <p:cNvPr id="117" name="Hexagon 116">
              <a:extLst>
                <a:ext uri="{FF2B5EF4-FFF2-40B4-BE49-F238E27FC236}">
                  <a16:creationId xmlns:a16="http://schemas.microsoft.com/office/drawing/2014/main" xmlns="" id="{982BA397-521B-438E-ADF7-D000B0D6DE00}"/>
                </a:ext>
              </a:extLst>
            </p:cNvPr>
            <p:cNvSpPr>
              <a:spLocks noChangeAspect="1"/>
            </p:cNvSpPr>
            <p:nvPr/>
          </p:nvSpPr>
          <p:spPr>
            <a:xfrm>
              <a:off x="1858598" y="2825262"/>
              <a:ext cx="1684080" cy="1596150"/>
            </a:xfrm>
            <a:prstGeom prst="hexagon">
              <a:avLst/>
            </a:prstGeom>
            <a:solidFill>
              <a:srgbClr val="761092"/>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SwissReSans Light"/>
                  <a:ea typeface="+mn-ea"/>
                  <a:cs typeface="+mn-cs"/>
                </a:rPr>
                <a:t>Level of aggregation</a:t>
              </a:r>
            </a:p>
          </p:txBody>
        </p:sp>
        <p:grpSp>
          <p:nvGrpSpPr>
            <p:cNvPr id="119" name="Group 118">
              <a:extLst>
                <a:ext uri="{FF2B5EF4-FFF2-40B4-BE49-F238E27FC236}">
                  <a16:creationId xmlns:a16="http://schemas.microsoft.com/office/drawing/2014/main" xmlns="" id="{3DA588AF-67F5-40FA-B9D0-5EE2D3583B5F}"/>
                </a:ext>
              </a:extLst>
            </p:cNvPr>
            <p:cNvGrpSpPr>
              <a:grpSpLocks noChangeAspect="1"/>
            </p:cNvGrpSpPr>
            <p:nvPr/>
          </p:nvGrpSpPr>
          <p:grpSpPr>
            <a:xfrm>
              <a:off x="3253192" y="2609334"/>
              <a:ext cx="1049830" cy="1995559"/>
              <a:chOff x="2073378" y="2329551"/>
              <a:chExt cx="1395694" cy="2652993"/>
            </a:xfrm>
          </p:grpSpPr>
          <p:sp>
            <p:nvSpPr>
              <p:cNvPr id="133" name="Hexagon 132">
                <a:extLst>
                  <a:ext uri="{FF2B5EF4-FFF2-40B4-BE49-F238E27FC236}">
                    <a16:creationId xmlns:a16="http://schemas.microsoft.com/office/drawing/2014/main" xmlns="" id="{8987F30C-996E-48AD-900A-2F8EAD131F85}"/>
                  </a:ext>
                </a:extLst>
              </p:cNvPr>
              <p:cNvSpPr/>
              <p:nvPr/>
            </p:nvSpPr>
            <p:spPr>
              <a:xfrm>
                <a:off x="2073378" y="2329551"/>
                <a:ext cx="1387943" cy="1315473"/>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Contractual service margin (CSM)</a:t>
                </a:r>
              </a:p>
            </p:txBody>
          </p:sp>
          <p:sp>
            <p:nvSpPr>
              <p:cNvPr id="134" name="Hexagon 133">
                <a:extLst>
                  <a:ext uri="{FF2B5EF4-FFF2-40B4-BE49-F238E27FC236}">
                    <a16:creationId xmlns:a16="http://schemas.microsoft.com/office/drawing/2014/main" xmlns="" id="{F836B11E-468D-49E2-821A-12B59693930C}"/>
                  </a:ext>
                </a:extLst>
              </p:cNvPr>
              <p:cNvSpPr/>
              <p:nvPr/>
            </p:nvSpPr>
            <p:spPr>
              <a:xfrm>
                <a:off x="2081130" y="3667069"/>
                <a:ext cx="1387942" cy="1315475"/>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Discounting</a:t>
                </a:r>
              </a:p>
            </p:txBody>
          </p:sp>
        </p:grpSp>
        <p:sp>
          <p:nvSpPr>
            <p:cNvPr id="120" name="Hexagon 119">
              <a:extLst>
                <a:ext uri="{FF2B5EF4-FFF2-40B4-BE49-F238E27FC236}">
                  <a16:creationId xmlns:a16="http://schemas.microsoft.com/office/drawing/2014/main" xmlns="" id="{3A77D68E-35BC-4572-987C-5556FCB98B35}"/>
                </a:ext>
              </a:extLst>
            </p:cNvPr>
            <p:cNvSpPr>
              <a:spLocks noChangeAspect="1"/>
            </p:cNvSpPr>
            <p:nvPr/>
          </p:nvSpPr>
          <p:spPr>
            <a:xfrm>
              <a:off x="6481866" y="2582508"/>
              <a:ext cx="1044000" cy="989491"/>
            </a:xfrm>
            <a:prstGeom prst="hexagon">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wissReSans Light"/>
                  <a:ea typeface="+mn-ea"/>
                  <a:cs typeface="+mn-cs"/>
                </a:rPr>
                <a:t>Financial statement presentation</a:t>
              </a:r>
            </a:p>
          </p:txBody>
        </p:sp>
        <p:sp>
          <p:nvSpPr>
            <p:cNvPr id="121" name="Hexagon 120">
              <a:extLst>
                <a:ext uri="{FF2B5EF4-FFF2-40B4-BE49-F238E27FC236}">
                  <a16:creationId xmlns:a16="http://schemas.microsoft.com/office/drawing/2014/main" xmlns="" id="{820C0634-9F57-443A-8143-724C477FFD4B}"/>
                </a:ext>
              </a:extLst>
            </p:cNvPr>
            <p:cNvSpPr>
              <a:spLocks noChangeAspect="1"/>
            </p:cNvSpPr>
            <p:nvPr/>
          </p:nvSpPr>
          <p:spPr>
            <a:xfrm>
              <a:off x="4058061" y="3112009"/>
              <a:ext cx="1044000" cy="989491"/>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wissReSans Light"/>
                  <a:ea typeface="+mn-ea"/>
                  <a:cs typeface="+mn-cs"/>
                </a:rPr>
                <a:t>Significant insurance risk &amp; separation of components</a:t>
              </a:r>
            </a:p>
          </p:txBody>
        </p:sp>
        <p:sp>
          <p:nvSpPr>
            <p:cNvPr id="122" name="Hexagon 121">
              <a:extLst>
                <a:ext uri="{FF2B5EF4-FFF2-40B4-BE49-F238E27FC236}">
                  <a16:creationId xmlns:a16="http://schemas.microsoft.com/office/drawing/2014/main" xmlns="" id="{E213EFC0-B4E7-49D6-8941-6450040336AF}"/>
                </a:ext>
              </a:extLst>
            </p:cNvPr>
            <p:cNvSpPr>
              <a:spLocks noChangeAspect="1"/>
            </p:cNvSpPr>
            <p:nvPr/>
          </p:nvSpPr>
          <p:spPr>
            <a:xfrm>
              <a:off x="7281816" y="3087230"/>
              <a:ext cx="1044000" cy="989491"/>
            </a:xfrm>
            <a:prstGeom prst="hexagon">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Onerous contracts</a:t>
              </a:r>
            </a:p>
          </p:txBody>
        </p:sp>
        <p:sp>
          <p:nvSpPr>
            <p:cNvPr id="123" name="Hexagon 122">
              <a:extLst>
                <a:ext uri="{FF2B5EF4-FFF2-40B4-BE49-F238E27FC236}">
                  <a16:creationId xmlns:a16="http://schemas.microsoft.com/office/drawing/2014/main" xmlns="" id="{4E02A607-A745-443E-AA48-91AC53A2F9F1}"/>
                </a:ext>
              </a:extLst>
            </p:cNvPr>
            <p:cNvSpPr>
              <a:spLocks noChangeAspect="1"/>
            </p:cNvSpPr>
            <p:nvPr/>
          </p:nvSpPr>
          <p:spPr>
            <a:xfrm>
              <a:off x="6471350" y="3579726"/>
              <a:ext cx="1044000" cy="989491"/>
            </a:xfrm>
            <a:prstGeom prst="hexagon">
              <a:avLst/>
            </a:prstGeom>
            <a:solidFill>
              <a:srgbClr val="AD70BE"/>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Transition</a:t>
              </a:r>
            </a:p>
          </p:txBody>
        </p:sp>
        <p:sp>
          <p:nvSpPr>
            <p:cNvPr id="124" name="Hexagon 123">
              <a:extLst>
                <a:ext uri="{FF2B5EF4-FFF2-40B4-BE49-F238E27FC236}">
                  <a16:creationId xmlns:a16="http://schemas.microsoft.com/office/drawing/2014/main" xmlns="" id="{4C66FC61-E74C-4CCA-A85C-26D5E37D247F}"/>
                </a:ext>
              </a:extLst>
            </p:cNvPr>
            <p:cNvSpPr>
              <a:spLocks noChangeAspect="1"/>
            </p:cNvSpPr>
            <p:nvPr/>
          </p:nvSpPr>
          <p:spPr>
            <a:xfrm>
              <a:off x="8062026" y="2613835"/>
              <a:ext cx="1044000" cy="989491"/>
            </a:xfrm>
            <a:prstGeom prst="hexagon">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Non-Distinct Investment Components</a:t>
              </a:r>
            </a:p>
          </p:txBody>
        </p:sp>
        <p:grpSp>
          <p:nvGrpSpPr>
            <p:cNvPr id="125" name="Group 124">
              <a:extLst>
                <a:ext uri="{FF2B5EF4-FFF2-40B4-BE49-F238E27FC236}">
                  <a16:creationId xmlns:a16="http://schemas.microsoft.com/office/drawing/2014/main" xmlns="" id="{75693BCA-161A-45E4-9980-200B1738932A}"/>
                </a:ext>
              </a:extLst>
            </p:cNvPr>
            <p:cNvGrpSpPr>
              <a:grpSpLocks noChangeAspect="1"/>
            </p:cNvGrpSpPr>
            <p:nvPr/>
          </p:nvGrpSpPr>
          <p:grpSpPr>
            <a:xfrm>
              <a:off x="4854400" y="2588880"/>
              <a:ext cx="1061838" cy="1979300"/>
              <a:chOff x="4132905" y="2329119"/>
              <a:chExt cx="1411657" cy="2631378"/>
            </a:xfrm>
          </p:grpSpPr>
          <p:sp>
            <p:nvSpPr>
              <p:cNvPr id="131" name="Hexagon 130">
                <a:extLst>
                  <a:ext uri="{FF2B5EF4-FFF2-40B4-BE49-F238E27FC236}">
                    <a16:creationId xmlns:a16="http://schemas.microsoft.com/office/drawing/2014/main" xmlns="" id="{2C2DDF2A-66FA-48C0-8A29-DC8BF22D1D6B}"/>
                  </a:ext>
                </a:extLst>
              </p:cNvPr>
              <p:cNvSpPr/>
              <p:nvPr/>
            </p:nvSpPr>
            <p:spPr>
              <a:xfrm>
                <a:off x="4132905" y="2329119"/>
                <a:ext cx="1387943" cy="1315472"/>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Cash Flows</a:t>
                </a:r>
              </a:p>
            </p:txBody>
          </p:sp>
          <p:sp>
            <p:nvSpPr>
              <p:cNvPr id="132" name="Hexagon 131">
                <a:extLst>
                  <a:ext uri="{FF2B5EF4-FFF2-40B4-BE49-F238E27FC236}">
                    <a16:creationId xmlns:a16="http://schemas.microsoft.com/office/drawing/2014/main" xmlns="" id="{768D59FC-1C0A-4F32-92BA-32C2B4BD00B4}"/>
                  </a:ext>
                </a:extLst>
              </p:cNvPr>
              <p:cNvSpPr/>
              <p:nvPr/>
            </p:nvSpPr>
            <p:spPr>
              <a:xfrm>
                <a:off x="4156619" y="3645024"/>
                <a:ext cx="1387943" cy="1315473"/>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Contract boundaries</a:t>
                </a:r>
              </a:p>
            </p:txBody>
          </p:sp>
        </p:grpSp>
        <p:sp>
          <p:nvSpPr>
            <p:cNvPr id="126" name="Hexagon 125">
              <a:extLst>
                <a:ext uri="{FF2B5EF4-FFF2-40B4-BE49-F238E27FC236}">
                  <a16:creationId xmlns:a16="http://schemas.microsoft.com/office/drawing/2014/main" xmlns="" id="{E52AE1AD-26ED-43A0-8728-B19CAC48A036}"/>
                </a:ext>
              </a:extLst>
            </p:cNvPr>
            <p:cNvSpPr>
              <a:spLocks noChangeAspect="1"/>
            </p:cNvSpPr>
            <p:nvPr/>
          </p:nvSpPr>
          <p:spPr>
            <a:xfrm>
              <a:off x="8851842" y="3105609"/>
              <a:ext cx="1044000" cy="989491"/>
            </a:xfrm>
            <a:prstGeom prst="hexagon">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Others</a:t>
              </a:r>
            </a:p>
          </p:txBody>
        </p:sp>
        <p:sp>
          <p:nvSpPr>
            <p:cNvPr id="127" name="Hexagon 126">
              <a:extLst>
                <a:ext uri="{FF2B5EF4-FFF2-40B4-BE49-F238E27FC236}">
                  <a16:creationId xmlns:a16="http://schemas.microsoft.com/office/drawing/2014/main" xmlns="" id="{B1B7EF8F-49CD-4AC0-B398-CAF42A92283C}"/>
                </a:ext>
              </a:extLst>
            </p:cNvPr>
            <p:cNvSpPr>
              <a:spLocks noChangeAspect="1"/>
            </p:cNvSpPr>
            <p:nvPr/>
          </p:nvSpPr>
          <p:spPr>
            <a:xfrm>
              <a:off x="5671400" y="2079469"/>
              <a:ext cx="1044000" cy="989491"/>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Reinsurance held</a:t>
              </a:r>
            </a:p>
          </p:txBody>
        </p:sp>
        <p:sp>
          <p:nvSpPr>
            <p:cNvPr id="128" name="Hexagon 127">
              <a:extLst>
                <a:ext uri="{FF2B5EF4-FFF2-40B4-BE49-F238E27FC236}">
                  <a16:creationId xmlns:a16="http://schemas.microsoft.com/office/drawing/2014/main" xmlns="" id="{67AFDC76-D3A9-453F-B602-64B549328955}"/>
                </a:ext>
              </a:extLst>
            </p:cNvPr>
            <p:cNvSpPr>
              <a:spLocks noChangeAspect="1"/>
            </p:cNvSpPr>
            <p:nvPr/>
          </p:nvSpPr>
          <p:spPr>
            <a:xfrm>
              <a:off x="8070906" y="3598823"/>
              <a:ext cx="1044000" cy="989491"/>
            </a:xfrm>
            <a:prstGeom prst="hexagon">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Disclosures</a:t>
              </a:r>
            </a:p>
          </p:txBody>
        </p:sp>
        <p:sp>
          <p:nvSpPr>
            <p:cNvPr id="129" name="Hexagon 128">
              <a:extLst>
                <a:ext uri="{FF2B5EF4-FFF2-40B4-BE49-F238E27FC236}">
                  <a16:creationId xmlns:a16="http://schemas.microsoft.com/office/drawing/2014/main" xmlns="" id="{CC75D84D-1D7F-4966-9F24-99277D35512D}"/>
                </a:ext>
              </a:extLst>
            </p:cNvPr>
            <p:cNvSpPr>
              <a:spLocks noChangeAspect="1"/>
            </p:cNvSpPr>
            <p:nvPr/>
          </p:nvSpPr>
          <p:spPr>
            <a:xfrm>
              <a:off x="5671400" y="3087230"/>
              <a:ext cx="1044000" cy="989491"/>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SwissReSans Light"/>
                  <a:ea typeface="+mn-ea"/>
                  <a:cs typeface="+mn-cs"/>
                </a:rPr>
                <a:t>Business shifts</a:t>
              </a:r>
            </a:p>
          </p:txBody>
        </p:sp>
        <p:sp>
          <p:nvSpPr>
            <p:cNvPr id="130" name="Hexagon 129">
              <a:extLst>
                <a:ext uri="{FF2B5EF4-FFF2-40B4-BE49-F238E27FC236}">
                  <a16:creationId xmlns:a16="http://schemas.microsoft.com/office/drawing/2014/main" xmlns="" id="{4882AF46-1DBF-4173-AC56-C5B14FDB4B75}"/>
                </a:ext>
              </a:extLst>
            </p:cNvPr>
            <p:cNvSpPr>
              <a:spLocks noChangeAspect="1"/>
            </p:cNvSpPr>
            <p:nvPr/>
          </p:nvSpPr>
          <p:spPr>
            <a:xfrm>
              <a:off x="5671400" y="4077072"/>
              <a:ext cx="1044000" cy="989491"/>
            </a:xfrm>
            <a:prstGeom prst="hexagon">
              <a:avLst/>
            </a:prstGeom>
            <a:solidFill>
              <a:schemeClr val="accent5"/>
            </a:solidFill>
            <a:ln>
              <a:noFill/>
            </a:ln>
          </p:spPr>
          <p:style>
            <a:lnRef idx="3">
              <a:schemeClr val="lt1"/>
            </a:lnRef>
            <a:fillRef idx="1">
              <a:schemeClr val="accent4"/>
            </a:fillRef>
            <a:effectRef idx="1">
              <a:schemeClr val="accent4"/>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SwissReSans Light"/>
                  <a:ea typeface="+mn-ea"/>
                  <a:cs typeface="+mn-cs"/>
                </a:rPr>
                <a:t>Risk Adjustment</a:t>
              </a:r>
            </a:p>
          </p:txBody>
        </p:sp>
      </p:grpSp>
    </p:spTree>
    <p:extLst>
      <p:ext uri="{BB962C8B-B14F-4D97-AF65-F5344CB8AC3E}">
        <p14:creationId xmlns:p14="http://schemas.microsoft.com/office/powerpoint/2010/main" val="6174495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6580"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SwissReSans" panose="020B0604020202020204" pitchFamily="34" charset="0"/>
              <a:ea typeface="+mn-ea"/>
              <a:cs typeface="+mn-cs"/>
              <a:sym typeface="SwissReSans" panose="020B0604020202020204" pitchFamily="34" charset="0"/>
            </a:endParaRPr>
          </a:p>
        </p:txBody>
      </p:sp>
      <p:sp>
        <p:nvSpPr>
          <p:cNvPr id="2" name="Title 1"/>
          <p:cNvSpPr>
            <a:spLocks noGrp="1"/>
          </p:cNvSpPr>
          <p:nvPr>
            <p:ph type="title" idx="4294967295"/>
          </p:nvPr>
        </p:nvSpPr>
        <p:spPr>
          <a:xfrm>
            <a:off x="695325" y="1593601"/>
            <a:ext cx="9913938" cy="1330325"/>
          </a:xfrm>
        </p:spPr>
        <p:txBody>
          <a:bodyPr/>
          <a:lstStyle/>
          <a:p>
            <a:r>
              <a:rPr lang="en-GB" sz="2800" dirty="0">
                <a:solidFill>
                  <a:schemeClr val="bg1"/>
                </a:solidFill>
              </a:rPr>
              <a:t>Level of Aggregation and Reinsurance held</a:t>
            </a:r>
          </a:p>
        </p:txBody>
      </p:sp>
      <p:pic>
        <p:nvPicPr>
          <p:cNvPr id="23" name="Picture 22">
            <a:extLst>
              <a:ext uri="{FF2B5EF4-FFF2-40B4-BE49-F238E27FC236}">
                <a16:creationId xmlns:a16="http://schemas.microsoft.com/office/drawing/2014/main" xmlns="" id="{6EFFF2D6-3A38-41C3-B59F-82E471E31F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88234" y="5714756"/>
            <a:ext cx="956858" cy="963911"/>
          </a:xfrm>
          <a:prstGeom prst="rect">
            <a:avLst/>
          </a:prstGeom>
        </p:spPr>
      </p:pic>
    </p:spTree>
    <p:extLst>
      <p:ext uri="{BB962C8B-B14F-4D97-AF65-F5344CB8AC3E}">
        <p14:creationId xmlns:p14="http://schemas.microsoft.com/office/powerpoint/2010/main" val="14747744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xmlns="" id="{20616CB8-0573-489D-B3BF-E3F6906B22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4"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xmlns="" id="{20616CB8-0573-489D-B3BF-E3F6906B22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2545585C-44B6-4C26-AE16-8B52F7EA1DF8}"/>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4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16" name="Rectangle 15">
            <a:extLst>
              <a:ext uri="{FF2B5EF4-FFF2-40B4-BE49-F238E27FC236}">
                <a16:creationId xmlns:a16="http://schemas.microsoft.com/office/drawing/2014/main" xmlns="" id="{BA8609B6-1979-44C1-9537-AEAA879BCA5C}"/>
              </a:ext>
            </a:extLst>
          </p:cNvPr>
          <p:cNvSpPr/>
          <p:nvPr/>
        </p:nvSpPr>
        <p:spPr>
          <a:xfrm>
            <a:off x="5733802" y="1883470"/>
            <a:ext cx="6048672" cy="439248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10" name="Rectangle 9">
            <a:extLst>
              <a:ext uri="{FF2B5EF4-FFF2-40B4-BE49-F238E27FC236}">
                <a16:creationId xmlns:a16="http://schemas.microsoft.com/office/drawing/2014/main" xmlns="" id="{560E0108-CADD-4D8B-A838-7C7CA16C300A}"/>
              </a:ext>
            </a:extLst>
          </p:cNvPr>
          <p:cNvSpPr/>
          <p:nvPr/>
        </p:nvSpPr>
        <p:spPr>
          <a:xfrm>
            <a:off x="5847572" y="1595313"/>
            <a:ext cx="6048672" cy="2987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3" name="Slide Number Placeholder 2">
            <a:extLst>
              <a:ext uri="{FF2B5EF4-FFF2-40B4-BE49-F238E27FC236}">
                <a16:creationId xmlns:a16="http://schemas.microsoft.com/office/drawing/2014/main" xmlns="" id="{C8BAF4C1-32A9-4267-A51D-ECAFC31BB3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sp>
        <p:nvSpPr>
          <p:cNvPr id="4" name="Title 3">
            <a:extLst>
              <a:ext uri="{FF2B5EF4-FFF2-40B4-BE49-F238E27FC236}">
                <a16:creationId xmlns:a16="http://schemas.microsoft.com/office/drawing/2014/main" xmlns="" id="{94353E94-1FC3-4EC9-87B6-EBE2790D29A0}"/>
              </a:ext>
            </a:extLst>
          </p:cNvPr>
          <p:cNvSpPr>
            <a:spLocks noGrp="1"/>
          </p:cNvSpPr>
          <p:nvPr>
            <p:ph type="title"/>
          </p:nvPr>
        </p:nvSpPr>
        <p:spPr/>
        <p:txBody>
          <a:bodyPr/>
          <a:lstStyle/>
          <a:p>
            <a:r>
              <a:rPr lang="en-GB"/>
              <a:t>Level of aggregation</a:t>
            </a:r>
          </a:p>
        </p:txBody>
      </p:sp>
      <p:sp>
        <p:nvSpPr>
          <p:cNvPr id="17" name="Title 2">
            <a:extLst>
              <a:ext uri="{FF2B5EF4-FFF2-40B4-BE49-F238E27FC236}">
                <a16:creationId xmlns:a16="http://schemas.microsoft.com/office/drawing/2014/main" xmlns="" id="{4278E7C6-F90B-4254-A992-6BE2C3C621BC}"/>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a:solidFill>
                  <a:srgbClr val="0F4DBC"/>
                </a:solidFill>
              </a:rPr>
              <a:t>Level of Aggregation</a:t>
            </a:r>
            <a:endParaRPr lang="en-US" sz="1500">
              <a:solidFill>
                <a:srgbClr val="0F4DBC"/>
              </a:solidFill>
              <a:latin typeface="SwissReSans Light" panose="020B0504020202020204" pitchFamily="34" charset="0"/>
            </a:endParaRPr>
          </a:p>
          <a:p>
            <a:pPr lvl="0"/>
            <a: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endParaRPr>
          </a:p>
        </p:txBody>
      </p:sp>
      <p:sp>
        <p:nvSpPr>
          <p:cNvPr id="20" name="Text Placeholder 5">
            <a:extLst>
              <a:ext uri="{FF2B5EF4-FFF2-40B4-BE49-F238E27FC236}">
                <a16:creationId xmlns:a16="http://schemas.microsoft.com/office/drawing/2014/main" xmlns="" id="{C2E671CE-7A41-4F9F-8EB8-A9C36660073F}"/>
              </a:ext>
            </a:extLst>
          </p:cNvPr>
          <p:cNvSpPr txBox="1">
            <a:spLocks/>
          </p:cNvSpPr>
          <p:nvPr/>
        </p:nvSpPr>
        <p:spPr bwMode="black">
          <a:xfrm>
            <a:off x="717304" y="1770860"/>
            <a:ext cx="5400674" cy="4234214"/>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dirty="0">
                <a:latin typeface="SwissReSans Light" panose="020B0504020202020204" pitchFamily="34" charset="0"/>
              </a:rPr>
              <a:t>The IASB's decisions about level of aggregation in IFRS 17 were driven by considerations about the </a:t>
            </a:r>
            <a:r>
              <a:rPr lang="en-GB" sz="1400" b="1" dirty="0">
                <a:latin typeface="SwissReSans Light" panose="020B0504020202020204" pitchFamily="34" charset="0"/>
              </a:rPr>
              <a:t>timing of recognising profits and losses on insurance contracts</a:t>
            </a:r>
            <a:r>
              <a:rPr lang="en-GB" sz="1400" dirty="0">
                <a:latin typeface="SwissReSans Light" panose="020B0504020202020204" pitchFamily="34" charset="0"/>
              </a:rPr>
              <a:t>. </a:t>
            </a:r>
          </a:p>
          <a:p>
            <a:endParaRPr lang="en-GB" sz="1400" dirty="0">
              <a:latin typeface="SwissReSans Light" panose="020B0504020202020204" pitchFamily="34" charset="0"/>
            </a:endParaRPr>
          </a:p>
          <a:p>
            <a:r>
              <a:rPr lang="en-GB" sz="1400" dirty="0">
                <a:latin typeface="SwissReSans Light" panose="020B0504020202020204" pitchFamily="34" charset="0"/>
              </a:rPr>
              <a:t>The </a:t>
            </a:r>
            <a:r>
              <a:rPr lang="en-GB" sz="1400" b="1" dirty="0">
                <a:latin typeface="SwissReSans Light" panose="020B0504020202020204" pitchFamily="34" charset="0"/>
              </a:rPr>
              <a:t>accounting result depends on the level of aggregation</a:t>
            </a:r>
            <a:r>
              <a:rPr lang="en-GB" sz="1400" dirty="0">
                <a:latin typeface="SwissReSans Light" panose="020B0504020202020204" pitchFamily="34" charset="0"/>
              </a:rPr>
              <a:t>, because adjustment amounts that would offset each other within the measurement of a group of insurance contracts would be treated differently (and hence not offset each other) if contracts were measured individually</a:t>
            </a:r>
          </a:p>
          <a:p>
            <a:endParaRPr lang="en-GB" sz="1400" dirty="0">
              <a:latin typeface="SwissReSans Light" panose="020B0504020202020204" pitchFamily="34" charset="0"/>
            </a:endParaRPr>
          </a:p>
          <a:p>
            <a:endParaRPr lang="en-GB" sz="1400" dirty="0">
              <a:latin typeface="SwissReSans Light" panose="020B0504020202020204" pitchFamily="34" charset="0"/>
            </a:endParaRPr>
          </a:p>
          <a:p>
            <a:endParaRPr lang="en-GB" sz="1400" dirty="0">
              <a:latin typeface="SwissReSans Light" panose="020B0504020202020204" pitchFamily="34" charset="0"/>
            </a:endParaRPr>
          </a:p>
          <a:p>
            <a:endParaRPr lang="en-GB" sz="1400" dirty="0">
              <a:latin typeface="SwissReSans Light" panose="020B0504020202020204" pitchFamily="34" charset="0"/>
            </a:endParaRPr>
          </a:p>
        </p:txBody>
      </p:sp>
      <p:sp>
        <p:nvSpPr>
          <p:cNvPr id="21" name="Text Placeholder 8">
            <a:extLst>
              <a:ext uri="{FF2B5EF4-FFF2-40B4-BE49-F238E27FC236}">
                <a16:creationId xmlns:a16="http://schemas.microsoft.com/office/drawing/2014/main" xmlns="" id="{3D6CFCEF-5E31-4C7D-AC08-69FCF9BE94C7}"/>
              </a:ext>
            </a:extLst>
          </p:cNvPr>
          <p:cNvSpPr txBox="1">
            <a:spLocks/>
          </p:cNvSpPr>
          <p:nvPr/>
        </p:nvSpPr>
        <p:spPr bwMode="black">
          <a:xfrm>
            <a:off x="695326" y="1628776"/>
            <a:ext cx="5400674" cy="542676"/>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a:t>Background &amp; relevance</a:t>
            </a:r>
          </a:p>
        </p:txBody>
      </p:sp>
      <p:sp>
        <p:nvSpPr>
          <p:cNvPr id="25" name="Text Placeholder 5">
            <a:extLst>
              <a:ext uri="{FF2B5EF4-FFF2-40B4-BE49-F238E27FC236}">
                <a16:creationId xmlns:a16="http://schemas.microsoft.com/office/drawing/2014/main" xmlns="" id="{E5B10DD9-26AC-46AA-95ED-A8F4483CAB36}"/>
              </a:ext>
            </a:extLst>
          </p:cNvPr>
          <p:cNvSpPr txBox="1">
            <a:spLocks/>
          </p:cNvSpPr>
          <p:nvPr/>
        </p:nvSpPr>
        <p:spPr bwMode="black">
          <a:xfrm>
            <a:off x="6337844" y="1770860"/>
            <a:ext cx="5400674" cy="4234215"/>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GB" sz="1400">
                <a:latin typeface="SwissReSans Light" panose="020B0504020202020204" pitchFamily="34" charset="0"/>
              </a:rPr>
              <a:t>As set out below, the level of aggregation requires us to </a:t>
            </a:r>
            <a:r>
              <a:rPr lang="en-GB" sz="1400" b="1">
                <a:latin typeface="SwissReSans Light" panose="020B0504020202020204" pitchFamily="34" charset="0"/>
              </a:rPr>
              <a:t>split or separate our business into portfolios</a:t>
            </a:r>
            <a:r>
              <a:rPr lang="en-GB" sz="1400">
                <a:latin typeface="SwissReSans Light" panose="020B0504020202020204" pitchFamily="34" charset="0"/>
              </a:rPr>
              <a:t>, which are further </a:t>
            </a:r>
            <a:r>
              <a:rPr lang="en-GB" sz="1400" b="1">
                <a:latin typeface="SwissReSans Light" panose="020B0504020202020204" pitchFamily="34" charset="0"/>
              </a:rPr>
              <a:t>subdivided into annual groups of contracts</a:t>
            </a:r>
            <a:r>
              <a:rPr lang="en-GB" sz="1400">
                <a:latin typeface="SwissReSans Light" panose="020B0504020202020204" pitchFamily="34" charset="0"/>
              </a:rPr>
              <a:t>. This has a </a:t>
            </a:r>
            <a:r>
              <a:rPr lang="en-GB" sz="1400" b="1">
                <a:latin typeface="SwissReSans Light" panose="020B0504020202020204" pitchFamily="34" charset="0"/>
              </a:rPr>
              <a:t>significant impact on profit recognition</a:t>
            </a:r>
            <a:r>
              <a:rPr lang="en-GB" sz="1400">
                <a:latin typeface="SwissReSans Light" panose="020B0504020202020204" pitchFamily="34" charset="0"/>
              </a:rPr>
              <a:t>:  </a:t>
            </a:r>
          </a:p>
          <a:p>
            <a:pPr lvl="0"/>
            <a:endParaRPr lang="en-US" sz="500">
              <a:latin typeface="SwissReSans Light" panose="020B0504020202020204" pitchFamily="34" charset="0"/>
            </a:endParaRPr>
          </a:p>
          <a:p>
            <a:pPr marL="285750" lvl="0" indent="-285750">
              <a:spcAft>
                <a:spcPts val="600"/>
              </a:spcAft>
              <a:buFont typeface="Arial" panose="020B0604020202020204" pitchFamily="34" charset="0"/>
              <a:buChar char="•"/>
            </a:pPr>
            <a:r>
              <a:rPr lang="en-GB" sz="1400">
                <a:latin typeface="SwissReSans Light" panose="020B0504020202020204" pitchFamily="34" charset="0"/>
              </a:rPr>
              <a:t>The </a:t>
            </a:r>
            <a:r>
              <a:rPr lang="en-GB" sz="1400" b="1">
                <a:latin typeface="SwissReSans Light" panose="020B0504020202020204" pitchFamily="34" charset="0"/>
              </a:rPr>
              <a:t>pattern of recognition of the contractual service margin is determined at the level of annual groups of contracts</a:t>
            </a:r>
            <a:r>
              <a:rPr lang="en-GB" sz="1400">
                <a:latin typeface="SwissReSans Light" panose="020B0504020202020204" pitchFamily="34" charset="0"/>
              </a:rPr>
              <a:t>, so there is a performance dependency between all contracts within a group</a:t>
            </a:r>
            <a:endParaRPr lang="en-US" sz="1400">
              <a:latin typeface="SwissReSans Light" panose="020B0504020202020204" pitchFamily="34" charset="0"/>
            </a:endParaRPr>
          </a:p>
          <a:p>
            <a:pPr marL="285750" lvl="0" indent="-285750">
              <a:spcAft>
                <a:spcPts val="600"/>
              </a:spcAft>
              <a:buFont typeface="Arial" panose="020B0604020202020204" pitchFamily="34" charset="0"/>
              <a:buChar char="•"/>
            </a:pPr>
            <a:r>
              <a:rPr lang="en-GB" sz="1400" b="1">
                <a:latin typeface="SwissReSans Light" panose="020B0504020202020204" pitchFamily="34" charset="0"/>
              </a:rPr>
              <a:t>Onerousness after inception </a:t>
            </a:r>
            <a:r>
              <a:rPr lang="en-GB" sz="1400">
                <a:latin typeface="SwissReSans Light" panose="020B0504020202020204" pitchFamily="34" charset="0"/>
              </a:rPr>
              <a:t>is </a:t>
            </a:r>
            <a:r>
              <a:rPr lang="en-GB" sz="1400" b="1">
                <a:latin typeface="SwissReSans Light" panose="020B0504020202020204" pitchFamily="34" charset="0"/>
              </a:rPr>
              <a:t>determined at the level of groups of contracts</a:t>
            </a:r>
            <a:endParaRPr lang="en-US" sz="1400" b="1">
              <a:latin typeface="SwissReSans Light" panose="020B0504020202020204" pitchFamily="34" charset="0"/>
            </a:endParaRPr>
          </a:p>
          <a:p>
            <a:pPr marL="285750" lvl="0" indent="-285750">
              <a:spcAft>
                <a:spcPts val="600"/>
              </a:spcAft>
              <a:buFont typeface="Arial" panose="020B0604020202020204" pitchFamily="34" charset="0"/>
              <a:buChar char="•"/>
            </a:pPr>
            <a:r>
              <a:rPr lang="en-US" sz="1400">
                <a:latin typeface="SwissReSans Light" panose="020B0504020202020204" pitchFamily="34" charset="0"/>
              </a:rPr>
              <a:t>T</a:t>
            </a:r>
            <a:r>
              <a:rPr lang="en-GB" sz="1400">
                <a:latin typeface="SwissReSans Light" panose="020B0504020202020204" pitchFamily="34" charset="0"/>
              </a:rPr>
              <a:t>he definition of groups of contracts also </a:t>
            </a:r>
            <a:r>
              <a:rPr lang="en-GB" sz="1400" b="1">
                <a:latin typeface="SwissReSans Light" panose="020B0504020202020204" pitchFamily="34" charset="0"/>
              </a:rPr>
              <a:t>determines when the impact of derecognition of a contract within the group is recognised</a:t>
            </a:r>
            <a:r>
              <a:rPr lang="en-GB" sz="1400">
                <a:latin typeface="SwissReSans Light" panose="020B0504020202020204" pitchFamily="34" charset="0"/>
              </a:rPr>
              <a:t>. For instance, when a cedant recaptures a reinsurance treaty and this treaty forms part of a group of other contracts that continue, a portion of the gain or loss upon recapture is deferred until the last contract in the group is derecognized</a:t>
            </a:r>
            <a:endParaRPr lang="en-US" sz="1400">
              <a:latin typeface="SwissReSans Light" panose="020B0504020202020204" pitchFamily="34" charset="0"/>
            </a:endParaRPr>
          </a:p>
          <a:p>
            <a:endParaRPr lang="en-GB" sz="1400">
              <a:latin typeface="SwissReSans Light" panose="020B0504020202020204" pitchFamily="34" charset="0"/>
            </a:endParaRPr>
          </a:p>
        </p:txBody>
      </p:sp>
      <p:sp>
        <p:nvSpPr>
          <p:cNvPr id="26" name="Text Placeholder 8">
            <a:extLst>
              <a:ext uri="{FF2B5EF4-FFF2-40B4-BE49-F238E27FC236}">
                <a16:creationId xmlns:a16="http://schemas.microsoft.com/office/drawing/2014/main" xmlns="" id="{DB8B7330-B923-41B1-A0B2-9F138961F366}"/>
              </a:ext>
            </a:extLst>
          </p:cNvPr>
          <p:cNvSpPr txBox="1">
            <a:spLocks/>
          </p:cNvSpPr>
          <p:nvPr/>
        </p:nvSpPr>
        <p:spPr bwMode="black">
          <a:xfrm>
            <a:off x="6337844" y="1639494"/>
            <a:ext cx="5400674" cy="542676"/>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a:t>For illustration: Portfolio definition - impact</a:t>
            </a:r>
          </a:p>
        </p:txBody>
      </p:sp>
      <p:pic>
        <p:nvPicPr>
          <p:cNvPr id="19" name="Picture 18">
            <a:extLst>
              <a:ext uri="{FF2B5EF4-FFF2-40B4-BE49-F238E27FC236}">
                <a16:creationId xmlns:a16="http://schemas.microsoft.com/office/drawing/2014/main" xmlns="" id="{FC37E086-7EED-456F-8329-52E85D34C1D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737086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8628"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1525588" y="1588"/>
                        <a:ext cx="1588" cy="1588"/>
                      </a:xfrm>
                      <a:prstGeom prst="rect">
                        <a:avLst/>
                      </a:prstGeom>
                    </p:spPr>
                  </p:pic>
                </p:oleObj>
              </mc:Fallback>
            </mc:AlternateContent>
          </a:graphicData>
        </a:graphic>
      </p:graphicFrame>
      <p:graphicFrame>
        <p:nvGraphicFramePr>
          <p:cNvPr id="4" name="Table 3"/>
          <p:cNvGraphicFramePr>
            <a:graphicFrameLocks noGrp="1"/>
          </p:cNvGraphicFramePr>
          <p:nvPr/>
        </p:nvGraphicFramePr>
        <p:xfrm>
          <a:off x="7301313" y="3269802"/>
          <a:ext cx="2376264" cy="2105865"/>
        </p:xfrm>
        <a:graphic>
          <a:graphicData uri="http://schemas.openxmlformats.org/drawingml/2006/table">
            <a:tbl>
              <a:tblPr firstRow="1" bandRow="1">
                <a:tableStyleId>{5C22544A-7EE6-4342-B048-85BDC9FD1C3A}</a:tableStyleId>
              </a:tblPr>
              <a:tblGrid>
                <a:gridCol w="792088">
                  <a:extLst>
                    <a:ext uri="{9D8B030D-6E8A-4147-A177-3AD203B41FA5}">
                      <a16:colId xmlns:a16="http://schemas.microsoft.com/office/drawing/2014/main" xmlns="" val="20000"/>
                    </a:ext>
                  </a:extLst>
                </a:gridCol>
                <a:gridCol w="792088">
                  <a:extLst>
                    <a:ext uri="{9D8B030D-6E8A-4147-A177-3AD203B41FA5}">
                      <a16:colId xmlns:a16="http://schemas.microsoft.com/office/drawing/2014/main" xmlns="" val="20001"/>
                    </a:ext>
                  </a:extLst>
                </a:gridCol>
                <a:gridCol w="792088">
                  <a:extLst>
                    <a:ext uri="{9D8B030D-6E8A-4147-A177-3AD203B41FA5}">
                      <a16:colId xmlns:a16="http://schemas.microsoft.com/office/drawing/2014/main" xmlns="" val="20002"/>
                    </a:ext>
                  </a:extLst>
                </a:gridCol>
              </a:tblGrid>
              <a:tr h="198695">
                <a:tc>
                  <a:txBody>
                    <a:bodyPr/>
                    <a:lstStyle/>
                    <a:p>
                      <a:pPr algn="ctr"/>
                      <a:r>
                        <a:rPr lang="en-GB" sz="600" b="0">
                          <a:solidFill>
                            <a:schemeClr val="bg1">
                              <a:lumMod val="95000"/>
                            </a:schemeClr>
                          </a:solidFill>
                        </a:rPr>
                        <a:t>Portfolio A</a:t>
                      </a:r>
                    </a:p>
                  </a:txBody>
                  <a:tcPr marL="51408" marR="51408" marT="25704" marB="25704" anchor="ctr">
                    <a:solidFill>
                      <a:schemeClr val="bg1">
                        <a:lumMod val="65000"/>
                      </a:schemeClr>
                    </a:solidFill>
                  </a:tcPr>
                </a:tc>
                <a:tc>
                  <a:txBody>
                    <a:bodyPr/>
                    <a:lstStyle/>
                    <a:p>
                      <a:pPr marL="0" algn="ctr" defTabSz="914400" rtl="0" eaLnBrk="1" latinLnBrk="0" hangingPunct="1"/>
                      <a:r>
                        <a:rPr lang="en-GB" sz="600" b="0" kern="1200">
                          <a:solidFill>
                            <a:schemeClr val="bg1">
                              <a:lumMod val="95000"/>
                            </a:schemeClr>
                          </a:solidFill>
                          <a:latin typeface="+mn-lt"/>
                          <a:ea typeface="+mn-ea"/>
                          <a:cs typeface="+mn-cs"/>
                        </a:rPr>
                        <a:t>Portfolio B</a:t>
                      </a:r>
                    </a:p>
                  </a:txBody>
                  <a:tcPr marL="51408" marR="51408" marT="25704" marB="25704" anchor="ctr">
                    <a:solidFill>
                      <a:schemeClr val="bg1">
                        <a:lumMod val="65000"/>
                      </a:schemeClr>
                    </a:solidFill>
                  </a:tcPr>
                </a:tc>
                <a:tc>
                  <a:txBody>
                    <a:bodyPr/>
                    <a:lstStyle/>
                    <a:p>
                      <a:pPr marL="0" algn="ctr" defTabSz="914400" rtl="0" eaLnBrk="1" latinLnBrk="0" hangingPunct="1"/>
                      <a:r>
                        <a:rPr lang="en-GB" sz="600" b="1" kern="1200">
                          <a:solidFill>
                            <a:schemeClr val="bg1">
                              <a:lumMod val="95000"/>
                            </a:schemeClr>
                          </a:solidFill>
                          <a:latin typeface="+mn-lt"/>
                          <a:ea typeface="+mn-ea"/>
                          <a:cs typeface="+mn-cs"/>
                        </a:rPr>
                        <a:t>…</a:t>
                      </a:r>
                    </a:p>
                  </a:txBody>
                  <a:tcPr marL="51408" marR="51408" marT="25704" marB="25704" anchor="ctr">
                    <a:solidFill>
                      <a:schemeClr val="bg1">
                        <a:lumMod val="75000"/>
                      </a:schemeClr>
                    </a:solidFill>
                  </a:tcPr>
                </a:tc>
                <a:extLst>
                  <a:ext uri="{0D108BD9-81ED-4DB2-BD59-A6C34878D82A}">
                    <a16:rowId xmlns:a16="http://schemas.microsoft.com/office/drawing/2014/main" xmlns="" val="10000"/>
                  </a:ext>
                </a:extLst>
              </a:tr>
              <a:tr h="1016149">
                <a:tc>
                  <a:txBody>
                    <a:bodyPr/>
                    <a:lstStyle/>
                    <a:p>
                      <a:pPr algn="ctr"/>
                      <a:endParaRPr lang="en-GB" sz="700">
                        <a:solidFill>
                          <a:schemeClr val="tx1">
                            <a:lumMod val="75000"/>
                            <a:lumOff val="25000"/>
                          </a:schemeClr>
                        </a:solidFill>
                      </a:endParaRP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tx1">
                              <a:lumMod val="75000"/>
                              <a:lumOff val="25000"/>
                            </a:schemeClr>
                          </a:solidFill>
                        </a:rPr>
                        <a:t>No significant possibility of becoming onerous</a:t>
                      </a: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rPr>
                        <a:t>No significant possibility of becoming onerous</a:t>
                      </a:r>
                      <a:endParaRPr lang="en-GB" sz="700"/>
                    </a:p>
                  </a:txBody>
                  <a:tcPr marL="51408" marR="51408" marT="25704" marB="25704">
                    <a:solidFill>
                      <a:srgbClr val="E8E8E6"/>
                    </a:solidFill>
                  </a:tcPr>
                </a:tc>
                <a:extLst>
                  <a:ext uri="{0D108BD9-81ED-4DB2-BD59-A6C34878D82A}">
                    <a16:rowId xmlns:a16="http://schemas.microsoft.com/office/drawing/2014/main" xmlns="" val="10001"/>
                  </a:ext>
                </a:extLst>
              </a:tr>
              <a:tr h="500220">
                <a:tc>
                  <a:txBody>
                    <a:bodyPr/>
                    <a:lstStyle/>
                    <a:p>
                      <a:pPr algn="ctr"/>
                      <a:r>
                        <a:rPr lang="en-GB" sz="700" kern="1200">
                          <a:solidFill>
                            <a:schemeClr val="tx1">
                              <a:lumMod val="75000"/>
                              <a:lumOff val="25000"/>
                            </a:schemeClr>
                          </a:solidFill>
                          <a:latin typeface="+mn-lt"/>
                          <a:ea typeface="+mn-ea"/>
                          <a:cs typeface="+mn-cs"/>
                        </a:rPr>
                        <a:t>Other profitable</a:t>
                      </a:r>
                    </a:p>
                  </a:txBody>
                  <a:tcPr marL="51408" marR="51408" marT="25704" marB="25704" anchor="ctr">
                    <a:solidFill>
                      <a:srgbClr val="C0BFBB"/>
                    </a:solidFill>
                  </a:tcPr>
                </a:tc>
                <a:tc>
                  <a:txBody>
                    <a:bodyPr/>
                    <a:lstStyle/>
                    <a:p>
                      <a:pPr algn="ctr"/>
                      <a:r>
                        <a:rPr lang="en-GB" sz="700" kern="1200">
                          <a:solidFill>
                            <a:schemeClr val="tx1">
                              <a:lumMod val="75000"/>
                              <a:lumOff val="25000"/>
                            </a:schemeClr>
                          </a:solidFill>
                          <a:latin typeface="+mn-lt"/>
                          <a:ea typeface="+mn-ea"/>
                          <a:cs typeface="+mn-cs"/>
                        </a:rPr>
                        <a:t>Other profitable</a:t>
                      </a:r>
                    </a:p>
                  </a:txBody>
                  <a:tcPr marL="51408" marR="51408" marT="25704" marB="25704" anchor="ctr">
                    <a:solidFill>
                      <a:srgbClr val="C0BFB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ther profitable</a:t>
                      </a:r>
                    </a:p>
                  </a:txBody>
                  <a:tcPr marL="51408" marR="51408" marT="25704" marB="25704" anchor="ctr">
                    <a:solidFill>
                      <a:srgbClr val="D0D1CC"/>
                    </a:solidFill>
                  </a:tcPr>
                </a:tc>
                <a:extLst>
                  <a:ext uri="{0D108BD9-81ED-4DB2-BD59-A6C34878D82A}">
                    <a16:rowId xmlns:a16="http://schemas.microsoft.com/office/drawing/2014/main" xmlns="" val="10002"/>
                  </a:ext>
                </a:extLst>
              </a:tr>
              <a:tr h="3908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tx1">
                              <a:lumMod val="75000"/>
                              <a:lumOff val="25000"/>
                            </a:schemeClr>
                          </a:solidFill>
                          <a:latin typeface="+mn-lt"/>
                          <a:ea typeface="+mn-ea"/>
                          <a:cs typeface="+mn-cs"/>
                        </a:rPr>
                        <a:t>Onerous at inception</a:t>
                      </a:r>
                    </a:p>
                  </a:txBody>
                  <a:tcPr marL="51408" marR="51408" marT="25704" marB="25704">
                    <a:solidFill>
                      <a:srgbClr val="939290"/>
                    </a:solidFill>
                  </a:tcPr>
                </a:tc>
                <a:tc>
                  <a:txBody>
                    <a:bodyPr/>
                    <a:lstStyle/>
                    <a:p>
                      <a:pPr marL="0" algn="ctr" defTabSz="914400" rtl="0" eaLnBrk="1" latinLnBrk="0" hangingPunct="1"/>
                      <a:r>
                        <a:rPr lang="en-GB" sz="700" kern="1200">
                          <a:solidFill>
                            <a:schemeClr val="tx1">
                              <a:lumMod val="75000"/>
                              <a:lumOff val="25000"/>
                            </a:schemeClr>
                          </a:solidFill>
                          <a:latin typeface="+mn-lt"/>
                          <a:ea typeface="+mn-ea"/>
                          <a:cs typeface="+mn-cs"/>
                        </a:rPr>
                        <a:t>Onerous at inception</a:t>
                      </a:r>
                    </a:p>
                  </a:txBody>
                  <a:tcPr marL="51408" marR="51408" marT="25704" marB="25704">
                    <a:solidFill>
                      <a:srgbClr val="93929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nerous at inception</a:t>
                      </a:r>
                    </a:p>
                  </a:txBody>
                  <a:tcPr marL="51408" marR="51408" marT="25704" marB="25704">
                    <a:solidFill>
                      <a:srgbClr val="C0BFBB"/>
                    </a:solidFill>
                  </a:tcPr>
                </a:tc>
                <a:extLst>
                  <a:ext uri="{0D108BD9-81ED-4DB2-BD59-A6C34878D82A}">
                    <a16:rowId xmlns:a16="http://schemas.microsoft.com/office/drawing/2014/main" xmlns="" val="10003"/>
                  </a:ext>
                </a:extLst>
              </a:tr>
            </a:tbl>
          </a:graphicData>
        </a:graphic>
      </p:graphicFrame>
      <p:graphicFrame>
        <p:nvGraphicFramePr>
          <p:cNvPr id="5" name="Table 4"/>
          <p:cNvGraphicFramePr>
            <a:graphicFrameLocks noGrp="1"/>
          </p:cNvGraphicFramePr>
          <p:nvPr/>
        </p:nvGraphicFramePr>
        <p:xfrm>
          <a:off x="7571343" y="3484941"/>
          <a:ext cx="2376264" cy="2134431"/>
        </p:xfrm>
        <a:graphic>
          <a:graphicData uri="http://schemas.openxmlformats.org/drawingml/2006/table">
            <a:tbl>
              <a:tblPr firstRow="1" bandRow="1">
                <a:tableStyleId>{5C22544A-7EE6-4342-B048-85BDC9FD1C3A}</a:tableStyleId>
              </a:tblPr>
              <a:tblGrid>
                <a:gridCol w="792088">
                  <a:extLst>
                    <a:ext uri="{9D8B030D-6E8A-4147-A177-3AD203B41FA5}">
                      <a16:colId xmlns:a16="http://schemas.microsoft.com/office/drawing/2014/main" xmlns="" val="20000"/>
                    </a:ext>
                  </a:extLst>
                </a:gridCol>
                <a:gridCol w="792088">
                  <a:extLst>
                    <a:ext uri="{9D8B030D-6E8A-4147-A177-3AD203B41FA5}">
                      <a16:colId xmlns:a16="http://schemas.microsoft.com/office/drawing/2014/main" xmlns="" val="20001"/>
                    </a:ext>
                  </a:extLst>
                </a:gridCol>
                <a:gridCol w="792088">
                  <a:extLst>
                    <a:ext uri="{9D8B030D-6E8A-4147-A177-3AD203B41FA5}">
                      <a16:colId xmlns:a16="http://schemas.microsoft.com/office/drawing/2014/main" xmlns="" val="20002"/>
                    </a:ext>
                  </a:extLst>
                </a:gridCol>
              </a:tblGrid>
              <a:tr h="227261">
                <a:tc>
                  <a:txBody>
                    <a:bodyPr/>
                    <a:lstStyle/>
                    <a:p>
                      <a:pPr algn="ctr"/>
                      <a:r>
                        <a:rPr lang="en-GB" sz="600" b="0">
                          <a:solidFill>
                            <a:schemeClr val="bg1">
                              <a:lumMod val="95000"/>
                            </a:schemeClr>
                          </a:solidFill>
                        </a:rPr>
                        <a:t>Portfolio A</a:t>
                      </a:r>
                    </a:p>
                  </a:txBody>
                  <a:tcPr marL="51408" marR="51408" marT="25704" marB="25704" anchor="ctr">
                    <a:solidFill>
                      <a:schemeClr val="bg1">
                        <a:lumMod val="65000"/>
                      </a:schemeClr>
                    </a:solidFill>
                  </a:tcPr>
                </a:tc>
                <a:tc>
                  <a:txBody>
                    <a:bodyPr/>
                    <a:lstStyle/>
                    <a:p>
                      <a:pPr marL="0" algn="ctr" defTabSz="914400" rtl="0" eaLnBrk="1" latinLnBrk="0" hangingPunct="1"/>
                      <a:r>
                        <a:rPr lang="en-GB" sz="600" b="0" kern="1200">
                          <a:solidFill>
                            <a:schemeClr val="bg1">
                              <a:lumMod val="95000"/>
                            </a:schemeClr>
                          </a:solidFill>
                          <a:latin typeface="+mn-lt"/>
                          <a:ea typeface="+mn-ea"/>
                          <a:cs typeface="+mn-cs"/>
                        </a:rPr>
                        <a:t>Portfolio B</a:t>
                      </a:r>
                    </a:p>
                  </a:txBody>
                  <a:tcPr marL="51408" marR="51408" marT="25704" marB="25704" anchor="ctr">
                    <a:solidFill>
                      <a:schemeClr val="bg1">
                        <a:lumMod val="65000"/>
                      </a:schemeClr>
                    </a:solidFill>
                  </a:tcPr>
                </a:tc>
                <a:tc>
                  <a:txBody>
                    <a:bodyPr/>
                    <a:lstStyle/>
                    <a:p>
                      <a:pPr marL="0" algn="ctr" defTabSz="914400" rtl="0" eaLnBrk="1" latinLnBrk="0" hangingPunct="1"/>
                      <a:r>
                        <a:rPr lang="en-GB" sz="600" b="1" kern="1200">
                          <a:solidFill>
                            <a:schemeClr val="bg1">
                              <a:lumMod val="95000"/>
                            </a:schemeClr>
                          </a:solidFill>
                          <a:latin typeface="+mn-lt"/>
                          <a:ea typeface="+mn-ea"/>
                          <a:cs typeface="+mn-cs"/>
                        </a:rPr>
                        <a:t>…</a:t>
                      </a:r>
                    </a:p>
                  </a:txBody>
                  <a:tcPr marL="51408" marR="51408" marT="25704" marB="25704" anchor="ctr">
                    <a:solidFill>
                      <a:schemeClr val="bg1">
                        <a:lumMod val="75000"/>
                      </a:schemeClr>
                    </a:solidFill>
                  </a:tcPr>
                </a:tc>
                <a:extLst>
                  <a:ext uri="{0D108BD9-81ED-4DB2-BD59-A6C34878D82A}">
                    <a16:rowId xmlns:a16="http://schemas.microsoft.com/office/drawing/2014/main" xmlns="" val="10000"/>
                  </a:ext>
                </a:extLst>
              </a:tr>
              <a:tr h="1016149">
                <a:tc>
                  <a:txBody>
                    <a:bodyPr/>
                    <a:lstStyle/>
                    <a:p>
                      <a:pPr algn="ctr"/>
                      <a:endParaRPr lang="en-GB" sz="700">
                        <a:solidFill>
                          <a:schemeClr val="tx1">
                            <a:lumMod val="75000"/>
                            <a:lumOff val="25000"/>
                          </a:schemeClr>
                        </a:solidFill>
                      </a:endParaRP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tx1">
                              <a:lumMod val="75000"/>
                              <a:lumOff val="25000"/>
                            </a:schemeClr>
                          </a:solidFill>
                        </a:rPr>
                        <a:t>No significant possibility of becoming onerous</a:t>
                      </a: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bg1">
                              <a:lumMod val="65000"/>
                            </a:schemeClr>
                          </a:solidFill>
                        </a:rPr>
                        <a:t>No significant possibility of becoming onerous</a:t>
                      </a:r>
                      <a:endParaRPr lang="en-GB" sz="700"/>
                    </a:p>
                  </a:txBody>
                  <a:tcPr marL="51408" marR="51408" marT="25704" marB="25704">
                    <a:solidFill>
                      <a:srgbClr val="E8E8E6"/>
                    </a:solidFill>
                  </a:tcPr>
                </a:tc>
                <a:extLst>
                  <a:ext uri="{0D108BD9-81ED-4DB2-BD59-A6C34878D82A}">
                    <a16:rowId xmlns:a16="http://schemas.microsoft.com/office/drawing/2014/main" xmlns="" val="10001"/>
                  </a:ext>
                </a:extLst>
              </a:tr>
              <a:tr h="500220">
                <a:tc>
                  <a:txBody>
                    <a:bodyPr/>
                    <a:lstStyle/>
                    <a:p>
                      <a:pPr algn="ctr"/>
                      <a:r>
                        <a:rPr lang="en-GB" sz="700" kern="1200">
                          <a:solidFill>
                            <a:schemeClr val="tx1">
                              <a:lumMod val="75000"/>
                              <a:lumOff val="25000"/>
                            </a:schemeClr>
                          </a:solidFill>
                          <a:latin typeface="+mn-lt"/>
                          <a:ea typeface="+mn-ea"/>
                          <a:cs typeface="+mn-cs"/>
                        </a:rPr>
                        <a:t>Other profitable</a:t>
                      </a:r>
                    </a:p>
                  </a:txBody>
                  <a:tcPr marL="51408" marR="51408" marT="25704" marB="25704" anchor="ctr">
                    <a:solidFill>
                      <a:srgbClr val="C0BFBB"/>
                    </a:solidFill>
                  </a:tcPr>
                </a:tc>
                <a:tc>
                  <a:txBody>
                    <a:bodyPr/>
                    <a:lstStyle/>
                    <a:p>
                      <a:pPr algn="ctr"/>
                      <a:r>
                        <a:rPr lang="en-GB" sz="700" kern="1200">
                          <a:solidFill>
                            <a:schemeClr val="tx1">
                              <a:lumMod val="75000"/>
                              <a:lumOff val="25000"/>
                            </a:schemeClr>
                          </a:solidFill>
                          <a:latin typeface="+mn-lt"/>
                          <a:ea typeface="+mn-ea"/>
                          <a:cs typeface="+mn-cs"/>
                        </a:rPr>
                        <a:t>Other profitable</a:t>
                      </a:r>
                    </a:p>
                  </a:txBody>
                  <a:tcPr marL="51408" marR="51408" marT="25704" marB="25704" anchor="ctr">
                    <a:solidFill>
                      <a:srgbClr val="C0BFBB"/>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ther profitable</a:t>
                      </a:r>
                    </a:p>
                  </a:txBody>
                  <a:tcPr marL="51408" marR="51408" marT="25704" marB="25704" anchor="ctr">
                    <a:solidFill>
                      <a:srgbClr val="D0D1CC"/>
                    </a:solidFill>
                  </a:tcPr>
                </a:tc>
                <a:extLst>
                  <a:ext uri="{0D108BD9-81ED-4DB2-BD59-A6C34878D82A}">
                    <a16:rowId xmlns:a16="http://schemas.microsoft.com/office/drawing/2014/main" xmlns="" val="10002"/>
                  </a:ext>
                </a:extLst>
              </a:tr>
              <a:tr h="3908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tx1">
                              <a:lumMod val="75000"/>
                              <a:lumOff val="25000"/>
                            </a:schemeClr>
                          </a:solidFill>
                          <a:latin typeface="+mn-lt"/>
                          <a:ea typeface="+mn-ea"/>
                          <a:cs typeface="+mn-cs"/>
                        </a:rPr>
                        <a:t>Onerous at inception</a:t>
                      </a:r>
                    </a:p>
                  </a:txBody>
                  <a:tcPr marL="51408" marR="51408" marT="25704" marB="25704">
                    <a:solidFill>
                      <a:srgbClr val="939290"/>
                    </a:solidFill>
                  </a:tcPr>
                </a:tc>
                <a:tc>
                  <a:txBody>
                    <a:bodyPr/>
                    <a:lstStyle/>
                    <a:p>
                      <a:pPr marL="0" algn="ctr" defTabSz="914400" rtl="0" eaLnBrk="1" latinLnBrk="0" hangingPunct="1"/>
                      <a:r>
                        <a:rPr lang="en-GB" sz="700" kern="1200">
                          <a:solidFill>
                            <a:schemeClr val="tx1">
                              <a:lumMod val="75000"/>
                              <a:lumOff val="25000"/>
                            </a:schemeClr>
                          </a:solidFill>
                          <a:latin typeface="+mn-lt"/>
                          <a:ea typeface="+mn-ea"/>
                          <a:cs typeface="+mn-cs"/>
                        </a:rPr>
                        <a:t>Onerous at inception</a:t>
                      </a:r>
                    </a:p>
                  </a:txBody>
                  <a:tcPr marL="51408" marR="51408" marT="25704" marB="25704">
                    <a:solidFill>
                      <a:srgbClr val="93929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nerous at inception</a:t>
                      </a:r>
                    </a:p>
                  </a:txBody>
                  <a:tcPr marL="51408" marR="51408" marT="25704" marB="25704">
                    <a:solidFill>
                      <a:srgbClr val="C0BFBB"/>
                    </a:solidFill>
                  </a:tcPr>
                </a:tc>
                <a:extLst>
                  <a:ext uri="{0D108BD9-81ED-4DB2-BD59-A6C34878D82A}">
                    <a16:rowId xmlns:a16="http://schemas.microsoft.com/office/drawing/2014/main" xmlns="" val="10003"/>
                  </a:ext>
                </a:extLst>
              </a:tr>
            </a:tbl>
          </a:graphicData>
        </a:graphic>
      </p:graphicFrame>
      <p:graphicFrame>
        <p:nvGraphicFramePr>
          <p:cNvPr id="6" name="Table 5"/>
          <p:cNvGraphicFramePr>
            <a:graphicFrameLocks noGrp="1"/>
          </p:cNvGraphicFramePr>
          <p:nvPr/>
        </p:nvGraphicFramePr>
        <p:xfrm>
          <a:off x="7841373" y="3730229"/>
          <a:ext cx="2376264" cy="2162927"/>
        </p:xfrm>
        <a:graphic>
          <a:graphicData uri="http://schemas.openxmlformats.org/drawingml/2006/table">
            <a:tbl>
              <a:tblPr firstRow="1" bandRow="1">
                <a:tableStyleId>{5C22544A-7EE6-4342-B048-85BDC9FD1C3A}</a:tableStyleId>
              </a:tblPr>
              <a:tblGrid>
                <a:gridCol w="792088">
                  <a:extLst>
                    <a:ext uri="{9D8B030D-6E8A-4147-A177-3AD203B41FA5}">
                      <a16:colId xmlns:a16="http://schemas.microsoft.com/office/drawing/2014/main" xmlns="" val="20000"/>
                    </a:ext>
                  </a:extLst>
                </a:gridCol>
                <a:gridCol w="792088">
                  <a:extLst>
                    <a:ext uri="{9D8B030D-6E8A-4147-A177-3AD203B41FA5}">
                      <a16:colId xmlns:a16="http://schemas.microsoft.com/office/drawing/2014/main" xmlns="" val="20001"/>
                    </a:ext>
                  </a:extLst>
                </a:gridCol>
                <a:gridCol w="792088">
                  <a:extLst>
                    <a:ext uri="{9D8B030D-6E8A-4147-A177-3AD203B41FA5}">
                      <a16:colId xmlns:a16="http://schemas.microsoft.com/office/drawing/2014/main" xmlns="" val="20002"/>
                    </a:ext>
                  </a:extLst>
                </a:gridCol>
              </a:tblGrid>
              <a:tr h="230295">
                <a:tc>
                  <a:txBody>
                    <a:bodyPr/>
                    <a:lstStyle/>
                    <a:p>
                      <a:pPr algn="ctr"/>
                      <a:r>
                        <a:rPr lang="en-GB" sz="1000" b="0">
                          <a:solidFill>
                            <a:schemeClr val="bg1">
                              <a:lumMod val="95000"/>
                            </a:schemeClr>
                          </a:solidFill>
                        </a:rPr>
                        <a:t>Portfolio A</a:t>
                      </a:r>
                    </a:p>
                  </a:txBody>
                  <a:tcPr marL="51408" marR="51408" marT="25704" marB="25704" anchor="ctr">
                    <a:solidFill>
                      <a:schemeClr val="bg1">
                        <a:lumMod val="65000"/>
                      </a:schemeClr>
                    </a:solidFill>
                  </a:tcPr>
                </a:tc>
                <a:tc>
                  <a:txBody>
                    <a:bodyPr/>
                    <a:lstStyle/>
                    <a:p>
                      <a:pPr marL="0" algn="ctr" defTabSz="914400" rtl="0" eaLnBrk="1" latinLnBrk="0" hangingPunct="1"/>
                      <a:r>
                        <a:rPr lang="en-GB" sz="1000" b="0" kern="1200">
                          <a:solidFill>
                            <a:schemeClr val="bg1">
                              <a:lumMod val="95000"/>
                            </a:schemeClr>
                          </a:solidFill>
                          <a:latin typeface="+mn-lt"/>
                          <a:ea typeface="+mn-ea"/>
                          <a:cs typeface="+mn-cs"/>
                        </a:rPr>
                        <a:t>Portfolio B</a:t>
                      </a:r>
                    </a:p>
                  </a:txBody>
                  <a:tcPr marL="51408" marR="51408" marT="25704" marB="25704" anchor="ctr">
                    <a:solidFill>
                      <a:schemeClr val="bg1">
                        <a:lumMod val="65000"/>
                      </a:schemeClr>
                    </a:solidFill>
                  </a:tcPr>
                </a:tc>
                <a:tc>
                  <a:txBody>
                    <a:bodyPr/>
                    <a:lstStyle/>
                    <a:p>
                      <a:pPr marL="0" algn="ctr" defTabSz="914400" rtl="0" eaLnBrk="1" latinLnBrk="0" hangingPunct="1"/>
                      <a:r>
                        <a:rPr lang="en-GB" sz="600" b="1" kern="1200">
                          <a:solidFill>
                            <a:schemeClr val="bg1">
                              <a:lumMod val="95000"/>
                            </a:schemeClr>
                          </a:solidFill>
                          <a:latin typeface="+mn-lt"/>
                          <a:ea typeface="+mn-ea"/>
                          <a:cs typeface="+mn-cs"/>
                        </a:rPr>
                        <a:t>…</a:t>
                      </a:r>
                    </a:p>
                  </a:txBody>
                  <a:tcPr marL="51408" marR="51408" marT="25704" marB="25704" anchor="ctr">
                    <a:solidFill>
                      <a:schemeClr val="bg1">
                        <a:lumMod val="75000"/>
                      </a:schemeClr>
                    </a:solidFill>
                  </a:tcPr>
                </a:tc>
                <a:extLst>
                  <a:ext uri="{0D108BD9-81ED-4DB2-BD59-A6C34878D82A}">
                    <a16:rowId xmlns:a16="http://schemas.microsoft.com/office/drawing/2014/main" xmlns="" val="10000"/>
                  </a:ext>
                </a:extLst>
              </a:tr>
              <a:tr h="1029715">
                <a:tc>
                  <a:txBody>
                    <a:bodyPr/>
                    <a:lstStyle/>
                    <a:p>
                      <a:pPr algn="ctr"/>
                      <a:r>
                        <a:rPr lang="en-GB" sz="700">
                          <a:solidFill>
                            <a:schemeClr val="accent1">
                              <a:lumMod val="75000"/>
                            </a:schemeClr>
                          </a:solidFill>
                        </a:rPr>
                        <a:t>No significant possibility of becoming onerous</a:t>
                      </a: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accent1">
                              <a:lumMod val="75000"/>
                            </a:schemeClr>
                          </a:solidFill>
                        </a:rPr>
                        <a:t>No significant possibility of becoming onerous</a:t>
                      </a:r>
                    </a:p>
                  </a:txBody>
                  <a:tcPr marL="51408" marR="51408" marT="25704" marB="25704">
                    <a:solidFill>
                      <a:srgbClr val="E8E8E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accent1">
                              <a:lumMod val="75000"/>
                            </a:schemeClr>
                          </a:solidFill>
                        </a:rPr>
                        <a:t>No significant possibility of becoming onerous</a:t>
                      </a:r>
                    </a:p>
                  </a:txBody>
                  <a:tcPr marL="51408" marR="51408" marT="25704" marB="25704">
                    <a:solidFill>
                      <a:srgbClr val="E8E8E6"/>
                    </a:solidFill>
                  </a:tcPr>
                </a:tc>
                <a:extLst>
                  <a:ext uri="{0D108BD9-81ED-4DB2-BD59-A6C34878D82A}">
                    <a16:rowId xmlns:a16="http://schemas.microsoft.com/office/drawing/2014/main" xmlns="" val="10001"/>
                  </a:ext>
                </a:extLst>
              </a:tr>
              <a:tr h="506898">
                <a:tc>
                  <a:txBody>
                    <a:bodyPr/>
                    <a:lstStyle/>
                    <a:p>
                      <a:pPr algn="ctr"/>
                      <a:r>
                        <a:rPr lang="en-GB" sz="700" kern="1200">
                          <a:solidFill>
                            <a:schemeClr val="accent1">
                              <a:lumMod val="75000"/>
                            </a:schemeClr>
                          </a:solidFill>
                          <a:latin typeface="+mn-lt"/>
                          <a:ea typeface="+mn-ea"/>
                          <a:cs typeface="+mn-cs"/>
                        </a:rPr>
                        <a:t>Other profitable</a:t>
                      </a:r>
                    </a:p>
                  </a:txBody>
                  <a:tcPr marL="51408" marR="51408" marT="25704" marB="25704" anchor="ctr">
                    <a:solidFill>
                      <a:schemeClr val="bg1">
                        <a:lumMod val="85000"/>
                      </a:schemeClr>
                    </a:solidFill>
                  </a:tcPr>
                </a:tc>
                <a:tc>
                  <a:txBody>
                    <a:bodyPr/>
                    <a:lstStyle/>
                    <a:p>
                      <a:pPr algn="ctr"/>
                      <a:r>
                        <a:rPr lang="en-GB" sz="700" kern="1200">
                          <a:solidFill>
                            <a:schemeClr val="accent1">
                              <a:lumMod val="75000"/>
                            </a:schemeClr>
                          </a:solidFill>
                          <a:latin typeface="+mn-lt"/>
                          <a:ea typeface="+mn-ea"/>
                          <a:cs typeface="+mn-cs"/>
                        </a:rPr>
                        <a:t>Other profitable</a:t>
                      </a:r>
                    </a:p>
                  </a:txBody>
                  <a:tcPr marL="51408" marR="51408" marT="25704" marB="25704" anchor="c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ther profitable</a:t>
                      </a:r>
                    </a:p>
                  </a:txBody>
                  <a:tcPr marL="51408" marR="51408" marT="25704" marB="25704" anchor="ctr">
                    <a:solidFill>
                      <a:schemeClr val="accent2">
                        <a:lumMod val="40000"/>
                        <a:lumOff val="60000"/>
                      </a:schemeClr>
                    </a:solidFill>
                  </a:tcPr>
                </a:tc>
                <a:extLst>
                  <a:ext uri="{0D108BD9-81ED-4DB2-BD59-A6C34878D82A}">
                    <a16:rowId xmlns:a16="http://schemas.microsoft.com/office/drawing/2014/main" xmlns="" val="10002"/>
                  </a:ext>
                </a:extLst>
              </a:tr>
              <a:tr h="3960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accent1">
                              <a:lumMod val="75000"/>
                            </a:schemeClr>
                          </a:solidFill>
                          <a:latin typeface="+mn-lt"/>
                          <a:ea typeface="+mn-ea"/>
                          <a:cs typeface="+mn-cs"/>
                        </a:rPr>
                        <a:t>Onerous at inception</a:t>
                      </a:r>
                    </a:p>
                  </a:txBody>
                  <a:tcPr marL="51408" marR="51408" marT="25704" marB="25704" anchor="ctr">
                    <a:solidFill>
                      <a:schemeClr val="bg1">
                        <a:lumMod val="75000"/>
                      </a:schemeClr>
                    </a:solidFill>
                  </a:tcPr>
                </a:tc>
                <a:tc>
                  <a:txBody>
                    <a:bodyPr/>
                    <a:lstStyle/>
                    <a:p>
                      <a:pPr marL="0" algn="ctr" defTabSz="914400" rtl="0" eaLnBrk="1" latinLnBrk="0" hangingPunct="1"/>
                      <a:r>
                        <a:rPr lang="en-GB" sz="700" kern="1200">
                          <a:solidFill>
                            <a:schemeClr val="accent1">
                              <a:lumMod val="75000"/>
                            </a:schemeClr>
                          </a:solidFill>
                          <a:latin typeface="+mn-lt"/>
                          <a:ea typeface="+mn-ea"/>
                          <a:cs typeface="+mn-cs"/>
                        </a:rPr>
                        <a:t>Onerous at inception</a:t>
                      </a:r>
                    </a:p>
                  </a:txBody>
                  <a:tcPr marL="51408" marR="51408" marT="25704" marB="25704" anchor="ctr">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700" kern="1200">
                          <a:solidFill>
                            <a:schemeClr val="bg1"/>
                          </a:solidFill>
                          <a:latin typeface="+mn-lt"/>
                          <a:ea typeface="+mn-ea"/>
                          <a:cs typeface="+mn-cs"/>
                        </a:rPr>
                        <a:t>Onerous at inception</a:t>
                      </a:r>
                    </a:p>
                  </a:txBody>
                  <a:tcPr marL="51408" marR="51408" marT="25704" marB="25704" anchor="ctr">
                    <a:solidFill>
                      <a:schemeClr val="accent2">
                        <a:lumMod val="60000"/>
                        <a:lumOff val="40000"/>
                      </a:schemeClr>
                    </a:solidFill>
                  </a:tcPr>
                </a:tc>
                <a:extLst>
                  <a:ext uri="{0D108BD9-81ED-4DB2-BD59-A6C34878D82A}">
                    <a16:rowId xmlns:a16="http://schemas.microsoft.com/office/drawing/2014/main" xmlns="" val="10003"/>
                  </a:ext>
                </a:extLst>
              </a:tr>
            </a:tbl>
          </a:graphicData>
        </a:graphic>
      </p:graphicFrame>
      <p:sp>
        <p:nvSpPr>
          <p:cNvPr id="14" name="Content Placeholder 4"/>
          <p:cNvSpPr txBox="1">
            <a:spLocks/>
          </p:cNvSpPr>
          <p:nvPr/>
        </p:nvSpPr>
        <p:spPr bwMode="gray">
          <a:xfrm>
            <a:off x="695325" y="1612463"/>
            <a:ext cx="11021784" cy="672680"/>
          </a:xfrm>
          <a:prstGeom prst="rect">
            <a:avLst/>
          </a:prstGeom>
          <a:solidFill>
            <a:srgbClr val="0F4DBC"/>
          </a:solidFill>
          <a:ln w="25400">
            <a:solidFill>
              <a:srgbClr val="0F4DBC"/>
            </a:solidFill>
            <a:miter lim="800000"/>
          </a:ln>
        </p:spPr>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285750" marR="0" lvl="0" indent="-285750" algn="l" defTabSz="914400" rtl="0" eaLnBrk="1" fontAlgn="auto" latinLnBrk="0" hangingPunct="1">
              <a:lnSpc>
                <a:spcPct val="100000"/>
              </a:lnSpc>
              <a:spcBef>
                <a:spcPct val="20000"/>
              </a:spcBef>
              <a:spcAft>
                <a:spcPts val="0"/>
              </a:spcAft>
              <a:buClr>
                <a:prstClr val="white"/>
              </a:buClr>
              <a:buSzPct val="100000"/>
              <a:buFont typeface="Arial" panose="020B0604020202020204" pitchFamily="34" charset="0"/>
              <a:buChar char="•"/>
              <a:tabLst/>
              <a:defRPr/>
            </a:pPr>
            <a:r>
              <a:rPr kumimoji="0" lang="en-AU" sz="1200" b="0" i="0" u="none" strike="noStrike" kern="1200" cap="none" spc="0" normalizeH="0" baseline="0" noProof="0">
                <a:ln>
                  <a:noFill/>
                </a:ln>
                <a:solidFill>
                  <a:prstClr val="white"/>
                </a:solidFill>
                <a:effectLst/>
                <a:uLnTx/>
                <a:uFillTx/>
                <a:latin typeface="SwissReSans"/>
                <a:ea typeface="+mn-ea"/>
                <a:cs typeface="+mn-cs"/>
              </a:rPr>
              <a:t>The level of aggregation determines how the insurance contracts are grouped together for CSM calculation purposes. A fundamental feature for the profit recognition.</a:t>
            </a:r>
            <a:endParaRPr kumimoji="0" lang="en-GB" sz="1200" b="1" i="0" u="none" strike="noStrike" kern="1200" cap="none" spc="0" normalizeH="0" baseline="0" noProof="0">
              <a:ln>
                <a:noFill/>
              </a:ln>
              <a:solidFill>
                <a:prstClr val="white"/>
              </a:solidFill>
              <a:effectLst/>
              <a:uLnTx/>
              <a:uFillTx/>
              <a:latin typeface="SwissReSans"/>
              <a:ea typeface="+mn-ea"/>
              <a:cs typeface="+mn-cs"/>
            </a:endParaRPr>
          </a:p>
          <a:p>
            <a:pPr marL="285750" marR="0" lvl="0" indent="-285750" algn="l" defTabSz="914400" rtl="0" eaLnBrk="1" fontAlgn="auto" latinLnBrk="0" hangingPunct="1">
              <a:lnSpc>
                <a:spcPct val="100000"/>
              </a:lnSpc>
              <a:spcBef>
                <a:spcPct val="20000"/>
              </a:spcBef>
              <a:spcAft>
                <a:spcPts val="0"/>
              </a:spcAft>
              <a:buClr>
                <a:prstClr val="white"/>
              </a:buClr>
              <a:buSzPct val="100000"/>
              <a:buFont typeface="Arial" panose="020B0604020202020204" pitchFamily="34" charset="0"/>
              <a:buChar char="•"/>
              <a:tabLst/>
              <a:defRPr/>
            </a:pPr>
            <a:r>
              <a:rPr kumimoji="0" lang="en-GB" sz="1200" b="0" i="0" u="none" strike="noStrike" kern="1200" cap="none" spc="0" normalizeH="0" baseline="0" noProof="0">
                <a:ln>
                  <a:noFill/>
                </a:ln>
                <a:solidFill>
                  <a:prstClr val="white"/>
                </a:solidFill>
                <a:effectLst/>
                <a:uLnTx/>
                <a:uFillTx/>
                <a:latin typeface="SwissReSans"/>
                <a:ea typeface="+mn-ea"/>
                <a:cs typeface="+mn-cs"/>
              </a:rPr>
              <a:t>Assessment is done at contract inception – no subsequent re-assessment</a:t>
            </a:r>
          </a:p>
        </p:txBody>
      </p:sp>
      <p:sp>
        <p:nvSpPr>
          <p:cNvPr id="16" name="Content Placeholder 4"/>
          <p:cNvSpPr txBox="1">
            <a:spLocks/>
          </p:cNvSpPr>
          <p:nvPr/>
        </p:nvSpPr>
        <p:spPr bwMode="gray">
          <a:xfrm>
            <a:off x="704971" y="3843032"/>
            <a:ext cx="4505903" cy="1128966"/>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At least three groups:</a:t>
            </a:r>
          </a:p>
          <a:p>
            <a:pPr marL="356616" marR="0" lvl="0" indent="-356616"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Onerous at inception</a:t>
            </a:r>
          </a:p>
          <a:p>
            <a:pPr marL="356616" marR="0" lvl="0" indent="-356616"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No significant possibility of becoming onerous (NSPO) after inception</a:t>
            </a:r>
          </a:p>
          <a:p>
            <a:pPr marL="356616" marR="0" lvl="0" indent="-356616"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Other contracts</a:t>
            </a:r>
          </a:p>
        </p:txBody>
      </p:sp>
      <p:sp>
        <p:nvSpPr>
          <p:cNvPr id="17" name="Content Placeholder 4"/>
          <p:cNvSpPr txBox="1">
            <a:spLocks/>
          </p:cNvSpPr>
          <p:nvPr/>
        </p:nvSpPr>
        <p:spPr bwMode="gray">
          <a:xfrm>
            <a:off x="719826" y="5417460"/>
            <a:ext cx="4499719" cy="622654"/>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1600" b="1">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71450" marR="0" lvl="0" indent="-171450" algn="l" defTabSz="914400"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No grouping of contracts issued more than one year apart (‘</a:t>
            </a:r>
            <a:r>
              <a:rPr kumimoji="0" lang="en-GB" sz="1050" b="1" i="0" u="none" strike="noStrike" kern="1200" cap="none" spc="0" normalizeH="0" baseline="0" noProof="0">
                <a:ln>
                  <a:noFill/>
                </a:ln>
                <a:solidFill>
                  <a:srgbClr val="283E36"/>
                </a:solidFill>
                <a:effectLst/>
                <a:uLnTx/>
                <a:uFillTx/>
                <a:latin typeface="SwissReSans"/>
                <a:ea typeface="+mn-ea"/>
                <a:cs typeface="+mn-cs"/>
              </a:rPr>
              <a:t>annual cohorts</a:t>
            </a:r>
            <a:r>
              <a:rPr kumimoji="0" lang="en-GB" sz="1050" b="0" i="0" u="none" strike="noStrike" kern="1200" cap="none" spc="0" normalizeH="0" baseline="0" noProof="0">
                <a:ln>
                  <a:noFill/>
                </a:ln>
                <a:solidFill>
                  <a:srgbClr val="283E36"/>
                </a:solidFill>
                <a:effectLst/>
                <a:uLnTx/>
                <a:uFillTx/>
                <a:latin typeface="SwissReSans"/>
                <a:ea typeface="+mn-ea"/>
                <a:cs typeface="+mn-cs"/>
              </a:rPr>
              <a:t>’)</a:t>
            </a:r>
          </a:p>
          <a:p>
            <a:pPr marL="171450" marR="0" lvl="0" indent="-171450" algn="l" defTabSz="914400" rtl="0" eaLnBrk="1" fontAlgn="auto" latinLnBrk="0" hangingPunct="1">
              <a:lnSpc>
                <a:spcPct val="100000"/>
              </a:lnSpc>
              <a:spcBef>
                <a:spcPct val="2000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Basis for subsequent tracking, releasing CSM</a:t>
            </a:r>
          </a:p>
        </p:txBody>
      </p:sp>
      <p:sp>
        <p:nvSpPr>
          <p:cNvPr id="18" name="Content Placeholder 4"/>
          <p:cNvSpPr txBox="1">
            <a:spLocks/>
          </p:cNvSpPr>
          <p:nvPr/>
        </p:nvSpPr>
        <p:spPr bwMode="gray">
          <a:xfrm>
            <a:off x="1179695" y="3508386"/>
            <a:ext cx="4031178" cy="253019"/>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r>
              <a:rPr kumimoji="0" lang="en-GB" sz="1050" b="1" i="0" u="none" strike="noStrike" kern="1200" cap="none" spc="0" normalizeH="0" baseline="0" noProof="0">
                <a:ln>
                  <a:noFill/>
                </a:ln>
                <a:solidFill>
                  <a:srgbClr val="283E36"/>
                </a:solidFill>
                <a:effectLst/>
                <a:uLnTx/>
                <a:uFillTx/>
                <a:latin typeface="SwissReSans"/>
                <a:ea typeface="+mn-ea"/>
                <a:cs typeface="+mn-cs"/>
              </a:rPr>
              <a:t>Portfolio divided into: Onerous, NSPO, other </a:t>
            </a:r>
          </a:p>
        </p:txBody>
      </p:sp>
      <p:sp>
        <p:nvSpPr>
          <p:cNvPr id="19" name="Content Placeholder 4"/>
          <p:cNvSpPr txBox="1">
            <a:spLocks/>
          </p:cNvSpPr>
          <p:nvPr/>
        </p:nvSpPr>
        <p:spPr bwMode="gray">
          <a:xfrm>
            <a:off x="704970" y="3505014"/>
            <a:ext cx="391912" cy="253019"/>
          </a:xfrm>
          <a:prstGeom prst="rect">
            <a:avLst/>
          </a:prstGeom>
          <a:solidFill>
            <a:srgbClr val="9FB8E4"/>
          </a:solidFill>
          <a:ln w="28575">
            <a:solidFill>
              <a:srgbClr val="0F4DBC"/>
            </a:solidFill>
            <a:miter lim="800000"/>
          </a:ln>
        </p:spPr>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GB" sz="1050" b="1" i="0" u="none" strike="noStrike" kern="1200" cap="none" spc="0" normalizeH="0" baseline="0" noProof="0">
                <a:ln>
                  <a:noFill/>
                </a:ln>
                <a:solidFill>
                  <a:prstClr val="white"/>
                </a:solidFill>
                <a:effectLst/>
                <a:uLnTx/>
                <a:uFillTx/>
                <a:latin typeface="SwissReSans"/>
                <a:ea typeface="+mn-ea"/>
                <a:cs typeface="+mn-cs"/>
              </a:rPr>
              <a:t>2</a:t>
            </a:r>
          </a:p>
        </p:txBody>
      </p:sp>
      <p:sp>
        <p:nvSpPr>
          <p:cNvPr id="20" name="Content Placeholder 4"/>
          <p:cNvSpPr txBox="1">
            <a:spLocks/>
          </p:cNvSpPr>
          <p:nvPr/>
        </p:nvSpPr>
        <p:spPr bwMode="gray">
          <a:xfrm>
            <a:off x="704970" y="2758149"/>
            <a:ext cx="4505905" cy="590710"/>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050" b="0" i="0" u="none" strike="noStrike" kern="1200" cap="none" spc="0" normalizeH="0" baseline="0" noProof="0">
                <a:ln>
                  <a:noFill/>
                </a:ln>
                <a:solidFill>
                  <a:srgbClr val="283E36"/>
                </a:solidFill>
                <a:effectLst/>
                <a:uLnTx/>
                <a:uFillTx/>
                <a:latin typeface="SwissReSans"/>
                <a:ea typeface="+mn-ea"/>
                <a:cs typeface="+mn-cs"/>
              </a:rPr>
              <a:t>Subject to </a:t>
            </a:r>
            <a:r>
              <a:rPr kumimoji="0" lang="en-GB" sz="1050" b="1" i="0" u="none" strike="noStrike" kern="1200" cap="none" spc="0" normalizeH="0" baseline="0" noProof="0">
                <a:ln>
                  <a:noFill/>
                </a:ln>
                <a:solidFill>
                  <a:srgbClr val="283E36"/>
                </a:solidFill>
                <a:effectLst/>
                <a:uLnTx/>
                <a:uFillTx/>
                <a:latin typeface="SwissReSans"/>
                <a:ea typeface="+mn-ea"/>
                <a:cs typeface="+mn-cs"/>
              </a:rPr>
              <a:t>similar risks </a:t>
            </a:r>
            <a:r>
              <a:rPr kumimoji="0" lang="en-GB" sz="1050" b="0" i="0" u="none" strike="noStrike" kern="1200" cap="none" spc="0" normalizeH="0" baseline="0" noProof="0">
                <a:ln>
                  <a:noFill/>
                </a:ln>
                <a:solidFill>
                  <a:srgbClr val="283E36"/>
                </a:solidFill>
                <a:effectLst/>
                <a:uLnTx/>
                <a:uFillTx/>
                <a:latin typeface="SwissReSans"/>
                <a:ea typeface="+mn-ea"/>
                <a:cs typeface="+mn-cs"/>
              </a:rPr>
              <a:t>(e.g. product line)</a:t>
            </a:r>
          </a:p>
          <a:p>
            <a:pPr marL="356616" marR="0" lvl="0" indent="-356616"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GB" sz="1050" b="1" i="0" u="none" strike="noStrike" kern="1200" cap="none" spc="0" normalizeH="0" baseline="0" noProof="0">
                <a:ln>
                  <a:noFill/>
                </a:ln>
                <a:solidFill>
                  <a:srgbClr val="283E36"/>
                </a:solidFill>
                <a:effectLst/>
                <a:uLnTx/>
                <a:uFillTx/>
                <a:latin typeface="SwissReSans"/>
                <a:ea typeface="+mn-ea"/>
                <a:cs typeface="+mn-cs"/>
              </a:rPr>
              <a:t>Managed together</a:t>
            </a:r>
          </a:p>
        </p:txBody>
      </p:sp>
      <p:sp>
        <p:nvSpPr>
          <p:cNvPr id="21" name="Content Placeholder 4"/>
          <p:cNvSpPr txBox="1">
            <a:spLocks/>
          </p:cNvSpPr>
          <p:nvPr/>
        </p:nvSpPr>
        <p:spPr bwMode="gray">
          <a:xfrm>
            <a:off x="1179694" y="2410614"/>
            <a:ext cx="4031181" cy="253019"/>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r>
              <a:rPr kumimoji="0" lang="en-GB" sz="1050" b="1" i="0" u="none" strike="noStrike" kern="1200" cap="none" spc="0" normalizeH="0" baseline="0" noProof="0">
                <a:ln>
                  <a:noFill/>
                </a:ln>
                <a:solidFill>
                  <a:srgbClr val="283E36"/>
                </a:solidFill>
                <a:effectLst/>
                <a:uLnTx/>
                <a:uFillTx/>
                <a:latin typeface="SwissReSans"/>
                <a:ea typeface="+mn-ea"/>
                <a:cs typeface="+mn-cs"/>
              </a:rPr>
              <a:t>Portfolio of contracts</a:t>
            </a:r>
          </a:p>
        </p:txBody>
      </p:sp>
      <p:sp>
        <p:nvSpPr>
          <p:cNvPr id="22" name="Content Placeholder 4"/>
          <p:cNvSpPr txBox="1">
            <a:spLocks/>
          </p:cNvSpPr>
          <p:nvPr/>
        </p:nvSpPr>
        <p:spPr bwMode="gray">
          <a:xfrm>
            <a:off x="704969" y="2407240"/>
            <a:ext cx="391912" cy="253019"/>
          </a:xfrm>
          <a:prstGeom prst="rect">
            <a:avLst/>
          </a:prstGeom>
          <a:solidFill>
            <a:srgbClr val="9FB8E4"/>
          </a:solidFill>
          <a:ln w="28575">
            <a:solidFill>
              <a:srgbClr val="0F4DBC"/>
            </a:solidFill>
            <a:miter lim="800000"/>
          </a:ln>
        </p:spPr>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GB" sz="1050" b="1" i="0" u="none" strike="noStrike" kern="1200" cap="none" spc="0" normalizeH="0" baseline="0" noProof="0">
                <a:ln>
                  <a:noFill/>
                </a:ln>
                <a:solidFill>
                  <a:prstClr val="white"/>
                </a:solidFill>
                <a:effectLst/>
                <a:uLnTx/>
                <a:uFillTx/>
                <a:latin typeface="SwissReSans"/>
                <a:ea typeface="+mn-ea"/>
                <a:cs typeface="+mn-cs"/>
              </a:rPr>
              <a:t>1</a:t>
            </a:r>
          </a:p>
        </p:txBody>
      </p:sp>
      <p:sp>
        <p:nvSpPr>
          <p:cNvPr id="23" name="Content Placeholder 4"/>
          <p:cNvSpPr txBox="1">
            <a:spLocks/>
          </p:cNvSpPr>
          <p:nvPr/>
        </p:nvSpPr>
        <p:spPr bwMode="gray">
          <a:xfrm>
            <a:off x="708224" y="5094702"/>
            <a:ext cx="391912" cy="253019"/>
          </a:xfrm>
          <a:prstGeom prst="rect">
            <a:avLst/>
          </a:prstGeom>
          <a:solidFill>
            <a:srgbClr val="9FB8E4"/>
          </a:solidFill>
          <a:ln w="28575">
            <a:solidFill>
              <a:srgbClr val="0F4DBC"/>
            </a:solidFill>
            <a:miter lim="800000"/>
          </a:ln>
        </p:spPr>
        <p:txBody>
          <a:bodyPr vert="horz" wrap="square" lIns="40479" tIns="40479" rIns="40479" bIns="40479" rtlCol="0" anchor="ctr" anchorCtr="0">
            <a:no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ctr" defTabSz="914400" rtl="0" eaLnBrk="1" fontAlgn="auto" latinLnBrk="0" hangingPunct="1">
              <a:lnSpc>
                <a:spcPct val="100000"/>
              </a:lnSpc>
              <a:spcBef>
                <a:spcPct val="20000"/>
              </a:spcBef>
              <a:spcAft>
                <a:spcPts val="0"/>
              </a:spcAft>
              <a:buClr>
                <a:srgbClr val="FFD200"/>
              </a:buClr>
              <a:buSzPct val="70000"/>
              <a:buFont typeface="Arial" pitchFamily="34" charset="0"/>
              <a:buNone/>
              <a:tabLst/>
              <a:defRPr/>
            </a:pPr>
            <a:r>
              <a:rPr kumimoji="0" lang="en-GB" sz="1050" b="1" i="0" u="none" strike="noStrike" kern="1200" cap="none" spc="0" normalizeH="0" baseline="0" noProof="0">
                <a:ln>
                  <a:noFill/>
                </a:ln>
                <a:solidFill>
                  <a:prstClr val="white"/>
                </a:solidFill>
                <a:effectLst/>
                <a:uLnTx/>
                <a:uFillTx/>
                <a:latin typeface="SwissReSans"/>
                <a:ea typeface="+mn-ea"/>
                <a:cs typeface="+mn-cs"/>
              </a:rPr>
              <a:t>3</a:t>
            </a:r>
          </a:p>
        </p:txBody>
      </p:sp>
      <p:sp>
        <p:nvSpPr>
          <p:cNvPr id="26" name="Rectangle 25"/>
          <p:cNvSpPr/>
          <p:nvPr/>
        </p:nvSpPr>
        <p:spPr>
          <a:xfrm>
            <a:off x="7138056" y="3484940"/>
            <a:ext cx="182647" cy="1887668"/>
          </a:xfrm>
          <a:prstGeom prst="rect">
            <a:avLst/>
          </a:prstGeom>
          <a:solidFill>
            <a:srgbClr val="0F4DBC"/>
          </a:solidFill>
          <a:ln>
            <a:noFill/>
          </a:ln>
        </p:spPr>
        <p:style>
          <a:lnRef idx="2">
            <a:schemeClr val="dk1">
              <a:shade val="50000"/>
            </a:schemeClr>
          </a:lnRef>
          <a:fillRef idx="1">
            <a:schemeClr val="dk1"/>
          </a:fillRef>
          <a:effectRef idx="0">
            <a:schemeClr val="dk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99" b="0" i="0" u="none" strike="noStrike" kern="1200" cap="none" spc="0" normalizeH="0" baseline="0" noProof="0">
                <a:ln>
                  <a:noFill/>
                </a:ln>
                <a:solidFill>
                  <a:prstClr val="white">
                    <a:lumMod val="95000"/>
                  </a:prstClr>
                </a:solidFill>
                <a:effectLst/>
                <a:uLnTx/>
                <a:uFillTx/>
                <a:latin typeface="SwissReSans"/>
                <a:ea typeface="+mn-ea"/>
                <a:cs typeface="+mn-cs"/>
              </a:rPr>
              <a:t>2021</a:t>
            </a:r>
          </a:p>
        </p:txBody>
      </p:sp>
      <p:sp>
        <p:nvSpPr>
          <p:cNvPr id="27" name="Rectangle 26"/>
          <p:cNvSpPr/>
          <p:nvPr/>
        </p:nvSpPr>
        <p:spPr>
          <a:xfrm>
            <a:off x="7398667" y="3714947"/>
            <a:ext cx="184263" cy="1903850"/>
          </a:xfrm>
          <a:prstGeom prst="rect">
            <a:avLst/>
          </a:prstGeom>
          <a:solidFill>
            <a:srgbClr val="0F4DBC"/>
          </a:solidFill>
          <a:ln>
            <a:noFill/>
          </a:ln>
        </p:spPr>
        <p:style>
          <a:lnRef idx="2">
            <a:schemeClr val="dk1">
              <a:shade val="50000"/>
            </a:schemeClr>
          </a:lnRef>
          <a:fillRef idx="1">
            <a:schemeClr val="dk1"/>
          </a:fillRef>
          <a:effectRef idx="0">
            <a:schemeClr val="dk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99" b="0" i="0" u="none" strike="noStrike" kern="1200" cap="none" spc="0" normalizeH="0" baseline="0" noProof="0">
                <a:ln>
                  <a:noFill/>
                </a:ln>
                <a:solidFill>
                  <a:prstClr val="white">
                    <a:lumMod val="95000"/>
                  </a:prstClr>
                </a:solidFill>
                <a:effectLst/>
                <a:uLnTx/>
                <a:uFillTx/>
                <a:latin typeface="SwissReSans"/>
                <a:ea typeface="+mn-ea"/>
                <a:cs typeface="+mn-cs"/>
              </a:rPr>
              <a:t>2022</a:t>
            </a:r>
          </a:p>
        </p:txBody>
      </p:sp>
      <p:sp>
        <p:nvSpPr>
          <p:cNvPr id="28" name="Rectangle 27"/>
          <p:cNvSpPr/>
          <p:nvPr/>
        </p:nvSpPr>
        <p:spPr>
          <a:xfrm>
            <a:off x="7660721" y="3962682"/>
            <a:ext cx="184263" cy="1930474"/>
          </a:xfrm>
          <a:prstGeom prst="rect">
            <a:avLst/>
          </a:prstGeom>
          <a:solidFill>
            <a:srgbClr val="0F4DBC"/>
          </a:solidFill>
          <a:ln>
            <a:noFill/>
          </a:ln>
        </p:spPr>
        <p:style>
          <a:lnRef idx="2">
            <a:schemeClr val="dk1">
              <a:shade val="50000"/>
            </a:schemeClr>
          </a:lnRef>
          <a:fillRef idx="1">
            <a:schemeClr val="dk1"/>
          </a:fillRef>
          <a:effectRef idx="0">
            <a:schemeClr val="dk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99" b="0" i="0" u="none" strike="noStrike" kern="1200" cap="none" spc="0" normalizeH="0" baseline="0" noProof="0">
                <a:ln>
                  <a:noFill/>
                </a:ln>
                <a:solidFill>
                  <a:prstClr val="white">
                    <a:lumMod val="95000"/>
                  </a:prstClr>
                </a:solidFill>
                <a:effectLst/>
                <a:uLnTx/>
                <a:uFillTx/>
                <a:latin typeface="SwissReSans"/>
                <a:ea typeface="+mn-ea"/>
                <a:cs typeface="+mn-cs"/>
              </a:rPr>
              <a:t>2023</a:t>
            </a:r>
          </a:p>
        </p:txBody>
      </p:sp>
      <p:sp>
        <p:nvSpPr>
          <p:cNvPr id="25" name="Content Placeholder 4">
            <a:extLst>
              <a:ext uri="{FF2B5EF4-FFF2-40B4-BE49-F238E27FC236}">
                <a16:creationId xmlns:a16="http://schemas.microsoft.com/office/drawing/2014/main" xmlns="" id="{996151DA-6D03-4448-B81B-35F3FB6FDC5B}"/>
              </a:ext>
            </a:extLst>
          </p:cNvPr>
          <p:cNvSpPr txBox="1">
            <a:spLocks/>
          </p:cNvSpPr>
          <p:nvPr/>
        </p:nvSpPr>
        <p:spPr bwMode="gray">
          <a:xfrm>
            <a:off x="8647723" y="3980861"/>
            <a:ext cx="763564" cy="912745"/>
          </a:xfrm>
          <a:prstGeom prst="rect">
            <a:avLst/>
          </a:prstGeom>
          <a:noFill/>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900" b="1" i="0" u="none" strike="noStrike" kern="1200" cap="none" spc="0" normalizeH="0" baseline="0" noProof="0">
              <a:ln>
                <a:noFill/>
              </a:ln>
              <a:solidFill>
                <a:srgbClr val="283E36"/>
              </a:solidFill>
              <a:effectLst/>
              <a:uLnTx/>
              <a:uFillTx/>
              <a:latin typeface="SwissReSans"/>
              <a:ea typeface="+mn-ea"/>
              <a:cs typeface="+mn-cs"/>
            </a:endParaRPr>
          </a:p>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900" b="1" i="0" u="none" strike="noStrike" kern="1200" cap="none" spc="0" normalizeH="0" baseline="0" noProof="0">
              <a:ln>
                <a:noFill/>
              </a:ln>
              <a:solidFill>
                <a:srgbClr val="283E36"/>
              </a:solidFill>
              <a:effectLst/>
              <a:uLnTx/>
              <a:uFillTx/>
              <a:latin typeface="SwissReSans"/>
              <a:ea typeface="+mn-ea"/>
              <a:cs typeface="+mn-cs"/>
            </a:endParaRPr>
          </a:p>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900" b="1" i="0" u="none" strike="noStrike" kern="1200" cap="none" spc="0" normalizeH="0" baseline="0" noProof="0">
              <a:ln>
                <a:noFill/>
              </a:ln>
              <a:solidFill>
                <a:srgbClr val="283E36"/>
              </a:solidFill>
              <a:effectLst/>
              <a:uLnTx/>
              <a:uFillTx/>
              <a:latin typeface="SwissReSans"/>
              <a:ea typeface="+mn-ea"/>
              <a:cs typeface="+mn-cs"/>
            </a:endParaRPr>
          </a:p>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900" b="1" i="0" u="none" strike="noStrike" kern="1200" cap="none" spc="0" normalizeH="0" baseline="0" noProof="0">
              <a:ln>
                <a:noFill/>
              </a:ln>
              <a:solidFill>
                <a:srgbClr val="283E36"/>
              </a:solidFill>
              <a:effectLst/>
              <a:uLnTx/>
              <a:uFillTx/>
              <a:latin typeface="SwissReSans"/>
              <a:ea typeface="+mn-ea"/>
              <a:cs typeface="+mn-cs"/>
            </a:endParaRPr>
          </a:p>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1050" b="1" i="0" u="none" strike="noStrike" kern="1200" cap="none" spc="0" normalizeH="0" baseline="0" noProof="0">
              <a:ln>
                <a:noFill/>
              </a:ln>
              <a:solidFill>
                <a:srgbClr val="283E36"/>
              </a:solidFill>
              <a:effectLst/>
              <a:uLnTx/>
              <a:uFillTx/>
              <a:latin typeface="SwissReSans"/>
              <a:ea typeface="+mn-ea"/>
              <a:cs typeface="+mn-cs"/>
            </a:endParaRPr>
          </a:p>
        </p:txBody>
      </p:sp>
      <p:cxnSp>
        <p:nvCxnSpPr>
          <p:cNvPr id="3" name="Straight Arrow Connector 2">
            <a:extLst>
              <a:ext uri="{FF2B5EF4-FFF2-40B4-BE49-F238E27FC236}">
                <a16:creationId xmlns:a16="http://schemas.microsoft.com/office/drawing/2014/main" xmlns="" id="{6C36B4C2-7FF7-4427-A22C-D2DC0A578A07}"/>
              </a:ext>
            </a:extLst>
          </p:cNvPr>
          <p:cNvCxnSpPr>
            <a:cxnSpLocks/>
          </p:cNvCxnSpPr>
          <p:nvPr/>
        </p:nvCxnSpPr>
        <p:spPr>
          <a:xfrm>
            <a:off x="9455637" y="4672109"/>
            <a:ext cx="1287626" cy="9127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xmlns="" id="{DFC8A363-F669-4DF4-B269-6C88CA9BFC59}"/>
              </a:ext>
            </a:extLst>
          </p:cNvPr>
          <p:cNvSpPr/>
          <p:nvPr/>
        </p:nvSpPr>
        <p:spPr>
          <a:xfrm>
            <a:off x="10743263" y="5483675"/>
            <a:ext cx="973846"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Pct val="100000"/>
              <a:buFontTx/>
              <a:buNone/>
              <a:tabLst/>
              <a:defRPr/>
            </a:pPr>
            <a:r>
              <a:rPr kumimoji="0" lang="en-GB" sz="1400" b="1" i="0" u="none" strike="noStrike" kern="1200" cap="none" spc="0" normalizeH="0" baseline="0" noProof="0">
                <a:ln>
                  <a:noFill/>
                </a:ln>
                <a:solidFill>
                  <a:srgbClr val="283E36"/>
                </a:solidFill>
                <a:effectLst/>
                <a:uLnTx/>
                <a:uFillTx/>
                <a:latin typeface="SwissReSans"/>
                <a:ea typeface="+mn-ea"/>
                <a:cs typeface="+mn-cs"/>
              </a:rPr>
              <a:t>Group of contracts</a:t>
            </a:r>
          </a:p>
        </p:txBody>
      </p:sp>
      <p:sp>
        <p:nvSpPr>
          <p:cNvPr id="29" name="Content Placeholder 4">
            <a:extLst>
              <a:ext uri="{FF2B5EF4-FFF2-40B4-BE49-F238E27FC236}">
                <a16:creationId xmlns:a16="http://schemas.microsoft.com/office/drawing/2014/main" xmlns="" id="{4C15FE8E-3E85-46E9-994C-E5E505E390B7}"/>
              </a:ext>
            </a:extLst>
          </p:cNvPr>
          <p:cNvSpPr txBox="1">
            <a:spLocks/>
          </p:cNvSpPr>
          <p:nvPr/>
        </p:nvSpPr>
        <p:spPr bwMode="gray">
          <a:xfrm>
            <a:off x="8626405" y="5509575"/>
            <a:ext cx="763564" cy="389525"/>
          </a:xfrm>
          <a:prstGeom prst="rect">
            <a:avLst/>
          </a:prstGeom>
          <a:noFill/>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2000" b="1" i="0" u="none" strike="noStrike" kern="1200" cap="none" spc="0" normalizeH="0" baseline="0" noProof="0">
              <a:ln>
                <a:noFill/>
              </a:ln>
              <a:solidFill>
                <a:srgbClr val="283E36"/>
              </a:solidFill>
              <a:effectLst/>
              <a:uLnTx/>
              <a:uFillTx/>
              <a:latin typeface="SwissReSans"/>
              <a:ea typeface="+mn-ea"/>
              <a:cs typeface="+mn-cs"/>
            </a:endParaRPr>
          </a:p>
        </p:txBody>
      </p:sp>
      <p:sp>
        <p:nvSpPr>
          <p:cNvPr id="30" name="Content Placeholder 4">
            <a:extLst>
              <a:ext uri="{FF2B5EF4-FFF2-40B4-BE49-F238E27FC236}">
                <a16:creationId xmlns:a16="http://schemas.microsoft.com/office/drawing/2014/main" xmlns="" id="{306F5BE6-3AF0-42D4-909D-17B0138FC894}"/>
              </a:ext>
            </a:extLst>
          </p:cNvPr>
          <p:cNvSpPr txBox="1">
            <a:spLocks/>
          </p:cNvSpPr>
          <p:nvPr/>
        </p:nvSpPr>
        <p:spPr bwMode="gray">
          <a:xfrm>
            <a:off x="8640640" y="5045436"/>
            <a:ext cx="763564" cy="389525"/>
          </a:xfrm>
          <a:prstGeom prst="rect">
            <a:avLst/>
          </a:prstGeom>
          <a:noFill/>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endParaRPr kumimoji="0" lang="en-GB" sz="2000" b="1" i="0" u="none" strike="noStrike" kern="1200" cap="none" spc="0" normalizeH="0" baseline="0" noProof="0">
              <a:ln>
                <a:noFill/>
              </a:ln>
              <a:solidFill>
                <a:srgbClr val="283E36"/>
              </a:solidFill>
              <a:effectLst/>
              <a:uLnTx/>
              <a:uFillTx/>
              <a:latin typeface="SwissReSans"/>
              <a:ea typeface="+mn-ea"/>
              <a:cs typeface="+mn-cs"/>
            </a:endParaRPr>
          </a:p>
        </p:txBody>
      </p:sp>
      <p:cxnSp>
        <p:nvCxnSpPr>
          <p:cNvPr id="31" name="Straight Arrow Connector 30">
            <a:extLst>
              <a:ext uri="{FF2B5EF4-FFF2-40B4-BE49-F238E27FC236}">
                <a16:creationId xmlns:a16="http://schemas.microsoft.com/office/drawing/2014/main" xmlns="" id="{80F6B215-5D86-4EE9-BD55-7411E9C2AB69}"/>
              </a:ext>
            </a:extLst>
          </p:cNvPr>
          <p:cNvCxnSpPr>
            <a:cxnSpLocks/>
          </p:cNvCxnSpPr>
          <p:nvPr/>
        </p:nvCxnSpPr>
        <p:spPr>
          <a:xfrm>
            <a:off x="9387204" y="5788720"/>
            <a:ext cx="1341824" cy="125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xmlns="" id="{C398E1C8-58EA-4EE7-BF70-9480DBB17011}"/>
              </a:ext>
            </a:extLst>
          </p:cNvPr>
          <p:cNvCxnSpPr>
            <a:cxnSpLocks/>
          </p:cNvCxnSpPr>
          <p:nvPr/>
        </p:nvCxnSpPr>
        <p:spPr>
          <a:xfrm>
            <a:off x="9387204" y="5228817"/>
            <a:ext cx="1341824" cy="5417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Content Placeholder 4">
            <a:extLst>
              <a:ext uri="{FF2B5EF4-FFF2-40B4-BE49-F238E27FC236}">
                <a16:creationId xmlns:a16="http://schemas.microsoft.com/office/drawing/2014/main" xmlns="" id="{93A80DFA-79EF-4EF1-BA49-FC2A00C03BED}"/>
              </a:ext>
            </a:extLst>
          </p:cNvPr>
          <p:cNvSpPr txBox="1">
            <a:spLocks/>
          </p:cNvSpPr>
          <p:nvPr/>
        </p:nvSpPr>
        <p:spPr bwMode="gray">
          <a:xfrm>
            <a:off x="1161608" y="5101121"/>
            <a:ext cx="4057937" cy="243331"/>
          </a:xfrm>
          <a:prstGeom prst="rect">
            <a:avLst/>
          </a:prstGeom>
          <a:ln>
            <a:solidFill>
              <a:srgbClr val="0F4DBC"/>
            </a:solidFill>
          </a:ln>
        </p:spPr>
        <p:style>
          <a:lnRef idx="2">
            <a:schemeClr val="accent3"/>
          </a:lnRef>
          <a:fillRef idx="1">
            <a:schemeClr val="lt1"/>
          </a:fillRef>
          <a:effectRef idx="0">
            <a:schemeClr val="accent3"/>
          </a:effectRef>
          <a:fontRef idx="minor">
            <a:schemeClr val="dk1"/>
          </a:fontRef>
        </p:style>
        <p:txBody>
          <a:bodyPr vert="horz" wrap="square" lIns="40479" tIns="40479" rIns="40479" bIns="40479" rtlCol="0" anchor="t" anchorCtr="0">
            <a:spAutoFit/>
          </a:bodyPr>
          <a:lstStyle>
            <a:defPPr>
              <a:defRPr lang="en-US"/>
            </a:defPPr>
            <a:lvl1pPr indent="0">
              <a:spcBef>
                <a:spcPct val="20000"/>
              </a:spcBef>
              <a:buClr>
                <a:srgbClr val="FFD200"/>
              </a:buClr>
              <a:buSzPct val="70000"/>
              <a:buFont typeface="Arial" pitchFamily="34" charset="0"/>
              <a:buNone/>
              <a:defRPr sz="2400">
                <a:solidFill>
                  <a:srgbClr val="646464"/>
                </a:solidFill>
              </a:defRPr>
            </a:lvl1pPr>
            <a:lvl2pPr marL="713232" indent="-356616">
              <a:spcBef>
                <a:spcPct val="20000"/>
              </a:spcBef>
              <a:buClr>
                <a:schemeClr val="accent2"/>
              </a:buClr>
              <a:buSzPct val="70000"/>
              <a:buFont typeface="Arial" pitchFamily="34" charset="0"/>
              <a:buChar char="►"/>
              <a:defRPr sz="2000">
                <a:solidFill>
                  <a:schemeClr val="bg1"/>
                </a:solidFill>
              </a:defRPr>
            </a:lvl2pPr>
            <a:lvl3pPr marL="1069848" indent="-356616">
              <a:spcBef>
                <a:spcPct val="20000"/>
              </a:spcBef>
              <a:buClr>
                <a:schemeClr val="accent2"/>
              </a:buClr>
              <a:buSzPct val="70000"/>
              <a:buFont typeface="Arial" pitchFamily="34" charset="0"/>
              <a:buChar char="►"/>
              <a:defRPr>
                <a:solidFill>
                  <a:schemeClr val="bg1"/>
                </a:solidFill>
              </a:defRPr>
            </a:lvl3pPr>
            <a:lvl4pPr marL="1426464" indent="-356616">
              <a:spcBef>
                <a:spcPct val="20000"/>
              </a:spcBef>
              <a:buClr>
                <a:schemeClr val="accent2"/>
              </a:buClr>
              <a:buSzPct val="70000"/>
              <a:buFont typeface="Arial" pitchFamily="34" charset="0"/>
              <a:buChar char="►"/>
              <a:defRPr sz="1600">
                <a:solidFill>
                  <a:schemeClr val="bg1"/>
                </a:solidFill>
              </a:defRPr>
            </a:lvl4pPr>
            <a:lvl5pPr marL="1783080" indent="-356616">
              <a:spcBef>
                <a:spcPct val="20000"/>
              </a:spcBef>
              <a:buClr>
                <a:schemeClr val="accent2"/>
              </a:buClr>
              <a:buSzPct val="70000"/>
              <a:buFont typeface="Arial" pitchFamily="34" charset="0"/>
              <a:buChar char="►"/>
              <a:defRPr sz="1600">
                <a:solidFill>
                  <a:schemeClr val="bg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marR="0" lvl="0" indent="0" algn="l" defTabSz="914400" rtl="0" eaLnBrk="1" fontAlgn="auto" latinLnBrk="0" hangingPunct="1">
              <a:lnSpc>
                <a:spcPct val="100000"/>
              </a:lnSpc>
              <a:spcBef>
                <a:spcPct val="20000"/>
              </a:spcBef>
              <a:spcAft>
                <a:spcPts val="0"/>
              </a:spcAft>
              <a:buClrTx/>
              <a:buSzPct val="100000"/>
              <a:buFont typeface="Arial" pitchFamily="34" charset="0"/>
              <a:buNone/>
              <a:tabLst/>
              <a:defRPr/>
            </a:pPr>
            <a:r>
              <a:rPr kumimoji="0" lang="en-GB" sz="1050" b="1" i="0" u="none" strike="noStrike" kern="1200" cap="none" spc="0" normalizeH="0" baseline="0" noProof="0">
                <a:ln>
                  <a:noFill/>
                </a:ln>
                <a:solidFill>
                  <a:srgbClr val="283E36"/>
                </a:solidFill>
                <a:effectLst/>
                <a:uLnTx/>
                <a:uFillTx/>
                <a:latin typeface="SwissReSans"/>
                <a:ea typeface="+mn-ea"/>
                <a:cs typeface="+mn-cs"/>
              </a:rPr>
              <a:t>“Group”</a:t>
            </a:r>
          </a:p>
        </p:txBody>
      </p:sp>
      <p:sp>
        <p:nvSpPr>
          <p:cNvPr id="35" name="Title 2">
            <a:extLst>
              <a:ext uri="{FF2B5EF4-FFF2-40B4-BE49-F238E27FC236}">
                <a16:creationId xmlns:a16="http://schemas.microsoft.com/office/drawing/2014/main" xmlns="" id="{63ED97D3-F9C6-47CB-93EE-09947991F0A6}"/>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a:solidFill>
                  <a:srgbClr val="0F4DBC"/>
                </a:solidFill>
              </a:rPr>
              <a:t>Level of Aggregation</a:t>
            </a:r>
          </a:p>
          <a:p>
            <a:pPr lvl="0"/>
            <a:r>
              <a:rPr lang="en-US" sz="1500">
                <a:solidFill>
                  <a:srgbClr val="0F4DBC"/>
                </a:solidFill>
                <a:latin typeface="+mj-lt"/>
              </a:rPr>
              <a:t>Grouping of contracts</a:t>
            </a:r>
          </a:p>
          <a:p>
            <a:pPr lvl="0"/>
            <a: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endParaRPr>
          </a:p>
        </p:txBody>
      </p:sp>
      <p:sp>
        <p:nvSpPr>
          <p:cNvPr id="37" name="Slide Number Placeholder 7">
            <a:extLst>
              <a:ext uri="{FF2B5EF4-FFF2-40B4-BE49-F238E27FC236}">
                <a16:creationId xmlns:a16="http://schemas.microsoft.com/office/drawing/2014/main" xmlns="" id="{77E077D8-39F9-4F79-A87B-4F280EFE8E9E}"/>
              </a:ext>
            </a:extLst>
          </p:cNvPr>
          <p:cNvSpPr txBox="1">
            <a:spLocks/>
          </p:cNvSpPr>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9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36" name="Picture 35">
            <a:extLst>
              <a:ext uri="{FF2B5EF4-FFF2-40B4-BE49-F238E27FC236}">
                <a16:creationId xmlns:a16="http://schemas.microsoft.com/office/drawing/2014/main" xmlns="" id="{5BC7A0EA-5D40-4155-B4A3-108CB3B0030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41459342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xmlns="" id="{20616CB8-0573-489D-B3BF-E3F6906B22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2"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xmlns="" id="{20616CB8-0573-489D-B3BF-E3F6906B22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2545585C-44B6-4C26-AE16-8B52F7EA1DF8}"/>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4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16" name="Rectangle 15">
            <a:extLst>
              <a:ext uri="{FF2B5EF4-FFF2-40B4-BE49-F238E27FC236}">
                <a16:creationId xmlns:a16="http://schemas.microsoft.com/office/drawing/2014/main" xmlns="" id="{BA8609B6-1979-44C1-9537-AEAA879BCA5C}"/>
              </a:ext>
            </a:extLst>
          </p:cNvPr>
          <p:cNvSpPr/>
          <p:nvPr/>
        </p:nvSpPr>
        <p:spPr>
          <a:xfrm>
            <a:off x="5733802" y="1883470"/>
            <a:ext cx="6048672" cy="439248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10" name="Rectangle 9">
            <a:extLst>
              <a:ext uri="{FF2B5EF4-FFF2-40B4-BE49-F238E27FC236}">
                <a16:creationId xmlns:a16="http://schemas.microsoft.com/office/drawing/2014/main" xmlns="" id="{560E0108-CADD-4D8B-A838-7C7CA16C300A}"/>
              </a:ext>
            </a:extLst>
          </p:cNvPr>
          <p:cNvSpPr/>
          <p:nvPr/>
        </p:nvSpPr>
        <p:spPr>
          <a:xfrm>
            <a:off x="5847572" y="1595313"/>
            <a:ext cx="6048672" cy="2987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3" name="Slide Number Placeholder 2">
            <a:extLst>
              <a:ext uri="{FF2B5EF4-FFF2-40B4-BE49-F238E27FC236}">
                <a16:creationId xmlns:a16="http://schemas.microsoft.com/office/drawing/2014/main" xmlns="" id="{C8BAF4C1-32A9-4267-A51D-ECAFC31BB3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sp>
        <p:nvSpPr>
          <p:cNvPr id="17" name="Title 2">
            <a:extLst>
              <a:ext uri="{FF2B5EF4-FFF2-40B4-BE49-F238E27FC236}">
                <a16:creationId xmlns:a16="http://schemas.microsoft.com/office/drawing/2014/main" xmlns="" id="{4278E7C6-F90B-4254-A992-6BE2C3C621BC}"/>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dirty="0">
                <a:solidFill>
                  <a:srgbClr val="0F4DBC"/>
                </a:solidFill>
              </a:rPr>
              <a:t>Reinsurance held</a:t>
            </a:r>
            <a:endPar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endParaRPr>
          </a:p>
        </p:txBody>
      </p:sp>
      <p:sp>
        <p:nvSpPr>
          <p:cNvPr id="20" name="Text Placeholder 5">
            <a:extLst>
              <a:ext uri="{FF2B5EF4-FFF2-40B4-BE49-F238E27FC236}">
                <a16:creationId xmlns:a16="http://schemas.microsoft.com/office/drawing/2014/main" xmlns="" id="{C2E671CE-7A41-4F9F-8EB8-A9C36660073F}"/>
              </a:ext>
            </a:extLst>
          </p:cNvPr>
          <p:cNvSpPr txBox="1">
            <a:spLocks/>
          </p:cNvSpPr>
          <p:nvPr/>
        </p:nvSpPr>
        <p:spPr bwMode="black">
          <a:xfrm>
            <a:off x="698620" y="1677332"/>
            <a:ext cx="5400674" cy="4723468"/>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a:latin typeface="SwissReSans Light" panose="020B0504020202020204" pitchFamily="34" charset="0"/>
              </a:rPr>
              <a:t>IASB concluded that an entity needs to account for a group of reinsurance contracts held </a:t>
            </a:r>
            <a:r>
              <a:rPr lang="en-US" sz="1600" b="1" dirty="0">
                <a:latin typeface="SwissReSans Light" panose="020B0504020202020204" pitchFamily="34" charset="0"/>
              </a:rPr>
              <a:t>separately</a:t>
            </a:r>
            <a:r>
              <a:rPr lang="en-US" sz="1600" dirty="0">
                <a:latin typeface="SwissReSans Light" panose="020B0504020202020204" pitchFamily="34" charset="0"/>
              </a:rPr>
              <a:t> from the underlying contracts,</a:t>
            </a:r>
          </a:p>
          <a:p>
            <a:endParaRPr lang="en-US" sz="1600" dirty="0">
              <a:latin typeface="SwissReSans Light" panose="020B0504020202020204" pitchFamily="34" charset="0"/>
            </a:endParaRPr>
          </a:p>
          <a:p>
            <a:r>
              <a:rPr lang="en-US" sz="1600" dirty="0">
                <a:latin typeface="SwissReSans Light" panose="020B0504020202020204" pitchFamily="34" charset="0"/>
              </a:rPr>
              <a:t>accounting and economic ‘</a:t>
            </a:r>
            <a:r>
              <a:rPr lang="en-US" sz="1600" b="1" dirty="0">
                <a:latin typeface="SwissReSans Light" panose="020B0504020202020204" pitchFamily="34" charset="0"/>
              </a:rPr>
              <a:t>mismatches</a:t>
            </a:r>
            <a:r>
              <a:rPr lang="en-US" sz="1600" dirty="0">
                <a:latin typeface="SwissReSans Light" panose="020B0504020202020204" pitchFamily="34" charset="0"/>
              </a:rPr>
              <a:t>’ arise from reinsurance held against the underlying contracts</a:t>
            </a:r>
          </a:p>
          <a:p>
            <a:endParaRPr lang="en-US" sz="1600" dirty="0">
              <a:latin typeface="SwissReSans Light" panose="020B0504020202020204" pitchFamily="34" charset="0"/>
            </a:endParaRPr>
          </a:p>
          <a:p>
            <a:r>
              <a:rPr lang="en-US" sz="1600" dirty="0">
                <a:latin typeface="SwissReSans Light" panose="020B0504020202020204" pitchFamily="34" charset="0"/>
              </a:rPr>
              <a:t>very different from the current existing practice under US GAAP which account for reinsurance contracts held using a ‘</a:t>
            </a:r>
            <a:r>
              <a:rPr lang="en-US" sz="1600" b="1" dirty="0">
                <a:latin typeface="SwissReSans Light" panose="020B0504020202020204" pitchFamily="34" charset="0"/>
              </a:rPr>
              <a:t>mirroring approach</a:t>
            </a:r>
            <a:r>
              <a:rPr lang="en-US" sz="1600" dirty="0">
                <a:latin typeface="SwissReSans Light" panose="020B0504020202020204" pitchFamily="34" charset="0"/>
              </a:rPr>
              <a:t>’, essentially matching reinsurance contract revenue, costs, assets and liabilities the to underlying insurance contracts</a:t>
            </a: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p:txBody>
      </p:sp>
      <p:sp>
        <p:nvSpPr>
          <p:cNvPr id="21" name="Text Placeholder 8">
            <a:extLst>
              <a:ext uri="{FF2B5EF4-FFF2-40B4-BE49-F238E27FC236}">
                <a16:creationId xmlns:a16="http://schemas.microsoft.com/office/drawing/2014/main" xmlns="" id="{3D6CFCEF-5E31-4C7D-AC08-69FCF9BE94C7}"/>
              </a:ext>
            </a:extLst>
          </p:cNvPr>
          <p:cNvSpPr txBox="1">
            <a:spLocks/>
          </p:cNvSpPr>
          <p:nvPr/>
        </p:nvSpPr>
        <p:spPr bwMode="black">
          <a:xfrm>
            <a:off x="692034" y="1251113"/>
            <a:ext cx="5400674" cy="542676"/>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a:t>Background &amp; relevance</a:t>
            </a:r>
          </a:p>
        </p:txBody>
      </p:sp>
      <p:sp>
        <p:nvSpPr>
          <p:cNvPr id="25" name="Text Placeholder 5">
            <a:extLst>
              <a:ext uri="{FF2B5EF4-FFF2-40B4-BE49-F238E27FC236}">
                <a16:creationId xmlns:a16="http://schemas.microsoft.com/office/drawing/2014/main" xmlns="" id="{E5B10DD9-26AC-46AA-95ED-A8F4483CAB36}"/>
              </a:ext>
            </a:extLst>
          </p:cNvPr>
          <p:cNvSpPr txBox="1">
            <a:spLocks/>
          </p:cNvSpPr>
          <p:nvPr/>
        </p:nvSpPr>
        <p:spPr bwMode="black">
          <a:xfrm>
            <a:off x="6344430" y="1669596"/>
            <a:ext cx="5400674" cy="4731204"/>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0" indent="-285750">
              <a:buFont typeface="Arial" panose="020B0604020202020204" pitchFamily="34" charset="0"/>
              <a:buChar char="•"/>
            </a:pPr>
            <a:r>
              <a:rPr lang="en-US" sz="1600" b="1" dirty="0">
                <a:latin typeface="SwissReSans Light" panose="020B0504020202020204" pitchFamily="34" charset="0"/>
              </a:rPr>
              <a:t>contract boundaries </a:t>
            </a:r>
            <a:r>
              <a:rPr lang="en-US" sz="1600" dirty="0">
                <a:latin typeface="SwissReSans Light" panose="020B0504020202020204" pitchFamily="34" charset="0"/>
              </a:rPr>
              <a:t>and </a:t>
            </a:r>
            <a:r>
              <a:rPr lang="en-US" sz="1600" b="1" dirty="0">
                <a:latin typeface="SwissReSans Light" panose="020B0504020202020204" pitchFamily="34" charset="0"/>
              </a:rPr>
              <a:t>level of aggregation </a:t>
            </a:r>
            <a:r>
              <a:rPr lang="en-US" sz="1600" dirty="0">
                <a:latin typeface="SwissReSans Light" panose="020B0504020202020204" pitchFamily="34" charset="0"/>
              </a:rPr>
              <a:t>may be different from underlying contracts</a:t>
            </a:r>
          </a:p>
          <a:p>
            <a:pPr marL="285750" lvl="0" indent="-285750">
              <a:buFont typeface="Arial" panose="020B0604020202020204" pitchFamily="34" charset="0"/>
              <a:buChar char="•"/>
            </a:pPr>
            <a:endParaRPr lang="en-US" sz="1600" dirty="0">
              <a:latin typeface="SwissReSans Light" panose="020B0504020202020204" pitchFamily="34" charset="0"/>
            </a:endParaRPr>
          </a:p>
          <a:p>
            <a:pPr marL="285750" lvl="0" indent="-285750">
              <a:buFont typeface="Arial" panose="020B0604020202020204" pitchFamily="34" charset="0"/>
              <a:buChar char="•"/>
            </a:pPr>
            <a:r>
              <a:rPr lang="en-US" sz="1600" b="1" dirty="0">
                <a:latin typeface="SwissReSans Light" panose="020B0504020202020204" pitchFamily="34" charset="0"/>
              </a:rPr>
              <a:t>Initial recognition date </a:t>
            </a:r>
            <a:r>
              <a:rPr lang="en-US" sz="1600" dirty="0">
                <a:latin typeface="SwissReSans Light" panose="020B0504020202020204" pitchFamily="34" charset="0"/>
              </a:rPr>
              <a:t>may be different from underlying contracts [IFRS 17.62];  </a:t>
            </a:r>
          </a:p>
          <a:p>
            <a:pPr marL="285750" lvl="0" indent="-285750">
              <a:buFont typeface="Arial" panose="020B0604020202020204" pitchFamily="34" charset="0"/>
              <a:buChar char="•"/>
            </a:pPr>
            <a:endParaRPr lang="en-US" sz="1600" dirty="0">
              <a:latin typeface="SwissReSans Light" panose="020B0504020202020204" pitchFamily="34" charset="0"/>
            </a:endParaRPr>
          </a:p>
          <a:p>
            <a:pPr marL="285750" lvl="0" indent="-285750">
              <a:buFont typeface="Arial" panose="020B0604020202020204" pitchFamily="34" charset="0"/>
              <a:buChar char="•"/>
            </a:pPr>
            <a:r>
              <a:rPr lang="en-US" sz="1600" dirty="0">
                <a:latin typeface="SwissReSans Light" panose="020B0504020202020204" pitchFamily="34" charset="0"/>
              </a:rPr>
              <a:t>reinsurer </a:t>
            </a:r>
            <a:r>
              <a:rPr lang="en-US" sz="1600" b="1" dirty="0">
                <a:latin typeface="SwissReSans Light" panose="020B0504020202020204" pitchFamily="34" charset="0"/>
              </a:rPr>
              <a:t>non-performance risk </a:t>
            </a:r>
            <a:r>
              <a:rPr lang="en-US" sz="1600" dirty="0">
                <a:latin typeface="SwissReSans Light" panose="020B0504020202020204" pitchFamily="34" charset="0"/>
              </a:rPr>
              <a:t>[IFRS 17.63];</a:t>
            </a:r>
          </a:p>
          <a:p>
            <a:pPr marL="285750" lvl="0" indent="-285750">
              <a:buFont typeface="Arial" panose="020B0604020202020204" pitchFamily="34" charset="0"/>
              <a:buChar char="•"/>
            </a:pPr>
            <a:endParaRPr lang="en-US" sz="1600" dirty="0">
              <a:latin typeface="SwissReSans Light" panose="020B0504020202020204" pitchFamily="34" charset="0"/>
            </a:endParaRPr>
          </a:p>
          <a:p>
            <a:pPr marL="285750" lvl="0" indent="-285750">
              <a:buFont typeface="Arial" panose="020B0604020202020204" pitchFamily="34" charset="0"/>
              <a:buChar char="•"/>
            </a:pPr>
            <a:r>
              <a:rPr lang="en-US" sz="1600" b="1" dirty="0">
                <a:latin typeface="SwissReSans Light" panose="020B0504020202020204" pitchFamily="34" charset="0"/>
              </a:rPr>
              <a:t>risk adjustment </a:t>
            </a:r>
            <a:r>
              <a:rPr lang="en-US" sz="1600" dirty="0">
                <a:latin typeface="SwissReSans Light" panose="020B0504020202020204" pitchFamily="34" charset="0"/>
              </a:rPr>
              <a:t>(non-financial risk) transferred to reinsurer [IFRS 17.64];</a:t>
            </a:r>
          </a:p>
          <a:p>
            <a:pPr marL="285750" lvl="0" indent="-285750">
              <a:buFont typeface="Arial" panose="020B0604020202020204" pitchFamily="34" charset="0"/>
              <a:buChar char="•"/>
            </a:pPr>
            <a:endParaRPr lang="en-US" sz="1600" dirty="0">
              <a:latin typeface="SwissReSans Light" panose="020B0504020202020204" pitchFamily="34" charset="0"/>
            </a:endParaRPr>
          </a:p>
          <a:p>
            <a:pPr marL="285750" lvl="0" indent="-285750">
              <a:buFont typeface="Arial" panose="020B0604020202020204" pitchFamily="34" charset="0"/>
              <a:buChar char="•"/>
            </a:pPr>
            <a:r>
              <a:rPr lang="en-US" sz="1600" b="1" dirty="0">
                <a:latin typeface="SwissReSans Light" panose="020B0504020202020204" pitchFamily="34" charset="0"/>
              </a:rPr>
              <a:t>negative CSM </a:t>
            </a:r>
            <a:r>
              <a:rPr lang="en-US" sz="1600" dirty="0">
                <a:latin typeface="SwissReSans Light" panose="020B0504020202020204" pitchFamily="34" charset="0"/>
              </a:rPr>
              <a:t>without immediately to </a:t>
            </a:r>
            <a:r>
              <a:rPr lang="en-US" sz="1600" dirty="0" err="1">
                <a:latin typeface="SwissReSans Light" panose="020B0504020202020204" pitchFamily="34" charset="0"/>
              </a:rPr>
              <a:t>recognise</a:t>
            </a:r>
            <a:r>
              <a:rPr lang="en-US" sz="1600" dirty="0">
                <a:latin typeface="SwissReSans Light" panose="020B0504020202020204" pitchFamily="34" charset="0"/>
              </a:rPr>
              <a:t> in P&amp;L (with one exception) [IFRS 17.65, 68]; CSM for (net cost) or net gain on purchasing reinsurance held</a:t>
            </a:r>
          </a:p>
          <a:p>
            <a:pPr marL="285750" lvl="0" indent="-285750">
              <a:buFont typeface="Arial" panose="020B0604020202020204" pitchFamily="34" charset="0"/>
              <a:buChar char="•"/>
            </a:pPr>
            <a:endParaRPr lang="en-US" sz="1600" dirty="0">
              <a:latin typeface="SwissReSans Light" panose="020B0504020202020204" pitchFamily="34" charset="0"/>
            </a:endParaRPr>
          </a:p>
          <a:p>
            <a:pPr marL="285750" lvl="0" indent="-285750">
              <a:buFont typeface="Arial" panose="020B0604020202020204" pitchFamily="34" charset="0"/>
              <a:buChar char="•"/>
            </a:pPr>
            <a:r>
              <a:rPr lang="en-US" sz="1600" dirty="0">
                <a:latin typeface="SwissReSans Light" panose="020B0504020202020204" pitchFamily="34" charset="0"/>
              </a:rPr>
              <a:t>to allow for a </a:t>
            </a:r>
            <a:r>
              <a:rPr lang="en-US" sz="1600" b="1" dirty="0">
                <a:latin typeface="SwissReSans Light" panose="020B0504020202020204" pitchFamily="34" charset="0"/>
              </a:rPr>
              <a:t>loss-recovery component</a:t>
            </a:r>
            <a:r>
              <a:rPr lang="en-US" sz="1600" dirty="0">
                <a:latin typeface="SwissReSans Light" panose="020B0504020202020204" pitchFamily="34" charset="0"/>
              </a:rPr>
              <a:t>, [IFRS 17.66, 66A]  </a:t>
            </a:r>
          </a:p>
          <a:p>
            <a:pPr marL="285750" lvl="0" indent="-285750">
              <a:buFont typeface="Arial" panose="020B0604020202020204" pitchFamily="34" charset="0"/>
              <a:buChar char="•"/>
            </a:pPr>
            <a:endParaRPr lang="en-US" sz="1600" dirty="0">
              <a:latin typeface="SwissReSans Light" panose="020B0504020202020204" pitchFamily="34" charset="0"/>
            </a:endParaRPr>
          </a:p>
          <a:p>
            <a:pPr lvl="0"/>
            <a:endParaRPr lang="en-US" sz="1400" dirty="0">
              <a:latin typeface="SwissReSans Light" panose="020B0504020202020204" pitchFamily="34" charset="0"/>
            </a:endParaRPr>
          </a:p>
          <a:p>
            <a:pPr lvl="0"/>
            <a:endParaRPr lang="en-US" sz="1400" dirty="0">
              <a:latin typeface="SwissReSans Light" panose="020B0504020202020204" pitchFamily="34" charset="0"/>
            </a:endParaRPr>
          </a:p>
          <a:p>
            <a:endParaRPr lang="en-GB" sz="1400" dirty="0">
              <a:latin typeface="SwissReSans Light" panose="020B0504020202020204" pitchFamily="34" charset="0"/>
            </a:endParaRPr>
          </a:p>
        </p:txBody>
      </p:sp>
      <p:sp>
        <p:nvSpPr>
          <p:cNvPr id="26" name="Text Placeholder 8">
            <a:extLst>
              <a:ext uri="{FF2B5EF4-FFF2-40B4-BE49-F238E27FC236}">
                <a16:creationId xmlns:a16="http://schemas.microsoft.com/office/drawing/2014/main" xmlns="" id="{DB8B7330-B923-41B1-A0B2-9F138961F366}"/>
              </a:ext>
            </a:extLst>
          </p:cNvPr>
          <p:cNvSpPr txBox="1">
            <a:spLocks/>
          </p:cNvSpPr>
          <p:nvPr/>
        </p:nvSpPr>
        <p:spPr bwMode="black">
          <a:xfrm>
            <a:off x="6337844" y="1251113"/>
            <a:ext cx="5400674" cy="542676"/>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dirty="0"/>
              <a:t>Source of mismatches</a:t>
            </a:r>
          </a:p>
        </p:txBody>
      </p:sp>
      <p:pic>
        <p:nvPicPr>
          <p:cNvPr id="19" name="Picture 18">
            <a:extLst>
              <a:ext uri="{FF2B5EF4-FFF2-40B4-BE49-F238E27FC236}">
                <a16:creationId xmlns:a16="http://schemas.microsoft.com/office/drawing/2014/main" xmlns="" id="{FC37E086-7EED-456F-8329-52E85D34C1D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1509219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0676"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152400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GB" sz="4800" b="0" i="0" u="none" strike="noStrike" kern="1200" cap="none" spc="0" normalizeH="0" baseline="0" noProof="0">
              <a:ln>
                <a:noFill/>
              </a:ln>
              <a:solidFill>
                <a:prstClr val="white"/>
              </a:solidFill>
              <a:effectLst/>
              <a:uLnTx/>
              <a:uFillTx/>
              <a:latin typeface="SwissReSans Light" panose="020B0504020202020204" pitchFamily="34" charset="0"/>
              <a:ea typeface="+mn-ea"/>
              <a:cs typeface="+mn-cs"/>
              <a:sym typeface="SwissReSans Light" panose="020B0504020202020204" pitchFamily="34" charset="0"/>
            </a:endParaRPr>
          </a:p>
        </p:txBody>
      </p:sp>
      <p:sp>
        <p:nvSpPr>
          <p:cNvPr id="2" name="Title 1"/>
          <p:cNvSpPr>
            <a:spLocks noGrp="1"/>
          </p:cNvSpPr>
          <p:nvPr>
            <p:ph type="title"/>
          </p:nvPr>
        </p:nvSpPr>
        <p:spPr/>
        <p:txBody>
          <a:bodyPr/>
          <a:lstStyle/>
          <a:p>
            <a:r>
              <a:rPr lang="en-GB" sz="2800">
                <a:latin typeface="SwissReSans" panose="020B0604020202020204" pitchFamily="34" charset="0"/>
              </a:rPr>
              <a:t>Transition</a:t>
            </a:r>
            <a:r>
              <a:rPr lang="en-GB" sz="2800" kern="0">
                <a:solidFill>
                  <a:schemeClr val="tx1"/>
                </a:solidFill>
                <a:latin typeface="SwissReSans" panose="020B0604020202020204" pitchFamily="34" charset="0"/>
                <a:ea typeface="黑体" pitchFamily="2" charset="-122"/>
              </a:rPr>
              <a:t/>
            </a:r>
            <a:br>
              <a:rPr lang="en-GB" sz="2800" kern="0">
                <a:solidFill>
                  <a:schemeClr val="tx1"/>
                </a:solidFill>
                <a:latin typeface="SwissReSans" panose="020B0604020202020204" pitchFamily="34" charset="0"/>
                <a:ea typeface="黑体" pitchFamily="2" charset="-122"/>
              </a:rPr>
            </a:br>
            <a:r>
              <a:rPr lang="en-GB" sz="2800">
                <a:latin typeface="SwissReSans" panose="020B0604020202020204" pitchFamily="34" charset="0"/>
              </a:rPr>
              <a:t/>
            </a:r>
            <a:br>
              <a:rPr lang="en-GB" sz="2800">
                <a:latin typeface="SwissReSans" panose="020B0604020202020204" pitchFamily="34" charset="0"/>
              </a:rPr>
            </a:br>
            <a:r>
              <a:rPr lang="en-GB" sz="2800">
                <a:latin typeface="SwissReSans" panose="020B0604020202020204" pitchFamily="34" charset="0"/>
              </a:rPr>
              <a:t> </a:t>
            </a:r>
          </a:p>
        </p:txBody>
      </p:sp>
      <p:pic>
        <p:nvPicPr>
          <p:cNvPr id="32" name="Picture 31">
            <a:extLst>
              <a:ext uri="{FF2B5EF4-FFF2-40B4-BE49-F238E27FC236}">
                <a16:creationId xmlns:a16="http://schemas.microsoft.com/office/drawing/2014/main" xmlns="" id="{F1FCE1AB-7015-4E37-B897-7D295607777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34887" y="5949026"/>
            <a:ext cx="755375" cy="760943"/>
          </a:xfrm>
          <a:prstGeom prst="rect">
            <a:avLst/>
          </a:prstGeom>
        </p:spPr>
      </p:pic>
    </p:spTree>
    <p:extLst>
      <p:ext uri="{BB962C8B-B14F-4D97-AF65-F5344CB8AC3E}">
        <p14:creationId xmlns:p14="http://schemas.microsoft.com/office/powerpoint/2010/main" val="28747637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xmlns="" id="{D01CB694-1557-40DA-99B3-86AABE6D87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0" name="think-cell Slide" r:id="rId6" imgW="395" imgH="394" progId="TCLayout.ActiveDocument.1">
                  <p:embed/>
                </p:oleObj>
              </mc:Choice>
              <mc:Fallback>
                <p:oleObj name="think-cell Slide" r:id="rId6" imgW="395" imgH="394" progId="TCLayout.ActiveDocument.1">
                  <p:embed/>
                  <p:pic>
                    <p:nvPicPr>
                      <p:cNvPr id="11" name="Object 10" hidden="1">
                        <a:extLst>
                          <a:ext uri="{FF2B5EF4-FFF2-40B4-BE49-F238E27FC236}">
                            <a16:creationId xmlns:a16="http://schemas.microsoft.com/office/drawing/2014/main" xmlns="" id="{D01CB694-1557-40DA-99B3-86AABE6D87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xmlns="" id="{77CCA402-E8D0-4651-AF20-02583D4D96B4}"/>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400" u="none" strike="noStrike" kern="1200" cap="none" spc="0" normalizeH="0" noProof="0">
              <a:ln>
                <a:noFill/>
              </a:ln>
              <a:solidFill>
                <a:prstClr val="white"/>
              </a:solidFill>
              <a:effectLst/>
              <a:uLnTx/>
              <a:uFillTx/>
              <a:latin typeface="SwissReSans" panose="020B0604020202020204" pitchFamily="34" charset="0"/>
              <a:sym typeface="SwissReSans" panose="020B0604020202020204" pitchFamily="34" charset="0"/>
            </a:endParaRPr>
          </a:p>
        </p:txBody>
      </p:sp>
      <p:pic>
        <p:nvPicPr>
          <p:cNvPr id="9" name="Picture Placeholder 8">
            <a:extLst>
              <a:ext uri="{FF2B5EF4-FFF2-40B4-BE49-F238E27FC236}">
                <a16:creationId xmlns:a16="http://schemas.microsoft.com/office/drawing/2014/main" xmlns="" id="{1260E33A-7CA2-4BD7-9D1D-1E0D57FC2FE2}"/>
              </a:ext>
            </a:extLst>
          </p:cNvPr>
          <p:cNvPicPr>
            <a:picLocks noGrp="1"/>
          </p:cNvPicPr>
          <p:nvPr>
            <p:ph type="pic" sz="quarter" idx="13"/>
            <p:custDataLst>
              <p:tags r:id="rId4"/>
            </p:custDataLst>
          </p:nvPr>
        </p:nvPicPr>
        <p:blipFill>
          <a:blip r:embed="rId8">
            <a:extLst>
              <a:ext uri="{28A0092B-C50C-407E-A947-70E740481C1C}">
                <a14:useLocalDpi xmlns:a14="http://schemas.microsoft.com/office/drawing/2010/main" val="0"/>
              </a:ext>
            </a:extLst>
          </a:blip>
          <a:srcRect l="50000"/>
          <a:stretch>
            <a:fillRect/>
          </a:stretch>
        </p:blipFill>
        <p:spPr bwMode="gray">
          <a:xfrm>
            <a:off x="6096000" y="0"/>
            <a:ext cx="6096000" cy="6858000"/>
          </a:xfrm>
        </p:spPr>
      </p:pic>
      <p:sp>
        <p:nvSpPr>
          <p:cNvPr id="2" name="Content Placeholder 1">
            <a:extLst>
              <a:ext uri="{FF2B5EF4-FFF2-40B4-BE49-F238E27FC236}">
                <a16:creationId xmlns:a16="http://schemas.microsoft.com/office/drawing/2014/main" xmlns="" id="{E464160A-9DCD-4F75-94D2-EB95990332D0}"/>
              </a:ext>
            </a:extLst>
          </p:cNvPr>
          <p:cNvSpPr>
            <a:spLocks noGrp="1"/>
          </p:cNvSpPr>
          <p:nvPr>
            <p:ph sz="half" idx="1"/>
          </p:nvPr>
        </p:nvSpPr>
        <p:spPr>
          <a:xfrm>
            <a:off x="695325" y="1629968"/>
            <a:ext cx="5058112" cy="2625236"/>
          </a:xfrm>
        </p:spPr>
        <p:txBody>
          <a:bodyPr/>
          <a:lstStyle/>
          <a:p>
            <a:pPr>
              <a:spcBef>
                <a:spcPts val="600"/>
              </a:spcBef>
            </a:pPr>
            <a:r>
              <a:rPr lang="en-US" sz="1400" dirty="0">
                <a:latin typeface="SwissReSans Light" panose="020B0504020202020204" pitchFamily="34" charset="0"/>
              </a:rPr>
              <a:t>An opening balance sheet needs to be determined one year before, as of the 1</a:t>
            </a:r>
            <a:r>
              <a:rPr lang="en-US" sz="1400" baseline="30000" dirty="0">
                <a:latin typeface="SwissReSans Light" panose="020B0504020202020204" pitchFamily="34" charset="0"/>
              </a:rPr>
              <a:t>st</a:t>
            </a:r>
            <a:r>
              <a:rPr lang="en-US" sz="1400" dirty="0">
                <a:latin typeface="SwissReSans Light" panose="020B0504020202020204" pitchFamily="34" charset="0"/>
              </a:rPr>
              <a:t> January 2022</a:t>
            </a:r>
          </a:p>
          <a:p>
            <a:pPr>
              <a:spcBef>
                <a:spcPts val="600"/>
              </a:spcBef>
            </a:pPr>
            <a:r>
              <a:rPr lang="en-US" sz="1400" dirty="0">
                <a:latin typeface="SwissReSans Light" panose="020B0504020202020204" pitchFamily="34" charset="0"/>
              </a:rPr>
              <a:t>The expectations are to apply the IFRS 17 standards in their integrality, where practical </a:t>
            </a:r>
          </a:p>
          <a:p>
            <a:pPr>
              <a:spcBef>
                <a:spcPts val="600"/>
              </a:spcBef>
            </a:pPr>
            <a:r>
              <a:rPr lang="en-US" sz="1400" dirty="0">
                <a:latin typeface="SwissReSans Light" panose="020B0504020202020204" pitchFamily="34" charset="0"/>
              </a:rPr>
              <a:t>A key element is to calculate/determine the opening CSM balance, which is </a:t>
            </a:r>
            <a:r>
              <a:rPr lang="en-US" sz="1400" b="1" dirty="0">
                <a:latin typeface="SwissReSans Light" panose="020B0504020202020204" pitchFamily="34" charset="0"/>
              </a:rPr>
              <a:t>one of the most important drivers for the level of equity and profit in the upcoming years</a:t>
            </a:r>
          </a:p>
          <a:p>
            <a:endParaRPr lang="en-US" sz="1400" dirty="0">
              <a:latin typeface="SwissReSans Light" panose="020B0504020202020204" pitchFamily="34" charset="0"/>
            </a:endParaRPr>
          </a:p>
        </p:txBody>
      </p:sp>
      <p:sp>
        <p:nvSpPr>
          <p:cNvPr id="4" name="Title 3">
            <a:extLst>
              <a:ext uri="{FF2B5EF4-FFF2-40B4-BE49-F238E27FC236}">
                <a16:creationId xmlns:a16="http://schemas.microsoft.com/office/drawing/2014/main" xmlns="" id="{6BDB11FB-BE96-4E09-82BD-EC14838D721D}"/>
              </a:ext>
            </a:extLst>
          </p:cNvPr>
          <p:cNvSpPr>
            <a:spLocks noGrp="1"/>
          </p:cNvSpPr>
          <p:nvPr>
            <p:ph type="title"/>
          </p:nvPr>
        </p:nvSpPr>
        <p:spPr/>
        <p:txBody>
          <a:bodyPr vert="horz" lIns="0" tIns="0" rIns="0" bIns="0" rtlCol="0">
            <a:noAutofit/>
          </a:bodyPr>
          <a:lstStyle/>
          <a:p>
            <a:pPr>
              <a:lnSpc>
                <a:spcPct val="100000"/>
              </a:lnSpc>
              <a:spcBef>
                <a:spcPts val="0"/>
              </a:spcBef>
              <a:buSzPct val="100000"/>
              <a:buFont typeface="Arial" pitchFamily="34" charset="0"/>
            </a:pPr>
            <a:r>
              <a:rPr lang="en-GB" dirty="0">
                <a:ea typeface="+mn-ea"/>
                <a:cs typeface="+mn-cs"/>
              </a:rPr>
              <a:t>Background and relevance</a:t>
            </a:r>
          </a:p>
        </p:txBody>
      </p:sp>
      <p:sp>
        <p:nvSpPr>
          <p:cNvPr id="3" name="Slide Number Placeholder 2">
            <a:extLst>
              <a:ext uri="{FF2B5EF4-FFF2-40B4-BE49-F238E27FC236}">
                <a16:creationId xmlns:a16="http://schemas.microsoft.com/office/drawing/2014/main" xmlns="" id="{86EDBEC5-4291-4EDC-B20D-AF310FFC7E0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sp>
        <p:nvSpPr>
          <p:cNvPr id="13" name="Text Placeholder 12">
            <a:extLst>
              <a:ext uri="{FF2B5EF4-FFF2-40B4-BE49-F238E27FC236}">
                <a16:creationId xmlns:a16="http://schemas.microsoft.com/office/drawing/2014/main" xmlns="" id="{D1A178BE-7E2B-4DFD-9607-6E7614FF6503}"/>
              </a:ext>
            </a:extLst>
          </p:cNvPr>
          <p:cNvSpPr txBox="1">
            <a:spLocks/>
          </p:cNvSpPr>
          <p:nvPr/>
        </p:nvSpPr>
        <p:spPr>
          <a:xfrm>
            <a:off x="7313829" y="1447531"/>
            <a:ext cx="3672483" cy="3507240"/>
          </a:xfrm>
          <a:prstGeom prst="ellipse">
            <a:avLst/>
          </a:prstGeom>
          <a:noFill/>
          <a:ln w="38100">
            <a:solidFill>
              <a:schemeClr val="bg1"/>
            </a:solidFill>
          </a:ln>
        </p:spPr>
        <p:txBody>
          <a:bodyPr anchor="ct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Pct val="100000"/>
              <a:buFont typeface="Arial" pitchFamily="34" charset="0"/>
              <a:buNone/>
              <a:tabLst/>
              <a:defRPr/>
            </a:pPr>
            <a:r>
              <a:rPr kumimoji="0" lang="en-GB" sz="2800" b="0" i="0" u="none" strike="noStrike" kern="1200" cap="none" spc="0" normalizeH="0" baseline="0" noProof="0">
                <a:ln>
                  <a:noFill/>
                </a:ln>
                <a:solidFill>
                  <a:prstClr val="white"/>
                </a:solidFill>
                <a:effectLst/>
                <a:uLnTx/>
                <a:uFillTx/>
                <a:latin typeface="SwissReSans" pitchFamily="34" charset="0"/>
                <a:ea typeface="+mn-ea"/>
                <a:cs typeface="+mn-cs"/>
              </a:rPr>
              <a:t>Transition</a:t>
            </a:r>
          </a:p>
        </p:txBody>
      </p:sp>
      <p:grpSp>
        <p:nvGrpSpPr>
          <p:cNvPr id="12" name="Group 11">
            <a:extLst>
              <a:ext uri="{FF2B5EF4-FFF2-40B4-BE49-F238E27FC236}">
                <a16:creationId xmlns:a16="http://schemas.microsoft.com/office/drawing/2014/main" xmlns="" id="{140D9DE7-942D-442A-BB70-EA29178A0132}"/>
              </a:ext>
            </a:extLst>
          </p:cNvPr>
          <p:cNvGrpSpPr/>
          <p:nvPr/>
        </p:nvGrpSpPr>
        <p:grpSpPr>
          <a:xfrm>
            <a:off x="1026349" y="3901946"/>
            <a:ext cx="4258572" cy="2103014"/>
            <a:chOff x="2030383" y="1701711"/>
            <a:chExt cx="8383850" cy="2556451"/>
          </a:xfrm>
        </p:grpSpPr>
        <p:sp>
          <p:nvSpPr>
            <p:cNvPr id="14" name="Right Arrow 4">
              <a:extLst>
                <a:ext uri="{FF2B5EF4-FFF2-40B4-BE49-F238E27FC236}">
                  <a16:creationId xmlns:a16="http://schemas.microsoft.com/office/drawing/2014/main" xmlns="" id="{515E02D7-DF34-4458-9A58-5B523C440EF5}"/>
                </a:ext>
              </a:extLst>
            </p:cNvPr>
            <p:cNvSpPr/>
            <p:nvPr/>
          </p:nvSpPr>
          <p:spPr bwMode="gray">
            <a:xfrm>
              <a:off x="2030383" y="1701711"/>
              <a:ext cx="8383850" cy="1020909"/>
            </a:xfrm>
            <a:prstGeom prst="rightArrow">
              <a:avLst/>
            </a:prstGeom>
            <a:solidFill>
              <a:schemeClr val="tx1">
                <a:lumMod val="60000"/>
                <a:lumOff val="40000"/>
              </a:schemeClr>
            </a:solidFill>
            <a:ln w="28575">
              <a:solidFill>
                <a:srgbClr val="0070C0"/>
              </a:solidFill>
            </a:ln>
            <a:effectLst/>
          </p:spPr>
          <p:txBody>
            <a:bodyPr wrap="square" lIns="53929" tIns="26964" rIns="53929" bIns="2696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74" b="0" i="0" u="none" strike="noStrike" kern="1200" cap="none" spc="0" normalizeH="0" baseline="0" noProof="0">
                <a:ln>
                  <a:noFill/>
                </a:ln>
                <a:solidFill>
                  <a:prstClr val="white"/>
                </a:solidFill>
                <a:effectLst/>
                <a:uLnTx/>
                <a:uFillTx/>
                <a:latin typeface="SwissReSans"/>
                <a:ea typeface="+mn-ea"/>
                <a:cs typeface="+mn-cs"/>
              </a:endParaRPr>
            </a:p>
          </p:txBody>
        </p:sp>
        <p:sp>
          <p:nvSpPr>
            <p:cNvPr id="15" name="Rectangle 14">
              <a:extLst>
                <a:ext uri="{FF2B5EF4-FFF2-40B4-BE49-F238E27FC236}">
                  <a16:creationId xmlns:a16="http://schemas.microsoft.com/office/drawing/2014/main" xmlns="" id="{085B3F45-46A2-4C91-8675-6527BD55413E}"/>
                </a:ext>
              </a:extLst>
            </p:cNvPr>
            <p:cNvSpPr/>
            <p:nvPr/>
          </p:nvSpPr>
          <p:spPr bwMode="gray">
            <a:xfrm>
              <a:off x="2660164" y="2047330"/>
              <a:ext cx="3367258" cy="358985"/>
            </a:xfrm>
            <a:prstGeom prst="rect">
              <a:avLst/>
            </a:prstGeom>
            <a:solidFill>
              <a:schemeClr val="accent3">
                <a:lumMod val="40000"/>
                <a:lumOff val="60000"/>
              </a:schemeClr>
            </a:solidFill>
            <a:ln>
              <a:solidFill>
                <a:srgbClr val="0070C0"/>
              </a:solidFill>
            </a:ln>
            <a:effectLst/>
          </p:spPr>
          <p:txBody>
            <a:bodyPr wrap="square" lIns="53929" tIns="26964" rIns="53929" bIns="2696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49" b="1" i="0" u="none" strike="noStrike" kern="1200" cap="none" spc="0" normalizeH="0" baseline="0" noProof="0">
                  <a:ln>
                    <a:noFill/>
                  </a:ln>
                  <a:solidFill>
                    <a:prstClr val="white"/>
                  </a:solidFill>
                  <a:effectLst/>
                  <a:uLnTx/>
                  <a:uFillTx/>
                  <a:latin typeface="SwissReSans"/>
                  <a:ea typeface="+mn-ea"/>
                  <a:cs typeface="+mn-cs"/>
                </a:rPr>
                <a:t>1/1/2022(23)</a:t>
              </a:r>
            </a:p>
          </p:txBody>
        </p:sp>
        <p:sp>
          <p:nvSpPr>
            <p:cNvPr id="16" name="Rectangle 15">
              <a:extLst>
                <a:ext uri="{FF2B5EF4-FFF2-40B4-BE49-F238E27FC236}">
                  <a16:creationId xmlns:a16="http://schemas.microsoft.com/office/drawing/2014/main" xmlns="" id="{EE4312F4-DA7C-4293-A4EC-42701C9CF4D3}"/>
                </a:ext>
              </a:extLst>
            </p:cNvPr>
            <p:cNvSpPr/>
            <p:nvPr/>
          </p:nvSpPr>
          <p:spPr bwMode="gray">
            <a:xfrm>
              <a:off x="6101186" y="2047330"/>
              <a:ext cx="3573686" cy="358985"/>
            </a:xfrm>
            <a:prstGeom prst="rect">
              <a:avLst/>
            </a:prstGeom>
            <a:solidFill>
              <a:schemeClr val="accent3">
                <a:lumMod val="40000"/>
                <a:lumOff val="60000"/>
              </a:schemeClr>
            </a:solidFill>
            <a:ln>
              <a:solidFill>
                <a:srgbClr val="0070C0"/>
              </a:solidFill>
            </a:ln>
            <a:effectLst/>
          </p:spPr>
          <p:txBody>
            <a:bodyPr wrap="square" lIns="53929" tIns="26964" rIns="53929" bIns="26964"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49" b="1" i="0" u="none" strike="noStrike" kern="1200" cap="none" spc="0" normalizeH="0" baseline="0" noProof="0">
                  <a:ln>
                    <a:noFill/>
                  </a:ln>
                  <a:solidFill>
                    <a:prstClr val="white"/>
                  </a:solidFill>
                  <a:effectLst/>
                  <a:uLnTx/>
                  <a:uFillTx/>
                  <a:latin typeface="SwissReSans"/>
                  <a:ea typeface="+mn-ea"/>
                  <a:cs typeface="+mn-cs"/>
                </a:rPr>
                <a:t>1/1/2023(24)</a:t>
              </a:r>
            </a:p>
          </p:txBody>
        </p:sp>
        <p:cxnSp>
          <p:nvCxnSpPr>
            <p:cNvPr id="17" name="Straight Arrow Connector 16">
              <a:extLst>
                <a:ext uri="{FF2B5EF4-FFF2-40B4-BE49-F238E27FC236}">
                  <a16:creationId xmlns:a16="http://schemas.microsoft.com/office/drawing/2014/main" xmlns="" id="{DD57076F-6BE0-4C7E-A464-632241549E9D}"/>
                </a:ext>
              </a:extLst>
            </p:cNvPr>
            <p:cNvCxnSpPr/>
            <p:nvPr/>
          </p:nvCxnSpPr>
          <p:spPr bwMode="auto">
            <a:xfrm>
              <a:off x="4343189" y="2406314"/>
              <a:ext cx="0" cy="395794"/>
            </a:xfrm>
            <a:prstGeom prst="straightConnector1">
              <a:avLst/>
            </a:prstGeom>
            <a:solidFill>
              <a:srgbClr val="4184A9"/>
            </a:solidFill>
            <a:ln w="1905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8" name="TextBox 17">
              <a:extLst>
                <a:ext uri="{FF2B5EF4-FFF2-40B4-BE49-F238E27FC236}">
                  <a16:creationId xmlns:a16="http://schemas.microsoft.com/office/drawing/2014/main" xmlns="" id="{1134372F-AE35-4310-8D09-F498FF89F1F9}"/>
                </a:ext>
              </a:extLst>
            </p:cNvPr>
            <p:cNvSpPr txBox="1"/>
            <p:nvPr/>
          </p:nvSpPr>
          <p:spPr>
            <a:xfrm>
              <a:off x="2660164" y="2787450"/>
              <a:ext cx="3367258" cy="1465683"/>
            </a:xfrm>
            <a:prstGeom prst="rect">
              <a:avLst/>
            </a:prstGeom>
            <a:noFill/>
            <a:ln>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3E36"/>
                  </a:solidFill>
                  <a:effectLst/>
                  <a:uLnTx/>
                  <a:uFillTx/>
                  <a:latin typeface="SwissReSans"/>
                  <a:ea typeface="+mn-ea"/>
                  <a:cs typeface="+mn-cs"/>
                </a:rPr>
                <a:t>Transition d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3E36"/>
                  </a:solidFill>
                  <a:effectLst/>
                  <a:uLnTx/>
                  <a:uFillTx/>
                  <a:latin typeface="SwissReSans"/>
                  <a:ea typeface="+mn-ea"/>
                  <a:cs typeface="+mn-cs"/>
                </a:rPr>
                <a:t>Beginning of the annual reporting period immediately preceding the date of initial application</a:t>
              </a:r>
            </a:p>
          </p:txBody>
        </p:sp>
        <p:sp>
          <p:nvSpPr>
            <p:cNvPr id="19" name="TextBox 18">
              <a:extLst>
                <a:ext uri="{FF2B5EF4-FFF2-40B4-BE49-F238E27FC236}">
                  <a16:creationId xmlns:a16="http://schemas.microsoft.com/office/drawing/2014/main" xmlns="" id="{E5D4FF07-E09C-446A-AD36-C479090CE91C}"/>
                </a:ext>
              </a:extLst>
            </p:cNvPr>
            <p:cNvSpPr txBox="1"/>
            <p:nvPr/>
          </p:nvSpPr>
          <p:spPr>
            <a:xfrm>
              <a:off x="6101186" y="2799028"/>
              <a:ext cx="3573686" cy="1459134"/>
            </a:xfrm>
            <a:prstGeom prst="rect">
              <a:avLst/>
            </a:prstGeom>
            <a:noFill/>
            <a:ln>
              <a:solidFill>
                <a:srgbClr val="0070C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3E36"/>
                  </a:solidFill>
                  <a:effectLst/>
                  <a:uLnTx/>
                  <a:uFillTx/>
                  <a:latin typeface="SwissReSans"/>
                  <a:ea typeface="+mn-ea"/>
                  <a:cs typeface="+mn-cs"/>
                </a:rPr>
                <a:t>Date of initial application</a:t>
              </a:r>
              <a:endParaRPr kumimoji="0" lang="en-GB" sz="1200" b="0" i="0" u="none" strike="noStrike" kern="1200" cap="none" spc="0" normalizeH="0" baseline="0" noProof="0">
                <a:ln>
                  <a:noFill/>
                </a:ln>
                <a:solidFill>
                  <a:srgbClr val="283E36"/>
                </a:solidFill>
                <a:effectLst/>
                <a:uLnTx/>
                <a:uFillTx/>
                <a:latin typeface="SwissRe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3E36"/>
                  </a:solidFill>
                  <a:effectLst/>
                  <a:uLnTx/>
                  <a:uFillTx/>
                  <a:latin typeface="SwissReSans"/>
                  <a:ea typeface="+mn-ea"/>
                  <a:cs typeface="+mn-cs"/>
                </a:rPr>
                <a:t>Beginning of the annual reporting period in which an entity first applies IFRS 17</a:t>
              </a:r>
            </a:p>
          </p:txBody>
        </p:sp>
        <p:cxnSp>
          <p:nvCxnSpPr>
            <p:cNvPr id="20" name="Straight Arrow Connector 19">
              <a:extLst>
                <a:ext uri="{FF2B5EF4-FFF2-40B4-BE49-F238E27FC236}">
                  <a16:creationId xmlns:a16="http://schemas.microsoft.com/office/drawing/2014/main" xmlns="" id="{C3E8468D-CE8B-4496-B750-6BC70C57F63E}"/>
                </a:ext>
              </a:extLst>
            </p:cNvPr>
            <p:cNvCxnSpPr/>
            <p:nvPr/>
          </p:nvCxnSpPr>
          <p:spPr bwMode="auto">
            <a:xfrm>
              <a:off x="7880156" y="2391654"/>
              <a:ext cx="0" cy="395794"/>
            </a:xfrm>
            <a:prstGeom prst="straightConnector1">
              <a:avLst/>
            </a:prstGeom>
            <a:solidFill>
              <a:srgbClr val="4184A9"/>
            </a:solidFill>
            <a:ln w="19050" cap="flat" cmpd="sng" algn="ctr">
              <a:solidFill>
                <a:srgbClr val="0070C0"/>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pic>
        <p:nvPicPr>
          <p:cNvPr id="23" name="Picture 22">
            <a:extLst>
              <a:ext uri="{FF2B5EF4-FFF2-40B4-BE49-F238E27FC236}">
                <a16:creationId xmlns:a16="http://schemas.microsoft.com/office/drawing/2014/main" xmlns="" id="{FA37FFEC-FD8B-49D7-A26C-4AF812A55C4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22445737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11F5764-6F3C-4739-8E47-10C4055C81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4" name="think-cell Slide" r:id="rId5" imgW="306" imgH="306" progId="TCLayout.ActiveDocument.1">
                  <p:embed/>
                </p:oleObj>
              </mc:Choice>
              <mc:Fallback>
                <p:oleObj name="think-cell Slide" r:id="rId5" imgW="306" imgH="306" progId="TCLayout.ActiveDocument.1">
                  <p:embed/>
                  <p:pic>
                    <p:nvPicPr>
                      <p:cNvPr id="3" name="Object 2" hidden="1">
                        <a:extLst>
                          <a:ext uri="{FF2B5EF4-FFF2-40B4-BE49-F238E27FC236}">
                            <a16:creationId xmlns:a16="http://schemas.microsoft.com/office/drawing/2014/main" xmlns="" id="{911F5764-6F3C-4739-8E47-10C4055C81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4"/>
          <p:cNvSpPr txBox="1">
            <a:spLocks/>
          </p:cNvSpPr>
          <p:nvPr/>
        </p:nvSpPr>
        <p:spPr bwMode="gray">
          <a:xfrm>
            <a:off x="708182" y="693600"/>
            <a:ext cx="9194953" cy="272848"/>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bg1"/>
                </a:solidFill>
                <a:latin typeface="SwissReSans"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a:ln>
                  <a:noFill/>
                </a:ln>
                <a:solidFill>
                  <a:srgbClr val="0F4DBC"/>
                </a:solidFill>
                <a:effectLst/>
                <a:uLnTx/>
                <a:uFillTx/>
                <a:latin typeface="SwissReSans" pitchFamily="34" charset="0"/>
                <a:ea typeface="+mj-ea"/>
                <a:cs typeface="+mj-cs"/>
              </a:rPr>
              <a:t>Transition: Estimating CSM on transition – key requirements </a:t>
            </a:r>
          </a:p>
        </p:txBody>
      </p:sp>
      <p:grpSp>
        <p:nvGrpSpPr>
          <p:cNvPr id="5" name="Group 4">
            <a:extLst>
              <a:ext uri="{FF2B5EF4-FFF2-40B4-BE49-F238E27FC236}">
                <a16:creationId xmlns:a16="http://schemas.microsoft.com/office/drawing/2014/main" xmlns="" id="{CDE4B11C-2F0D-47FD-9809-C858B7D37200}"/>
              </a:ext>
            </a:extLst>
          </p:cNvPr>
          <p:cNvGrpSpPr/>
          <p:nvPr/>
        </p:nvGrpSpPr>
        <p:grpSpPr>
          <a:xfrm>
            <a:off x="626795" y="1308858"/>
            <a:ext cx="11085780" cy="3490318"/>
            <a:chOff x="634650" y="1218413"/>
            <a:chExt cx="10059419" cy="3863608"/>
          </a:xfrm>
        </p:grpSpPr>
        <p:grpSp>
          <p:nvGrpSpPr>
            <p:cNvPr id="2" name="Group 1"/>
            <p:cNvGrpSpPr/>
            <p:nvPr/>
          </p:nvGrpSpPr>
          <p:grpSpPr>
            <a:xfrm>
              <a:off x="724452" y="1679434"/>
              <a:ext cx="9969617" cy="3402587"/>
              <a:chOff x="1996704" y="1172398"/>
              <a:chExt cx="8074434" cy="3588808"/>
            </a:xfrm>
          </p:grpSpPr>
          <p:sp>
            <p:nvSpPr>
              <p:cNvPr id="12" name="Content Placeholder 1"/>
              <p:cNvSpPr txBox="1">
                <a:spLocks/>
              </p:cNvSpPr>
              <p:nvPr/>
            </p:nvSpPr>
            <p:spPr bwMode="gray">
              <a:xfrm>
                <a:off x="1996704" y="1655113"/>
                <a:ext cx="2094429" cy="459416"/>
              </a:xfrm>
              <a:prstGeom prst="homePlate">
                <a:avLst/>
              </a:prstGeom>
              <a:solidFill>
                <a:srgbClr val="0F4DBC"/>
              </a:solidFill>
              <a:ln w="25400">
                <a:noFill/>
              </a:ln>
            </p:spPr>
            <p:txBody>
              <a:bodyPr vert="horz" lIns="40479" tIns="40479" rIns="40479" bIns="40479"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1B1AD"/>
                  </a:buClr>
                  <a:buSzPct val="70000"/>
                  <a:buFont typeface="Arial" pitchFamily="34" charset="0"/>
                  <a:buNone/>
                  <a:tabLst/>
                  <a:defRPr/>
                </a:pPr>
                <a:r>
                  <a:rPr kumimoji="0" lang="en-GB" sz="1100" b="1" i="0" u="none" strike="noStrike" kern="1200" cap="none" spc="0" normalizeH="0" baseline="0" noProof="0">
                    <a:ln>
                      <a:noFill/>
                    </a:ln>
                    <a:solidFill>
                      <a:srgbClr val="FFFFFF"/>
                    </a:solidFill>
                    <a:effectLst/>
                    <a:uLnTx/>
                    <a:uFillTx/>
                    <a:latin typeface="SwissReSans"/>
                    <a:ea typeface="+mn-ea"/>
                    <a:cs typeface="+mn-cs"/>
                  </a:rPr>
                  <a:t>Full </a:t>
                </a:r>
                <a:r>
                  <a:rPr kumimoji="0" lang="en-GB" sz="1200" b="1" i="0" u="none" strike="noStrike" kern="1200" cap="none" spc="0" normalizeH="0" baseline="0" noProof="0">
                    <a:ln>
                      <a:noFill/>
                    </a:ln>
                    <a:solidFill>
                      <a:srgbClr val="FFFFFF"/>
                    </a:solidFill>
                    <a:effectLst/>
                    <a:uLnTx/>
                    <a:uFillTx/>
                    <a:latin typeface="SwissReSans"/>
                    <a:ea typeface="+mn-ea"/>
                    <a:cs typeface="+mn-cs"/>
                  </a:rPr>
                  <a:t>retrospective</a:t>
                </a:r>
                <a:r>
                  <a:rPr kumimoji="0" lang="en-GB" sz="1100" b="1" i="0" u="none" strike="noStrike" kern="1200" cap="none" spc="0" normalizeH="0" baseline="0" noProof="0">
                    <a:ln>
                      <a:noFill/>
                    </a:ln>
                    <a:solidFill>
                      <a:srgbClr val="FFFFFF"/>
                    </a:solidFill>
                    <a:effectLst/>
                    <a:uLnTx/>
                    <a:uFillTx/>
                    <a:latin typeface="SwissReSans"/>
                    <a:ea typeface="+mn-ea"/>
                    <a:cs typeface="+mn-cs"/>
                  </a:rPr>
                  <a:t> approach (FRA)</a:t>
                </a:r>
              </a:p>
            </p:txBody>
          </p:sp>
          <p:sp>
            <p:nvSpPr>
              <p:cNvPr id="14" name="Content Placeholder 1"/>
              <p:cNvSpPr txBox="1">
                <a:spLocks/>
              </p:cNvSpPr>
              <p:nvPr/>
            </p:nvSpPr>
            <p:spPr bwMode="gray">
              <a:xfrm>
                <a:off x="4876464" y="2987157"/>
                <a:ext cx="5194674" cy="459416"/>
              </a:xfrm>
              <a:prstGeom prst="chevron">
                <a:avLst/>
              </a:prstGeom>
              <a:solidFill>
                <a:srgbClr val="0F4DBC"/>
              </a:solidFill>
              <a:ln w="25400">
                <a:noFill/>
              </a:ln>
            </p:spPr>
            <p:txBody>
              <a:bodyPr vert="horz" lIns="40479" tIns="40479" rIns="40479" bIns="40479"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1B1AD"/>
                  </a:buClr>
                  <a:buSzPct val="70000"/>
                  <a:buFont typeface="Arial" pitchFamily="34" charset="0"/>
                  <a:buNone/>
                  <a:tabLst/>
                  <a:defRPr/>
                </a:pPr>
                <a:r>
                  <a:rPr kumimoji="0" lang="en-GB" sz="1200" b="1" i="0" u="none" strike="noStrike" kern="1200" cap="none" spc="0" normalizeH="0" baseline="0" noProof="0">
                    <a:ln>
                      <a:noFill/>
                    </a:ln>
                    <a:solidFill>
                      <a:srgbClr val="FFFFFF"/>
                    </a:solidFill>
                    <a:effectLst/>
                    <a:uLnTx/>
                    <a:uFillTx/>
                    <a:latin typeface="SwissReSans"/>
                    <a:ea typeface="+mn-ea"/>
                    <a:cs typeface="+mn-cs"/>
                  </a:rPr>
                  <a:t>If FRA is </a:t>
                </a:r>
                <a:r>
                  <a:rPr kumimoji="0" lang="en-GB" sz="1200" b="1" i="0" u="sng" strike="noStrike" kern="1200" cap="none" spc="0" normalizeH="0" baseline="0" noProof="0">
                    <a:ln>
                      <a:noFill/>
                    </a:ln>
                    <a:solidFill>
                      <a:srgbClr val="FFFFFF"/>
                    </a:solidFill>
                    <a:effectLst/>
                    <a:uLnTx/>
                    <a:uFillTx/>
                    <a:latin typeface="SwissReSans"/>
                    <a:ea typeface="+mn-ea"/>
                    <a:cs typeface="+mn-cs"/>
                  </a:rPr>
                  <a:t>impractical</a:t>
                </a:r>
                <a:r>
                  <a:rPr kumimoji="0" lang="en-GB" sz="1200" b="1" i="0" u="none" strike="noStrike" kern="1200" cap="none" spc="0" normalizeH="0" baseline="0" noProof="0">
                    <a:ln>
                      <a:noFill/>
                    </a:ln>
                    <a:solidFill>
                      <a:srgbClr val="FFFFFF"/>
                    </a:solidFill>
                    <a:effectLst/>
                    <a:uLnTx/>
                    <a:uFillTx/>
                    <a:latin typeface="SwissReSans"/>
                    <a:ea typeface="+mn-ea"/>
                    <a:cs typeface="+mn-cs"/>
                  </a:rPr>
                  <a:t> – Option #2 Fair </a:t>
                </a:r>
                <a:r>
                  <a:rPr lang="en-GB" sz="1200" b="1">
                    <a:solidFill>
                      <a:srgbClr val="FFFFFF"/>
                    </a:solidFill>
                    <a:latin typeface="SwissReSans"/>
                  </a:rPr>
                  <a:t>V</a:t>
                </a:r>
                <a:r>
                  <a:rPr kumimoji="0" lang="en-GB" sz="1200" b="1" i="0" u="none" strike="noStrike" kern="1200" cap="none" spc="0" normalizeH="0" baseline="0" noProof="0">
                    <a:ln>
                      <a:noFill/>
                    </a:ln>
                    <a:solidFill>
                      <a:srgbClr val="FFFFFF"/>
                    </a:solidFill>
                    <a:effectLst/>
                    <a:uLnTx/>
                    <a:uFillTx/>
                    <a:latin typeface="SwissReSans"/>
                    <a:ea typeface="+mn-ea"/>
                    <a:cs typeface="+mn-cs"/>
                  </a:rPr>
                  <a:t>alue Approach (FVA)</a:t>
                </a:r>
              </a:p>
            </p:txBody>
          </p:sp>
          <p:sp>
            <p:nvSpPr>
              <p:cNvPr id="15" name="Content Placeholder 1"/>
              <p:cNvSpPr txBox="1">
                <a:spLocks/>
              </p:cNvSpPr>
              <p:nvPr/>
            </p:nvSpPr>
            <p:spPr bwMode="gray">
              <a:xfrm>
                <a:off x="1996705" y="2114526"/>
                <a:ext cx="1926939" cy="1443022"/>
              </a:xfrm>
              <a:prstGeom prst="rect">
                <a:avLst/>
              </a:prstGeom>
              <a:noFill/>
              <a:ln w="6350">
                <a:solidFill>
                  <a:schemeClr val="accent1"/>
                </a:solidFill>
              </a:ln>
            </p:spPr>
            <p:txBody>
              <a:bodyPr vert="horz" lIns="40479" tIns="40479" rIns="40479" bIns="40479"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33350" marR="0" lvl="0" indent="-133350" algn="l" defTabSz="914400" rtl="0" eaLnBrk="1" fontAlgn="auto" latinLnBrk="0" hangingPunct="1">
                  <a:lnSpc>
                    <a:spcPct val="100000"/>
                  </a:lnSpc>
                  <a:spcBef>
                    <a:spcPts val="169"/>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Required </a:t>
                </a:r>
                <a:r>
                  <a:rPr kumimoji="0" lang="en-GB" sz="1100" b="1" i="0" u="none" strike="noStrike" kern="1200" cap="none" spc="0" normalizeH="0" baseline="0" noProof="0">
                    <a:ln>
                      <a:noFill/>
                    </a:ln>
                    <a:solidFill>
                      <a:srgbClr val="283E36"/>
                    </a:solidFill>
                    <a:effectLst/>
                    <a:uLnTx/>
                    <a:uFillTx/>
                    <a:latin typeface="SwissReSans"/>
                    <a:ea typeface="+mn-ea"/>
                    <a:cs typeface="+mn-cs"/>
                  </a:rPr>
                  <a:t>if it is practicable</a:t>
                </a:r>
                <a:r>
                  <a:rPr kumimoji="0" lang="en-GB" sz="1100" b="0" i="0" u="none" strike="noStrike" kern="1200" cap="none" spc="0" normalizeH="0" baseline="0" noProof="0">
                    <a:ln>
                      <a:noFill/>
                    </a:ln>
                    <a:solidFill>
                      <a:srgbClr val="283E36"/>
                    </a:solidFill>
                    <a:effectLst/>
                    <a:uLnTx/>
                    <a:uFillTx/>
                    <a:latin typeface="SwissReSans"/>
                    <a:ea typeface="+mn-ea"/>
                    <a:cs typeface="+mn-cs"/>
                  </a:rPr>
                  <a:t> to perform the calculations retrospectively (sufficient historical data exists and hindsight is not required)</a:t>
                </a:r>
              </a:p>
              <a:p>
                <a:pPr marL="133350" marR="0" lvl="0" indent="-133350" algn="l" defTabSz="914400" rtl="0" eaLnBrk="1" fontAlgn="auto" latinLnBrk="0" hangingPunct="1">
                  <a:lnSpc>
                    <a:spcPct val="100000"/>
                  </a:lnSpc>
                  <a:spcBef>
                    <a:spcPts val="169"/>
                  </a:spcBef>
                  <a:spcAft>
                    <a:spcPts val="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As if IFRS 17 had always been applied</a:t>
                </a:r>
              </a:p>
            </p:txBody>
          </p:sp>
          <p:sp>
            <p:nvSpPr>
              <p:cNvPr id="16" name="Content Placeholder 1"/>
              <p:cNvSpPr txBox="1">
                <a:spLocks/>
              </p:cNvSpPr>
              <p:nvPr/>
            </p:nvSpPr>
            <p:spPr bwMode="gray">
              <a:xfrm>
                <a:off x="4876464" y="1633969"/>
                <a:ext cx="5012191" cy="1251593"/>
              </a:xfrm>
              <a:prstGeom prst="rect">
                <a:avLst/>
              </a:prstGeom>
              <a:noFill/>
              <a:ln w="6350">
                <a:solidFill>
                  <a:schemeClr val="accent1"/>
                </a:solidFill>
              </a:ln>
            </p:spPr>
            <p:txBody>
              <a:bodyPr vert="horz" lIns="40479" tIns="40479" rIns="40479" bIns="40479"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When not all historical information is available</a:t>
                </a:r>
              </a:p>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Several modifications are included (e.g., level of aggregation, cash flows, discount rates, CSM release). Only those individual modifications are allowed where FRA is impracticable -&gt; maximising the u</a:t>
                </a:r>
                <a:r>
                  <a:rPr lang="en-GB" sz="1100">
                    <a:solidFill>
                      <a:srgbClr val="283E36"/>
                    </a:solidFill>
                    <a:latin typeface="SwissReSans"/>
                  </a:rPr>
                  <a:t>se of available information</a:t>
                </a:r>
                <a:endParaRPr kumimoji="0" lang="en-GB" sz="1100" b="0" i="0" u="none" strike="noStrike" kern="1200" cap="none" spc="0" normalizeH="0" baseline="0" noProof="0">
                  <a:ln>
                    <a:noFill/>
                  </a:ln>
                  <a:solidFill>
                    <a:srgbClr val="283E36"/>
                  </a:solidFill>
                  <a:effectLst/>
                  <a:uLnTx/>
                  <a:uFillTx/>
                  <a:latin typeface="SwissReSans"/>
                  <a:ea typeface="+mn-ea"/>
                  <a:cs typeface="+mn-cs"/>
                </a:endParaRPr>
              </a:p>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However, modifications require ‘</a:t>
                </a:r>
                <a:r>
                  <a:rPr kumimoji="0" lang="en-GB" sz="1100" b="1" i="0" u="none" strike="noStrike" kern="1200" cap="none" spc="0" normalizeH="0" baseline="0" noProof="0">
                    <a:ln>
                      <a:noFill/>
                    </a:ln>
                    <a:solidFill>
                      <a:srgbClr val="283E36"/>
                    </a:solidFill>
                    <a:effectLst/>
                    <a:uLnTx/>
                    <a:uFillTx/>
                    <a:latin typeface="SwissReSans"/>
                    <a:ea typeface="+mn-ea"/>
                    <a:cs typeface="+mn-cs"/>
                  </a:rPr>
                  <a:t>reasonable and supportable information</a:t>
                </a:r>
                <a:r>
                  <a:rPr kumimoji="0" lang="en-GB" sz="1100" b="0" i="0" u="none" strike="noStrike" kern="1200" cap="none" spc="0" normalizeH="0" baseline="0" noProof="0">
                    <a:ln>
                      <a:noFill/>
                    </a:ln>
                    <a:solidFill>
                      <a:srgbClr val="283E36"/>
                    </a:solidFill>
                    <a:effectLst/>
                    <a:uLnTx/>
                    <a:uFillTx/>
                    <a:latin typeface="SwissReSans"/>
                    <a:ea typeface="+mn-ea"/>
                    <a:cs typeface="+mn-cs"/>
                  </a:rPr>
                  <a:t>’ -&gt; otherwise use FVA!</a:t>
                </a:r>
              </a:p>
            </p:txBody>
          </p:sp>
          <p:sp>
            <p:nvSpPr>
              <p:cNvPr id="19" name="Content Placeholder 1"/>
              <p:cNvSpPr txBox="1">
                <a:spLocks/>
              </p:cNvSpPr>
              <p:nvPr/>
            </p:nvSpPr>
            <p:spPr bwMode="gray">
              <a:xfrm>
                <a:off x="4876464" y="3447693"/>
                <a:ext cx="5012191" cy="1313513"/>
              </a:xfrm>
              <a:prstGeom prst="rect">
                <a:avLst/>
              </a:prstGeom>
              <a:noFill/>
              <a:ln w="6350">
                <a:solidFill>
                  <a:schemeClr val="accent1"/>
                </a:solidFill>
              </a:ln>
            </p:spPr>
            <p:txBody>
              <a:bodyPr vert="horz" lIns="40479" tIns="40479" rIns="40479" bIns="40479"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CSM is the difference between the fair value of the insurance contracts asset/liabilities (according to IFRS 13) and their IFRS 17 fulfilment value (= Best estimate cashflows + Risk adjustment).</a:t>
                </a:r>
              </a:p>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CSM is predominantly created by the difference of perception of the risks in the portfolios by the market and Swiss Re. </a:t>
                </a:r>
              </a:p>
              <a:p>
                <a:pPr marL="133350" marR="0" lvl="0" indent="-133350" algn="l" defTabSz="914400" rtl="0" eaLnBrk="1" fontAlgn="auto" latinLnBrk="0" hangingPunct="1">
                  <a:lnSpc>
                    <a:spcPct val="100000"/>
                  </a:lnSpc>
                  <a:spcBef>
                    <a:spcPts val="169"/>
                  </a:spcBef>
                  <a:spcAft>
                    <a:spcPts val="300"/>
                  </a:spcAft>
                  <a:buClrTx/>
                  <a:buSzPct val="100000"/>
                  <a:buFont typeface="Arial" panose="020B0604020202020204" pitchFamily="34" charset="0"/>
                  <a:buChar char="•"/>
                  <a:tabLst/>
                  <a:defRPr/>
                </a:pPr>
                <a:r>
                  <a:rPr kumimoji="0" lang="en-GB" sz="1100" b="0" i="0" u="none" strike="noStrike" kern="1200" cap="none" spc="0" normalizeH="0" baseline="0" noProof="0">
                    <a:ln>
                      <a:noFill/>
                    </a:ln>
                    <a:solidFill>
                      <a:srgbClr val="283E36"/>
                    </a:solidFill>
                    <a:effectLst/>
                    <a:uLnTx/>
                    <a:uFillTx/>
                    <a:latin typeface="SwissReSans"/>
                    <a:ea typeface="+mn-ea"/>
                    <a:cs typeface="+mn-cs"/>
                  </a:rPr>
                  <a:t>Use if no “reasonable and supportable information” to apply the MRA can be obtained</a:t>
                </a:r>
              </a:p>
            </p:txBody>
          </p:sp>
          <p:sp>
            <p:nvSpPr>
              <p:cNvPr id="22" name="Right Arrow 21"/>
              <p:cNvSpPr/>
              <p:nvPr/>
            </p:nvSpPr>
            <p:spPr>
              <a:xfrm>
                <a:off x="4135985" y="2179984"/>
                <a:ext cx="572990" cy="746803"/>
              </a:xfrm>
              <a:prstGeom prst="rightArrow">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75" b="0" i="0" u="none" strike="noStrike" kern="1200" cap="none" spc="0" normalizeH="0" baseline="0" noProof="0">
                  <a:ln>
                    <a:noFill/>
                  </a:ln>
                  <a:solidFill>
                    <a:srgbClr val="283E36"/>
                  </a:solidFill>
                  <a:effectLst/>
                  <a:uLnTx/>
                  <a:uFillTx/>
                  <a:latin typeface="SwissReSans"/>
                  <a:ea typeface="+mn-ea"/>
                  <a:cs typeface="+mn-cs"/>
                </a:endParaRPr>
              </a:p>
            </p:txBody>
          </p:sp>
          <p:sp>
            <p:nvSpPr>
              <p:cNvPr id="23" name="Content Placeholder 1">
                <a:extLst>
                  <a:ext uri="{FF2B5EF4-FFF2-40B4-BE49-F238E27FC236}">
                    <a16:creationId xmlns:a16="http://schemas.microsoft.com/office/drawing/2014/main" xmlns="" id="{5E73BAB5-E0AC-40A2-9BA6-4C3A53EB79F4}"/>
                  </a:ext>
                </a:extLst>
              </p:cNvPr>
              <p:cNvSpPr txBox="1">
                <a:spLocks/>
              </p:cNvSpPr>
              <p:nvPr/>
            </p:nvSpPr>
            <p:spPr bwMode="gray">
              <a:xfrm>
                <a:off x="4876464" y="1172398"/>
                <a:ext cx="5194674" cy="459413"/>
              </a:xfrm>
              <a:prstGeom prst="chevron">
                <a:avLst/>
              </a:prstGeom>
              <a:solidFill>
                <a:srgbClr val="0F4DBC"/>
              </a:solidFill>
              <a:ln w="25400">
                <a:noFill/>
              </a:ln>
            </p:spPr>
            <p:txBody>
              <a:bodyPr vert="horz" lIns="40479" tIns="40479" rIns="40479" bIns="40479"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A1B1AD"/>
                  </a:buClr>
                  <a:buSzPct val="70000"/>
                  <a:buFont typeface="Arial" pitchFamily="34" charset="0"/>
                  <a:buNone/>
                  <a:tabLst/>
                  <a:defRPr/>
                </a:pPr>
                <a:r>
                  <a:rPr kumimoji="0" lang="en-GB" sz="1200" b="1" i="0" u="none" strike="noStrike" kern="1200" cap="none" spc="0" normalizeH="0" baseline="0" noProof="0">
                    <a:ln>
                      <a:noFill/>
                    </a:ln>
                    <a:solidFill>
                      <a:srgbClr val="FFFFFF"/>
                    </a:solidFill>
                    <a:effectLst/>
                    <a:uLnTx/>
                    <a:uFillTx/>
                    <a:latin typeface="SwissReSans"/>
                    <a:ea typeface="+mn-ea"/>
                    <a:cs typeface="+mn-cs"/>
                  </a:rPr>
                  <a:t>If FRA is </a:t>
                </a:r>
                <a:r>
                  <a:rPr kumimoji="0" lang="en-GB" sz="1200" b="1" i="0" u="sng" strike="noStrike" kern="1200" cap="none" spc="0" normalizeH="0" baseline="0" noProof="0">
                    <a:ln>
                      <a:noFill/>
                    </a:ln>
                    <a:solidFill>
                      <a:srgbClr val="FFFFFF"/>
                    </a:solidFill>
                    <a:effectLst/>
                    <a:uLnTx/>
                    <a:uFillTx/>
                    <a:latin typeface="SwissReSans"/>
                    <a:ea typeface="+mn-ea"/>
                    <a:cs typeface="+mn-cs"/>
                  </a:rPr>
                  <a:t>impractical</a:t>
                </a:r>
                <a:r>
                  <a:rPr kumimoji="0" lang="en-GB" sz="1200" b="1" i="0" u="none" strike="noStrike" kern="1200" cap="none" spc="0" normalizeH="0" baseline="0" noProof="0">
                    <a:ln>
                      <a:noFill/>
                    </a:ln>
                    <a:solidFill>
                      <a:srgbClr val="FFFFFF"/>
                    </a:solidFill>
                    <a:effectLst/>
                    <a:uLnTx/>
                    <a:uFillTx/>
                    <a:latin typeface="SwissReSans"/>
                    <a:ea typeface="+mn-ea"/>
                    <a:cs typeface="+mn-cs"/>
                  </a:rPr>
                  <a:t> – Option #1 Modified Retrospective </a:t>
                </a:r>
                <a:r>
                  <a:rPr lang="en-GB" sz="1200" b="1">
                    <a:solidFill>
                      <a:srgbClr val="FFFFFF"/>
                    </a:solidFill>
                    <a:latin typeface="SwissReSans"/>
                  </a:rPr>
                  <a:t>A</a:t>
                </a:r>
                <a:r>
                  <a:rPr kumimoji="0" lang="en-GB" sz="1200" b="1" i="0" u="none" strike="noStrike" kern="1200" cap="none" spc="0" normalizeH="0" baseline="0" noProof="0">
                    <a:ln>
                      <a:noFill/>
                    </a:ln>
                    <a:solidFill>
                      <a:srgbClr val="FFFFFF"/>
                    </a:solidFill>
                    <a:effectLst/>
                    <a:uLnTx/>
                    <a:uFillTx/>
                    <a:latin typeface="SwissReSans"/>
                    <a:ea typeface="+mn-ea"/>
                    <a:cs typeface="+mn-cs"/>
                  </a:rPr>
                  <a:t>pproach (MRA)</a:t>
                </a:r>
              </a:p>
            </p:txBody>
          </p:sp>
        </p:grpSp>
        <p:sp>
          <p:nvSpPr>
            <p:cNvPr id="20" name="Content Placeholder 1">
              <a:extLst>
                <a:ext uri="{FF2B5EF4-FFF2-40B4-BE49-F238E27FC236}">
                  <a16:creationId xmlns:a16="http://schemas.microsoft.com/office/drawing/2014/main" xmlns="" id="{098463DF-9B1F-49D4-B6D9-802A2DB56B82}"/>
                </a:ext>
              </a:extLst>
            </p:cNvPr>
            <p:cNvSpPr txBox="1">
              <a:spLocks/>
            </p:cNvSpPr>
            <p:nvPr/>
          </p:nvSpPr>
          <p:spPr bwMode="gray">
            <a:xfrm>
              <a:off x="634650" y="1218413"/>
              <a:ext cx="2379218" cy="435574"/>
            </a:xfrm>
            <a:prstGeom prst="homePlate">
              <a:avLst>
                <a:gd name="adj" fmla="val 0"/>
              </a:avLst>
            </a:prstGeom>
            <a:noFill/>
            <a:ln w="25400">
              <a:noFill/>
            </a:ln>
          </p:spPr>
          <p:txBody>
            <a:bodyPr vert="horz" lIns="40479" tIns="40479" rIns="40479" bIns="40479"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A1B1AD"/>
                </a:buClr>
                <a:buSzPct val="70000"/>
                <a:buFont typeface="Arial" pitchFamily="34" charset="0"/>
                <a:buNone/>
                <a:tabLst/>
                <a:defRPr/>
              </a:pPr>
              <a:r>
                <a:rPr lang="en-GB" sz="1800" b="1" i="1">
                  <a:solidFill>
                    <a:srgbClr val="0F4DBC"/>
                  </a:solidFill>
                  <a:latin typeface="SwissReSans"/>
                </a:rPr>
                <a:t>Step 1</a:t>
              </a:r>
              <a:endParaRPr kumimoji="0" lang="en-GB" sz="1800" b="1" i="1" u="none" strike="noStrike" kern="1200" cap="none" spc="0" normalizeH="0" baseline="0" noProof="0">
                <a:ln>
                  <a:noFill/>
                </a:ln>
                <a:solidFill>
                  <a:srgbClr val="0F4DBC"/>
                </a:solidFill>
                <a:effectLst/>
                <a:uLnTx/>
                <a:uFillTx/>
                <a:latin typeface="SwissReSans"/>
                <a:ea typeface="+mn-ea"/>
                <a:cs typeface="+mn-cs"/>
              </a:endParaRPr>
            </a:p>
          </p:txBody>
        </p:sp>
        <p:sp>
          <p:nvSpPr>
            <p:cNvPr id="21" name="Content Placeholder 1">
              <a:extLst>
                <a:ext uri="{FF2B5EF4-FFF2-40B4-BE49-F238E27FC236}">
                  <a16:creationId xmlns:a16="http://schemas.microsoft.com/office/drawing/2014/main" xmlns="" id="{6D6D7E04-4430-47F0-BBD9-AD9B22DCB9CF}"/>
                </a:ext>
              </a:extLst>
            </p:cNvPr>
            <p:cNvSpPr txBox="1">
              <a:spLocks/>
            </p:cNvSpPr>
            <p:nvPr/>
          </p:nvSpPr>
          <p:spPr bwMode="gray">
            <a:xfrm>
              <a:off x="4280131" y="1218413"/>
              <a:ext cx="6033434" cy="435574"/>
            </a:xfrm>
            <a:prstGeom prst="homePlate">
              <a:avLst>
                <a:gd name="adj" fmla="val 0"/>
              </a:avLst>
            </a:prstGeom>
            <a:noFill/>
            <a:ln w="25400">
              <a:noFill/>
            </a:ln>
          </p:spPr>
          <p:txBody>
            <a:bodyPr vert="horz" lIns="40479" tIns="40479" rIns="40479" bIns="40479"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
                  <a:srgbClr val="A1B1AD"/>
                </a:buClr>
                <a:buSzPct val="70000"/>
                <a:buFont typeface="Arial" pitchFamily="34" charset="0"/>
                <a:buNone/>
                <a:tabLst/>
                <a:defRPr/>
              </a:pPr>
              <a:r>
                <a:rPr kumimoji="0" lang="en-GB" sz="1800" b="1" i="1" u="none" strike="noStrike" kern="1200" cap="none" spc="0" normalizeH="0" baseline="0" noProof="0">
                  <a:ln>
                    <a:noFill/>
                  </a:ln>
                  <a:solidFill>
                    <a:srgbClr val="0F4DBC"/>
                  </a:solidFill>
                  <a:effectLst/>
                  <a:uLnTx/>
                  <a:uFillTx/>
                  <a:latin typeface="SwissReSans"/>
                  <a:ea typeface="+mn-ea"/>
                  <a:cs typeface="+mn-cs"/>
                </a:rPr>
                <a:t>Step 2</a:t>
              </a:r>
            </a:p>
          </p:txBody>
        </p:sp>
      </p:grpSp>
      <p:sp>
        <p:nvSpPr>
          <p:cNvPr id="4" name="Rectangle: Rounded Corners 3">
            <a:extLst>
              <a:ext uri="{FF2B5EF4-FFF2-40B4-BE49-F238E27FC236}">
                <a16:creationId xmlns:a16="http://schemas.microsoft.com/office/drawing/2014/main" xmlns="" id="{D60FA9F8-3A0D-46CA-A32A-61A4AE44E2B7}"/>
              </a:ext>
            </a:extLst>
          </p:cNvPr>
          <p:cNvSpPr/>
          <p:nvPr/>
        </p:nvSpPr>
        <p:spPr>
          <a:xfrm>
            <a:off x="695325" y="4841793"/>
            <a:ext cx="11017250" cy="1206159"/>
          </a:xfrm>
          <a:prstGeom prst="roundRect">
            <a:avLst/>
          </a:prstGeom>
          <a:solidFill>
            <a:srgbClr val="E7EDF8"/>
          </a:solidFill>
          <a:ln w="19050">
            <a:solidFill>
              <a:srgbClr val="0F4D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200" b="0" i="0" u="sng" strike="noStrike" kern="0" cap="none" spc="0" normalizeH="0" baseline="0" noProof="0" dirty="0">
                <a:ln>
                  <a:noFill/>
                </a:ln>
                <a:solidFill>
                  <a:srgbClr val="283E36"/>
                </a:solidFill>
                <a:effectLst/>
                <a:uLnTx/>
                <a:uFillTx/>
                <a:latin typeface="SwissReSans Light" panose="020B0504020202020204" pitchFamily="34" charset="0"/>
              </a:rPr>
              <a:t>FVA consideration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CSM depending on </a:t>
            </a: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specific</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a:t>
            </a: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current</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a:t>
            </a: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market</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environment,  Value is </a:t>
            </a: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sensitive</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to assumption changes and </a:t>
            </a: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can vary significantly over time</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Trade-off</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between future profits and equity -&gt; transition impact modelling is ke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rgbClr val="283E36"/>
                </a:solidFill>
                <a:effectLst/>
                <a:uLnTx/>
                <a:uFillTx/>
                <a:latin typeface="SwissReSans Light" panose="020B0504020202020204" pitchFamily="34" charset="0"/>
              </a:rPr>
              <a:t>Sustainability</a:t>
            </a:r>
            <a:r>
              <a:rPr kumimoji="0" lang="en-GB" sz="1200" b="0" i="0" u="none" strike="noStrike" kern="0" cap="none" spc="0" normalizeH="0" baseline="0" noProof="0" dirty="0">
                <a:ln>
                  <a:noFill/>
                </a:ln>
                <a:solidFill>
                  <a:srgbClr val="283E36"/>
                </a:solidFill>
                <a:effectLst/>
                <a:uLnTx/>
                <a:uFillTx/>
                <a:latin typeface="SwissReSans Light" panose="020B0504020202020204" pitchFamily="34" charset="0"/>
              </a:rPr>
              <a:t> aspect of earnings should be in line with and support the wider investor story</a:t>
            </a:r>
          </a:p>
        </p:txBody>
      </p:sp>
      <p:sp>
        <p:nvSpPr>
          <p:cNvPr id="24" name="Slide Number Placeholder 7">
            <a:extLst>
              <a:ext uri="{FF2B5EF4-FFF2-40B4-BE49-F238E27FC236}">
                <a16:creationId xmlns:a16="http://schemas.microsoft.com/office/drawing/2014/main" xmlns="" id="{6FB3F11F-A430-4D14-B976-B9A94C4292FD}"/>
              </a:ext>
            </a:extLst>
          </p:cNvPr>
          <p:cNvSpPr txBox="1">
            <a:spLocks/>
          </p:cNvSpPr>
          <p:nvPr/>
        </p:nvSpPr>
        <p:spPr>
          <a:xfrm>
            <a:off x="11414762" y="6472512"/>
            <a:ext cx="287008" cy="182562"/>
          </a:xfrm>
          <a:prstGeom prst="rect">
            <a:avLst/>
          </a:prstGeom>
        </p:spPr>
        <p:txBody>
          <a:bodyPr vert="horz" wrap="none" lIns="0" tIns="0" rIns="0" bIns="0" rtlCol="0" anchor="b" anchorCtr="0"/>
          <a:lstStyle>
            <a:defPPr>
              <a:defRPr lang="de-DE"/>
            </a:defPPr>
            <a:lvl1pPr marL="0" algn="r" defTabSz="914400" rtl="0" eaLnBrk="1" latinLnBrk="0" hangingPunct="1">
              <a:defRPr sz="900" kern="1200">
                <a:solidFill>
                  <a:srgbClr val="283E36"/>
                </a:solidFill>
                <a:latin typeface="SwissReSans"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18" name="Picture 17">
            <a:extLst>
              <a:ext uri="{FF2B5EF4-FFF2-40B4-BE49-F238E27FC236}">
                <a16:creationId xmlns:a16="http://schemas.microsoft.com/office/drawing/2014/main" xmlns="" id="{5FE859DC-B186-40A5-9D19-242AB48442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393173850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3748" name="think-cell Slide" r:id="rId6" imgW="216" imgH="216" progId="TCLayout.ActiveDocument.1">
                  <p:embed/>
                </p:oleObj>
              </mc:Choice>
              <mc:Fallback>
                <p:oleObj name="think-cell Slide" r:id="rId6" imgW="216" imgH="216" progId="TCLayout.ActiveDocument.1">
                  <p:embed/>
                  <p:pic>
                    <p:nvPicPr>
                      <p:cNvPr id="5" name="Objec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152400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8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SwissReSans" panose="020B0604020202020204" pitchFamily="34" charset="0"/>
              <a:ea typeface="+mn-ea"/>
              <a:cs typeface="+mn-cs"/>
              <a:sym typeface="SwissReSans" panose="020B0604020202020204" pitchFamily="34" charset="0"/>
            </a:endParaRPr>
          </a:p>
        </p:txBody>
      </p:sp>
      <p:sp>
        <p:nvSpPr>
          <p:cNvPr id="2" name="Title 1"/>
          <p:cNvSpPr>
            <a:spLocks noGrp="1"/>
          </p:cNvSpPr>
          <p:nvPr>
            <p:ph type="title" idx="4294967295"/>
          </p:nvPr>
        </p:nvSpPr>
        <p:spPr>
          <a:xfrm>
            <a:off x="695325" y="1593601"/>
            <a:ext cx="9913938" cy="1330325"/>
          </a:xfrm>
        </p:spPr>
        <p:txBody>
          <a:bodyPr/>
          <a:lstStyle/>
          <a:p>
            <a:r>
              <a:rPr lang="en-GB" sz="2800" dirty="0">
                <a:solidFill>
                  <a:schemeClr val="bg1"/>
                </a:solidFill>
              </a:rPr>
              <a:t>Important Considerations</a:t>
            </a:r>
            <a:br>
              <a:rPr lang="en-GB" sz="2800" dirty="0">
                <a:solidFill>
                  <a:schemeClr val="bg1"/>
                </a:solidFill>
              </a:rPr>
            </a:br>
            <a:r>
              <a:rPr lang="en-GB" sz="2800" dirty="0">
                <a:solidFill>
                  <a:schemeClr val="bg1"/>
                </a:solidFill>
              </a:rPr>
              <a:t> </a:t>
            </a:r>
          </a:p>
        </p:txBody>
      </p:sp>
      <p:pic>
        <p:nvPicPr>
          <p:cNvPr id="23" name="Picture 22">
            <a:extLst>
              <a:ext uri="{FF2B5EF4-FFF2-40B4-BE49-F238E27FC236}">
                <a16:creationId xmlns:a16="http://schemas.microsoft.com/office/drawing/2014/main" xmlns="" id="{6EFFF2D6-3A38-41C3-B59F-82E471E31F9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88234" y="5714756"/>
            <a:ext cx="956858" cy="963911"/>
          </a:xfrm>
          <a:prstGeom prst="rect">
            <a:avLst/>
          </a:prstGeom>
        </p:spPr>
      </p:pic>
    </p:spTree>
    <p:extLst>
      <p:ext uri="{BB962C8B-B14F-4D97-AF65-F5344CB8AC3E}">
        <p14:creationId xmlns:p14="http://schemas.microsoft.com/office/powerpoint/2010/main" val="708720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54442" y="243151"/>
            <a:ext cx="1085347" cy="1093347"/>
          </a:xfrm>
          <a:prstGeom prst="rect">
            <a:avLst/>
          </a:prstGeom>
          <a:blipFill dpi="0" rotWithShape="1">
            <a:blip r:embed="rId4"/>
            <a:srcRect/>
            <a:stretch>
              <a:fillRect/>
            </a:stretch>
          </a:blipFill>
        </p:spPr>
      </p:pic>
      <p:sp>
        <p:nvSpPr>
          <p:cNvPr id="5" name="Footer Placeholder 4"/>
          <p:cNvSpPr txBox="1">
            <a:spLocks/>
          </p:cNvSpPr>
          <p:nvPr/>
        </p:nvSpPr>
        <p:spPr>
          <a:xfrm>
            <a:off x="9677400" y="6504681"/>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www.actuariesindia.org</a:t>
            </a:r>
          </a:p>
        </p:txBody>
      </p:sp>
      <p:sp>
        <p:nvSpPr>
          <p:cNvPr id="7" name="Slide Number Placeholder 6">
            <a:extLst>
              <a:ext uri="{FF2B5EF4-FFF2-40B4-BE49-F238E27FC236}">
                <a16:creationId xmlns:a16="http://schemas.microsoft.com/office/drawing/2014/main" xmlns="" id="{5B58B4C8-C41D-441A-B2A2-F4847387DBB4}"/>
              </a:ext>
            </a:extLst>
          </p:cNvPr>
          <p:cNvSpPr>
            <a:spLocks noGrp="1"/>
          </p:cNvSpPr>
          <p:nvPr>
            <p:ph type="sldNum" sz="quarter" idx="7"/>
          </p:nvPr>
        </p:nvSpPr>
        <p:spPr bwMode="auto">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629C963-6CA3-4910-ACAB-89103C5891B0}" type="slidenum">
              <a:rPr kumimoji="0" lang="en-GB" sz="14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400" b="0" i="0" u="none" strike="noStrike" kern="1200" cap="none" spc="0" normalizeH="0" baseline="0" noProof="0">
              <a:ln>
                <a:noFill/>
              </a:ln>
              <a:solidFill>
                <a:srgbClr val="000000"/>
              </a:solidFill>
              <a:effectLst/>
              <a:uLnTx/>
              <a:uFillTx/>
              <a:latin typeface="Calibri"/>
              <a:ea typeface="+mn-ea"/>
              <a:cs typeface="+mn-cs"/>
            </a:endParaRPr>
          </a:p>
        </p:txBody>
      </p:sp>
      <p:sp>
        <p:nvSpPr>
          <p:cNvPr id="11" name="Rectangle 3"/>
          <p:cNvSpPr txBox="1">
            <a:spLocks noChangeArrowheads="1"/>
          </p:cNvSpPr>
          <p:nvPr/>
        </p:nvSpPr>
        <p:spPr>
          <a:xfrm>
            <a:off x="1130249" y="3131336"/>
            <a:ext cx="8077251" cy="4488403"/>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342900" marR="0" lvl="0" indent="-342900" algn="l" defTabSz="914400" rtl="0" eaLnBrk="0" fontAlgn="base" latinLnBrk="0" hangingPunct="0">
              <a:lnSpc>
                <a:spcPct val="100000"/>
              </a:lnSpc>
              <a:spcBef>
                <a:spcPct val="20000"/>
              </a:spcBef>
              <a:spcAft>
                <a:spcPct val="0"/>
              </a:spcAft>
              <a:buClrTx/>
              <a:buSzTx/>
              <a:buFontTx/>
              <a:buChar char="•"/>
              <a:tabLst/>
              <a:defRPr/>
            </a:pPr>
            <a:endParaRPr kumimoji="0" lang="en-US" sz="17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sp>
        <p:nvSpPr>
          <p:cNvPr id="14" name="Footer Placeholder 4"/>
          <p:cNvSpPr txBox="1">
            <a:spLocks/>
          </p:cNvSpPr>
          <p:nvPr/>
        </p:nvSpPr>
        <p:spPr>
          <a:xfrm>
            <a:off x="10363200" y="6584156"/>
            <a:ext cx="2171700" cy="27384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0000"/>
                </a:solidFill>
                <a:effectLst/>
                <a:uLnTx/>
                <a:uFillTx/>
                <a:latin typeface="Calibri"/>
                <a:ea typeface="+mn-ea"/>
                <a:cs typeface="+mn-cs"/>
              </a:rPr>
              <a:t>www.actuariesindia.org</a:t>
            </a:r>
          </a:p>
        </p:txBody>
      </p:sp>
      <p:sp>
        <p:nvSpPr>
          <p:cNvPr id="15" name="Rectangle 2"/>
          <p:cNvSpPr txBox="1">
            <a:spLocks noChangeArrowheads="1"/>
          </p:cNvSpPr>
          <p:nvPr/>
        </p:nvSpPr>
        <p:spPr>
          <a:xfrm>
            <a:off x="4343265" y="220739"/>
            <a:ext cx="4583516" cy="586979"/>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3300" b="0" i="0" u="none" strike="noStrike" kern="0" cap="none" spc="0" normalizeH="0" baseline="0" noProof="0" dirty="0">
                <a:ln>
                  <a:noFill/>
                </a:ln>
                <a:solidFill>
                  <a:srgbClr val="000000"/>
                </a:solidFill>
                <a:effectLst/>
                <a:uLnTx/>
                <a:uFillTx/>
                <a:latin typeface="Calibri"/>
                <a:ea typeface="+mj-ea"/>
                <a:cs typeface="+mj-cs"/>
              </a:rPr>
              <a:t>Housekeeping Points</a:t>
            </a:r>
          </a:p>
        </p:txBody>
      </p:sp>
      <p:pic>
        <p:nvPicPr>
          <p:cNvPr id="3" name="Picture 2"/>
          <p:cNvPicPr>
            <a:picLocks noChangeAspect="1"/>
          </p:cNvPicPr>
          <p:nvPr/>
        </p:nvPicPr>
        <p:blipFill>
          <a:blip r:embed="rId5"/>
          <a:stretch>
            <a:fillRect/>
          </a:stretch>
        </p:blipFill>
        <p:spPr>
          <a:xfrm>
            <a:off x="3200400" y="1447390"/>
            <a:ext cx="7835810" cy="4505973"/>
          </a:xfrm>
          <a:prstGeom prst="rect">
            <a:avLst/>
          </a:prstGeom>
        </p:spPr>
      </p:pic>
    </p:spTree>
    <p:extLst>
      <p:ext uri="{BB962C8B-B14F-4D97-AF65-F5344CB8AC3E}">
        <p14:creationId xmlns:p14="http://schemas.microsoft.com/office/powerpoint/2010/main" val="40449838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xmlns="" id="{20616CB8-0573-489D-B3BF-E3F6906B22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2"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xmlns="" id="{20616CB8-0573-489D-B3BF-E3F6906B22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2545585C-44B6-4C26-AE16-8B52F7EA1DF8}"/>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4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16" name="Rectangle 15">
            <a:extLst>
              <a:ext uri="{FF2B5EF4-FFF2-40B4-BE49-F238E27FC236}">
                <a16:creationId xmlns:a16="http://schemas.microsoft.com/office/drawing/2014/main" xmlns="" id="{BA8609B6-1979-44C1-9537-AEAA879BCA5C}"/>
              </a:ext>
            </a:extLst>
          </p:cNvPr>
          <p:cNvSpPr/>
          <p:nvPr/>
        </p:nvSpPr>
        <p:spPr>
          <a:xfrm>
            <a:off x="5733802" y="1883470"/>
            <a:ext cx="6048672" cy="439248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10" name="Rectangle 9">
            <a:extLst>
              <a:ext uri="{FF2B5EF4-FFF2-40B4-BE49-F238E27FC236}">
                <a16:creationId xmlns:a16="http://schemas.microsoft.com/office/drawing/2014/main" xmlns="" id="{560E0108-CADD-4D8B-A838-7C7CA16C300A}"/>
              </a:ext>
            </a:extLst>
          </p:cNvPr>
          <p:cNvSpPr/>
          <p:nvPr/>
        </p:nvSpPr>
        <p:spPr>
          <a:xfrm>
            <a:off x="5847572" y="1595313"/>
            <a:ext cx="6048672" cy="2987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3" name="Slide Number Placeholder 2">
            <a:extLst>
              <a:ext uri="{FF2B5EF4-FFF2-40B4-BE49-F238E27FC236}">
                <a16:creationId xmlns:a16="http://schemas.microsoft.com/office/drawing/2014/main" xmlns="" id="{C8BAF4C1-32A9-4267-A51D-ECAFC31BB3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sp>
        <p:nvSpPr>
          <p:cNvPr id="4" name="Title 3">
            <a:extLst>
              <a:ext uri="{FF2B5EF4-FFF2-40B4-BE49-F238E27FC236}">
                <a16:creationId xmlns:a16="http://schemas.microsoft.com/office/drawing/2014/main" xmlns="" id="{94353E94-1FC3-4EC9-87B6-EBE2790D29A0}"/>
              </a:ext>
            </a:extLst>
          </p:cNvPr>
          <p:cNvSpPr>
            <a:spLocks noGrp="1"/>
          </p:cNvSpPr>
          <p:nvPr>
            <p:ph type="title"/>
          </p:nvPr>
        </p:nvSpPr>
        <p:spPr/>
        <p:txBody>
          <a:bodyPr/>
          <a:lstStyle/>
          <a:p>
            <a:endParaRPr lang="en-GB" dirty="0"/>
          </a:p>
        </p:txBody>
      </p:sp>
      <p:sp>
        <p:nvSpPr>
          <p:cNvPr id="17" name="Title 2">
            <a:extLst>
              <a:ext uri="{FF2B5EF4-FFF2-40B4-BE49-F238E27FC236}">
                <a16:creationId xmlns:a16="http://schemas.microsoft.com/office/drawing/2014/main" xmlns="" id="{4278E7C6-F90B-4254-A992-6BE2C3C621BC}"/>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dirty="0">
                <a:solidFill>
                  <a:srgbClr val="0F4DBC"/>
                </a:solidFill>
              </a:rPr>
              <a:t>Challenges</a:t>
            </a:r>
            <a:endParaRPr lang="en-US" sz="1500" dirty="0">
              <a:solidFill>
                <a:srgbClr val="0F4DBC"/>
              </a:solidFill>
              <a:latin typeface="SwissReSans Light" panose="020B0504020202020204" pitchFamily="34" charset="0"/>
            </a:endParaRPr>
          </a:p>
          <a:p>
            <a:pPr lvl="0"/>
            <a: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endParaRPr>
          </a:p>
        </p:txBody>
      </p:sp>
      <p:sp>
        <p:nvSpPr>
          <p:cNvPr id="20" name="Text Placeholder 5">
            <a:extLst>
              <a:ext uri="{FF2B5EF4-FFF2-40B4-BE49-F238E27FC236}">
                <a16:creationId xmlns:a16="http://schemas.microsoft.com/office/drawing/2014/main" xmlns="" id="{C2E671CE-7A41-4F9F-8EB8-A9C36660073F}"/>
              </a:ext>
            </a:extLst>
          </p:cNvPr>
          <p:cNvSpPr txBox="1">
            <a:spLocks/>
          </p:cNvSpPr>
          <p:nvPr/>
        </p:nvSpPr>
        <p:spPr bwMode="black">
          <a:xfrm>
            <a:off x="717304" y="692151"/>
            <a:ext cx="10779370" cy="5406897"/>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600" b="1" dirty="0">
              <a:latin typeface="SwissReSans Light" panose="020B0504020202020204" pitchFamily="34" charset="0"/>
            </a:endParaRPr>
          </a:p>
          <a:p>
            <a:r>
              <a:rPr lang="en-GB" sz="1600" b="1" dirty="0">
                <a:latin typeface="SwissReSans Light" panose="020B0504020202020204" pitchFamily="34" charset="0"/>
              </a:rPr>
              <a:t>Systems &amp; Skills</a:t>
            </a:r>
          </a:p>
          <a:p>
            <a:pPr marL="285750" indent="-285750">
              <a:buFont typeface="Arial" panose="020B0604020202020204" pitchFamily="34" charset="0"/>
              <a:buChar char="•"/>
            </a:pPr>
            <a:r>
              <a:rPr lang="en-US" sz="1600" dirty="0">
                <a:latin typeface="SwissReSans Light" panose="020B0504020202020204" pitchFamily="34" charset="0"/>
              </a:rPr>
              <a:t>Interpreting the standard and deriving policy recommendations where there is some choice or ambiguity</a:t>
            </a:r>
          </a:p>
          <a:p>
            <a:pPr marL="285750" indent="-285750">
              <a:buFont typeface="Arial" panose="020B0604020202020204" pitchFamily="34" charset="0"/>
              <a:buChar char="•"/>
            </a:pPr>
            <a:r>
              <a:rPr lang="en-US" sz="1600" dirty="0">
                <a:latin typeface="SwissReSans Light" panose="020B0504020202020204" pitchFamily="34" charset="0"/>
              </a:rPr>
              <a:t>Delivering the systems that can perform the IFRS 17 calculations (ex: FPSL which has been co-developed with SAP)</a:t>
            </a:r>
          </a:p>
          <a:p>
            <a:pPr marL="285750" indent="-285750">
              <a:buFont typeface="Arial" panose="020B0604020202020204" pitchFamily="34" charset="0"/>
              <a:buChar char="•"/>
            </a:pPr>
            <a:r>
              <a:rPr lang="en-US" sz="1600" dirty="0">
                <a:latin typeface="SwissReSans Light" panose="020B0504020202020204" pitchFamily="34" charset="0"/>
              </a:rPr>
              <a:t>Adjusting source systems to correctly capture policy information as well as to ensure that actuarial systems are capable of delivering the baseline cashflows at the right level of granularity</a:t>
            </a:r>
            <a:endParaRPr lang="en-GB" sz="1600" dirty="0">
              <a:latin typeface="SwissReSans Light" panose="020B0504020202020204" pitchFamily="34" charset="0"/>
            </a:endParaRPr>
          </a:p>
          <a:p>
            <a:pPr marL="285750" indent="-285750">
              <a:buFont typeface="Arial" panose="020B0604020202020204" pitchFamily="34" charset="0"/>
              <a:buChar char="•"/>
            </a:pPr>
            <a:r>
              <a:rPr lang="en-GB" sz="1600" dirty="0">
                <a:latin typeface="SwissReSans Light" panose="020B0504020202020204" pitchFamily="34" charset="0"/>
              </a:rPr>
              <a:t>Need of Business &amp; IT controls</a:t>
            </a:r>
          </a:p>
          <a:p>
            <a:pPr marL="285750" indent="-285750">
              <a:buFont typeface="Arial" panose="020B0604020202020204" pitchFamily="34" charset="0"/>
              <a:buChar char="•"/>
            </a:pPr>
            <a:r>
              <a:rPr lang="en-GB" sz="1600" dirty="0">
                <a:latin typeface="SwissReSans Light" panose="020B0504020202020204" pitchFamily="34" charset="0"/>
              </a:rPr>
              <a:t>Strong Governance and workflow management;</a:t>
            </a:r>
            <a:r>
              <a:rPr lang="en-US" sz="1600" dirty="0">
                <a:latin typeface="SwissReSans Light" panose="020B0504020202020204" pitchFamily="34" charset="0"/>
              </a:rPr>
              <a:t> </a:t>
            </a:r>
          </a:p>
          <a:p>
            <a:pPr marL="285750" indent="-285750">
              <a:buFont typeface="Arial" panose="020B0604020202020204" pitchFamily="34" charset="0"/>
              <a:buChar char="•"/>
            </a:pPr>
            <a:r>
              <a:rPr lang="en-US" sz="1600" dirty="0">
                <a:latin typeface="SwissReSans Light" panose="020B0504020202020204" pitchFamily="34" charset="0"/>
              </a:rPr>
              <a:t>Reviewing  the end-to-end control framework and quarter end close schedules</a:t>
            </a:r>
          </a:p>
          <a:p>
            <a:pPr marL="285750" indent="-285750">
              <a:buFont typeface="Arial" panose="020B0604020202020204" pitchFamily="34" charset="0"/>
              <a:buChar char="•"/>
            </a:pPr>
            <a:r>
              <a:rPr lang="en-GB" sz="1600" dirty="0">
                <a:latin typeface="SwissReSans Light" panose="020B0504020202020204" pitchFamily="34" charset="0"/>
              </a:rPr>
              <a:t>Calculation of opening balances	</a:t>
            </a:r>
          </a:p>
          <a:p>
            <a:pPr marL="285750" indent="-285750">
              <a:buFont typeface="Arial" panose="020B0604020202020204" pitchFamily="34" charset="0"/>
              <a:buChar char="•"/>
            </a:pPr>
            <a:r>
              <a:rPr lang="en-GB" sz="1600" dirty="0">
                <a:latin typeface="SwissReSans Light" panose="020B0504020202020204" pitchFamily="34" charset="0"/>
              </a:rPr>
              <a:t>Training and upskilling of staff; </a:t>
            </a:r>
          </a:p>
          <a:p>
            <a:pPr marL="285750" indent="-285750">
              <a:buFont typeface="Arial" panose="020B0604020202020204" pitchFamily="34" charset="0"/>
              <a:buChar char="•"/>
            </a:pPr>
            <a:r>
              <a:rPr lang="en-GB" sz="1600" dirty="0">
                <a:latin typeface="SwissReSans Light" panose="020B0504020202020204" pitchFamily="34" charset="0"/>
              </a:rPr>
              <a:t>Closer cooperation between Actuaries and Accountants</a:t>
            </a:r>
          </a:p>
          <a:p>
            <a:pPr marL="285750" indent="-285750">
              <a:buFont typeface="Arial" panose="020B0604020202020204" pitchFamily="34" charset="0"/>
              <a:buChar char="•"/>
            </a:pPr>
            <a:endParaRPr lang="en-GB" sz="1600" dirty="0">
              <a:latin typeface="SwissReSans Light" panose="020B0504020202020204" pitchFamily="34" charset="0"/>
            </a:endParaRPr>
          </a:p>
          <a:p>
            <a:r>
              <a:rPr lang="en-GB" sz="1600" b="1" dirty="0">
                <a:latin typeface="SwissReSans Light" panose="020B0504020202020204" pitchFamily="34" charset="0"/>
              </a:rPr>
              <a:t>Best Estimate Cashflows &amp; Risk Adjustment</a:t>
            </a:r>
          </a:p>
          <a:p>
            <a:pPr marL="285750" indent="-285750">
              <a:buFont typeface="Arial" panose="020B0604020202020204" pitchFamily="34" charset="0"/>
              <a:buChar char="•"/>
            </a:pPr>
            <a:r>
              <a:rPr lang="en-GB" sz="1600" dirty="0">
                <a:latin typeface="SwissReSans Light" panose="020B0504020202020204" pitchFamily="34" charset="0"/>
              </a:rPr>
              <a:t>Cashflow pattern changes will directly impact the P&amp;L</a:t>
            </a:r>
          </a:p>
          <a:p>
            <a:pPr marL="285750" indent="-285750">
              <a:buFont typeface="Arial" panose="020B0604020202020204" pitchFamily="34" charset="0"/>
              <a:buChar char="•"/>
            </a:pPr>
            <a:r>
              <a:rPr lang="en-GB" sz="1600" dirty="0">
                <a:latin typeface="SwissReSans Light" panose="020B0504020202020204" pitchFamily="34" charset="0"/>
              </a:rPr>
              <a:t>More importance to be given to pattern changes</a:t>
            </a:r>
          </a:p>
          <a:p>
            <a:pPr marL="285750" indent="-285750">
              <a:buFont typeface="Arial" panose="020B0604020202020204" pitchFamily="34" charset="0"/>
              <a:buChar char="•"/>
            </a:pPr>
            <a:r>
              <a:rPr lang="en-GB" sz="1600" dirty="0">
                <a:latin typeface="SwissReSans Light" panose="020B0504020202020204" pitchFamily="34" charset="0"/>
              </a:rPr>
              <a:t>Risk Adjustment will impact CSM and therefore needs an appropriate assessment</a:t>
            </a:r>
          </a:p>
          <a:p>
            <a:pPr marL="285750" indent="-285750">
              <a:buFont typeface="Arial" panose="020B0604020202020204" pitchFamily="34" charset="0"/>
              <a:buChar char="•"/>
            </a:pPr>
            <a:r>
              <a:rPr lang="en-GB" sz="1600" dirty="0">
                <a:latin typeface="SwissReSans Light" panose="020B0504020202020204" pitchFamily="34" charset="0"/>
              </a:rPr>
              <a:t>AAs need to report confidence intervals, require an understanding of the reserve distribution</a:t>
            </a: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pPr marL="285750" indent="-285750">
              <a:buFont typeface="Arial" panose="020B0604020202020204" pitchFamily="34" charset="0"/>
              <a:buChar char="•"/>
            </a:pPr>
            <a:endParaRPr lang="en-GB" sz="1600" b="1" dirty="0">
              <a:latin typeface="SwissReSans Light" panose="020B0504020202020204" pitchFamily="34" charset="0"/>
            </a:endParaRPr>
          </a:p>
        </p:txBody>
      </p:sp>
      <p:sp>
        <p:nvSpPr>
          <p:cNvPr id="21" name="Text Placeholder 8">
            <a:extLst>
              <a:ext uri="{FF2B5EF4-FFF2-40B4-BE49-F238E27FC236}">
                <a16:creationId xmlns:a16="http://schemas.microsoft.com/office/drawing/2014/main" xmlns="" id="{3D6CFCEF-5E31-4C7D-AC08-69FCF9BE94C7}"/>
              </a:ext>
            </a:extLst>
          </p:cNvPr>
          <p:cNvSpPr txBox="1">
            <a:spLocks/>
          </p:cNvSpPr>
          <p:nvPr/>
        </p:nvSpPr>
        <p:spPr bwMode="black">
          <a:xfrm>
            <a:off x="673348" y="676714"/>
            <a:ext cx="10801348" cy="651299"/>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dirty="0"/>
              <a:t>Considerations &amp; Challenges</a:t>
            </a:r>
          </a:p>
        </p:txBody>
      </p:sp>
      <p:pic>
        <p:nvPicPr>
          <p:cNvPr id="19" name="Picture 18">
            <a:extLst>
              <a:ext uri="{FF2B5EF4-FFF2-40B4-BE49-F238E27FC236}">
                <a16:creationId xmlns:a16="http://schemas.microsoft.com/office/drawing/2014/main" xmlns="" id="{FC37E086-7EED-456F-8329-52E85D34C1D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33925781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xmlns="" id="{20616CB8-0573-489D-B3BF-E3F6906B22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6" name="think-cell Slide" r:id="rId5" imgW="395" imgH="394" progId="TCLayout.ActiveDocument.1">
                  <p:embed/>
                </p:oleObj>
              </mc:Choice>
              <mc:Fallback>
                <p:oleObj name="think-cell Slide" r:id="rId5" imgW="395" imgH="394" progId="TCLayout.ActiveDocument.1">
                  <p:embed/>
                  <p:pic>
                    <p:nvPicPr>
                      <p:cNvPr id="15" name="Object 14" hidden="1">
                        <a:extLst>
                          <a:ext uri="{FF2B5EF4-FFF2-40B4-BE49-F238E27FC236}">
                            <a16:creationId xmlns:a16="http://schemas.microsoft.com/office/drawing/2014/main" xmlns="" id="{20616CB8-0573-489D-B3BF-E3F6906B22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2545585C-44B6-4C26-AE16-8B52F7EA1DF8}"/>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GB" sz="24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16" name="Rectangle 15">
            <a:extLst>
              <a:ext uri="{FF2B5EF4-FFF2-40B4-BE49-F238E27FC236}">
                <a16:creationId xmlns:a16="http://schemas.microsoft.com/office/drawing/2014/main" xmlns="" id="{BA8609B6-1979-44C1-9537-AEAA879BCA5C}"/>
              </a:ext>
            </a:extLst>
          </p:cNvPr>
          <p:cNvSpPr/>
          <p:nvPr/>
        </p:nvSpPr>
        <p:spPr>
          <a:xfrm>
            <a:off x="5733802" y="1883470"/>
            <a:ext cx="6048672" cy="4392488"/>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10" name="Rectangle 9">
            <a:extLst>
              <a:ext uri="{FF2B5EF4-FFF2-40B4-BE49-F238E27FC236}">
                <a16:creationId xmlns:a16="http://schemas.microsoft.com/office/drawing/2014/main" xmlns="" id="{560E0108-CADD-4D8B-A838-7C7CA16C300A}"/>
              </a:ext>
            </a:extLst>
          </p:cNvPr>
          <p:cNvSpPr/>
          <p:nvPr/>
        </p:nvSpPr>
        <p:spPr>
          <a:xfrm>
            <a:off x="5847572" y="1595313"/>
            <a:ext cx="6048672" cy="298700"/>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SwissReSans" pitchFamily="34" charset="0"/>
              <a:ea typeface="+mn-ea"/>
              <a:cs typeface="+mn-cs"/>
            </a:endParaRPr>
          </a:p>
        </p:txBody>
      </p:sp>
      <p:sp>
        <p:nvSpPr>
          <p:cNvPr id="3" name="Slide Number Placeholder 2">
            <a:extLst>
              <a:ext uri="{FF2B5EF4-FFF2-40B4-BE49-F238E27FC236}">
                <a16:creationId xmlns:a16="http://schemas.microsoft.com/office/drawing/2014/main" xmlns="" id="{C8BAF4C1-32A9-4267-A51D-ECAFC31BB3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sp>
        <p:nvSpPr>
          <p:cNvPr id="4" name="Title 3">
            <a:extLst>
              <a:ext uri="{FF2B5EF4-FFF2-40B4-BE49-F238E27FC236}">
                <a16:creationId xmlns:a16="http://schemas.microsoft.com/office/drawing/2014/main" xmlns="" id="{94353E94-1FC3-4EC9-87B6-EBE2790D29A0}"/>
              </a:ext>
            </a:extLst>
          </p:cNvPr>
          <p:cNvSpPr>
            <a:spLocks noGrp="1"/>
          </p:cNvSpPr>
          <p:nvPr>
            <p:ph type="title"/>
          </p:nvPr>
        </p:nvSpPr>
        <p:spPr/>
        <p:txBody>
          <a:bodyPr/>
          <a:lstStyle/>
          <a:p>
            <a:endParaRPr lang="en-GB" dirty="0"/>
          </a:p>
        </p:txBody>
      </p:sp>
      <p:sp>
        <p:nvSpPr>
          <p:cNvPr id="17" name="Title 2">
            <a:extLst>
              <a:ext uri="{FF2B5EF4-FFF2-40B4-BE49-F238E27FC236}">
                <a16:creationId xmlns:a16="http://schemas.microsoft.com/office/drawing/2014/main" xmlns="" id="{4278E7C6-F90B-4254-A992-6BE2C3C621BC}"/>
              </a:ext>
            </a:extLst>
          </p:cNvPr>
          <p:cNvSpPr txBox="1">
            <a:spLocks/>
          </p:cNvSpPr>
          <p:nvPr/>
        </p:nvSpPr>
        <p:spPr bwMode="black">
          <a:xfrm>
            <a:off x="701272" y="692151"/>
            <a:ext cx="10655299" cy="692647"/>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lvl="0"/>
            <a:r>
              <a:rPr lang="en-US" dirty="0">
                <a:solidFill>
                  <a:srgbClr val="0F4DBC"/>
                </a:solidFill>
              </a:rPr>
              <a:t>Challenges</a:t>
            </a:r>
            <a:endParaRPr lang="en-US" sz="1500" dirty="0">
              <a:solidFill>
                <a:srgbClr val="0F4DBC"/>
              </a:solidFill>
              <a:latin typeface="SwissReSans Light" panose="020B0504020202020204" pitchFamily="34" charset="0"/>
            </a:endParaRPr>
          </a:p>
          <a:p>
            <a:pPr lvl="0"/>
            <a: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t/>
            </a:r>
            <a:br>
              <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rPr>
            </a:br>
            <a:endParaRPr kumimoji="0" lang="en-GB" sz="2400" b="0" i="0" u="none" strike="noStrike" kern="1200" cap="none" spc="0" normalizeH="0" baseline="0" noProof="0" dirty="0">
              <a:ln>
                <a:noFill/>
              </a:ln>
              <a:solidFill>
                <a:srgbClr val="0F4DBC"/>
              </a:solidFill>
              <a:effectLst/>
              <a:uLnTx/>
              <a:uFillTx/>
              <a:latin typeface="SwissReSans" pitchFamily="34" charset="0"/>
              <a:ea typeface="+mj-ea"/>
              <a:cs typeface="+mj-cs"/>
            </a:endParaRPr>
          </a:p>
        </p:txBody>
      </p:sp>
      <p:sp>
        <p:nvSpPr>
          <p:cNvPr id="20" name="Text Placeholder 5">
            <a:extLst>
              <a:ext uri="{FF2B5EF4-FFF2-40B4-BE49-F238E27FC236}">
                <a16:creationId xmlns:a16="http://schemas.microsoft.com/office/drawing/2014/main" xmlns="" id="{C2E671CE-7A41-4F9F-8EB8-A9C36660073F}"/>
              </a:ext>
            </a:extLst>
          </p:cNvPr>
          <p:cNvSpPr txBox="1">
            <a:spLocks/>
          </p:cNvSpPr>
          <p:nvPr/>
        </p:nvSpPr>
        <p:spPr bwMode="black">
          <a:xfrm>
            <a:off x="617767" y="676714"/>
            <a:ext cx="10779370" cy="5795798"/>
          </a:xfrm>
          <a:prstGeom prst="rect">
            <a:avLst/>
          </a:prstGeom>
          <a:solidFill>
            <a:srgbClr val="E7EDF8"/>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600" b="1" dirty="0">
                <a:latin typeface="SwissReSans Light" panose="020B0504020202020204" pitchFamily="34" charset="0"/>
              </a:rPr>
              <a:t>Importance of CSM for Actuaries</a:t>
            </a:r>
          </a:p>
          <a:p>
            <a:pPr marL="285750" indent="-285750">
              <a:buFont typeface="Arial" panose="020B0604020202020204" pitchFamily="34" charset="0"/>
              <a:buChar char="•"/>
            </a:pPr>
            <a:r>
              <a:rPr lang="en-US" sz="1600" dirty="0">
                <a:latin typeface="SwissReSans Light" panose="020B0504020202020204" pitchFamily="34" charset="0"/>
              </a:rPr>
              <a:t>For P&amp;C, future expected profits are highly dependent on current &amp; prior year loss ratio assumptions</a:t>
            </a:r>
          </a:p>
          <a:p>
            <a:pPr marL="285750" indent="-285750">
              <a:buFont typeface="Arial" panose="020B0604020202020204" pitchFamily="34" charset="0"/>
              <a:buChar char="•"/>
            </a:pPr>
            <a:r>
              <a:rPr lang="en-US" sz="1600" dirty="0">
                <a:latin typeface="SwissReSans Light" panose="020B0504020202020204" pitchFamily="34" charset="0"/>
              </a:rPr>
              <a:t>APLR updates on latest UY will impact the CSM </a:t>
            </a:r>
          </a:p>
          <a:p>
            <a:pPr marL="285750" indent="-285750">
              <a:buFont typeface="Arial" panose="020B0604020202020204" pitchFamily="34" charset="0"/>
              <a:buChar char="•"/>
            </a:pPr>
            <a:r>
              <a:rPr lang="en-US" sz="1600" dirty="0">
                <a:latin typeface="SwissReSans Light" panose="020B0504020202020204" pitchFamily="34" charset="0"/>
              </a:rPr>
              <a:t>Payment pattern changes and volume updates to business which has unearned exposure will also impact CSM</a:t>
            </a:r>
          </a:p>
          <a:p>
            <a:pPr marL="285750" indent="-285750">
              <a:buFont typeface="Arial" panose="020B0604020202020204" pitchFamily="34" charset="0"/>
              <a:buChar char="•"/>
            </a:pPr>
            <a:endParaRPr lang="en-US" sz="1600" dirty="0">
              <a:latin typeface="SwissReSans Light" panose="020B0504020202020204" pitchFamily="34" charset="0"/>
            </a:endParaRPr>
          </a:p>
          <a:p>
            <a:r>
              <a:rPr lang="en-GB" sz="1600" b="1" dirty="0">
                <a:latin typeface="SwissReSans Light" panose="020B0504020202020204" pitchFamily="34" charset="0"/>
              </a:rPr>
              <a:t>Level of Aggregation (</a:t>
            </a:r>
            <a:r>
              <a:rPr lang="en-GB" sz="1600" b="1" dirty="0" err="1">
                <a:latin typeface="SwissReSans Light" panose="020B0504020202020204" pitchFamily="34" charset="0"/>
              </a:rPr>
              <a:t>LoA</a:t>
            </a:r>
            <a:r>
              <a:rPr lang="en-GB" sz="1600" b="1" dirty="0">
                <a:latin typeface="SwissReSans Light" panose="020B0504020202020204" pitchFamily="34" charset="0"/>
              </a:rPr>
              <a:t>)</a:t>
            </a:r>
          </a:p>
          <a:p>
            <a:pPr marL="285750" indent="-285750">
              <a:buFont typeface="Arial" panose="020B0604020202020204" pitchFamily="34" charset="0"/>
              <a:buChar char="•"/>
            </a:pPr>
            <a:r>
              <a:rPr lang="en-GB" sz="1600" dirty="0" err="1">
                <a:latin typeface="SwissReSans Light" panose="020B0504020202020204" pitchFamily="34" charset="0"/>
              </a:rPr>
              <a:t>LoA</a:t>
            </a:r>
            <a:r>
              <a:rPr lang="en-GB" sz="1600" dirty="0">
                <a:latin typeface="SwissReSans Light" panose="020B0504020202020204" pitchFamily="34" charset="0"/>
              </a:rPr>
              <a:t> will have an impact on the speed of actual and expected profit recognition</a:t>
            </a:r>
          </a:p>
          <a:p>
            <a:pPr marL="285750" indent="-285750">
              <a:buFont typeface="Arial" panose="020B0604020202020204" pitchFamily="34" charset="0"/>
              <a:buChar char="•"/>
            </a:pPr>
            <a:r>
              <a:rPr lang="en-GB" sz="1600" dirty="0">
                <a:latin typeface="SwissReSans Light" panose="020B0504020202020204" pitchFamily="34" charset="0"/>
              </a:rPr>
              <a:t>Larger portfolios will have more possibility to diversify adverse assumption changes impacting the CSM</a:t>
            </a:r>
          </a:p>
          <a:p>
            <a:pPr marL="285750" indent="-285750">
              <a:buFont typeface="Arial" panose="020B0604020202020204" pitchFamily="34" charset="0"/>
              <a:buChar char="•"/>
            </a:pPr>
            <a:r>
              <a:rPr lang="en-GB" sz="1600" dirty="0" err="1">
                <a:latin typeface="SwissReSans Light" panose="020B0504020202020204" pitchFamily="34" charset="0"/>
              </a:rPr>
              <a:t>LoA</a:t>
            </a:r>
            <a:r>
              <a:rPr lang="en-GB" sz="1600" dirty="0">
                <a:latin typeface="SwissReSans Light" panose="020B0504020202020204" pitchFamily="34" charset="0"/>
              </a:rPr>
              <a:t> may not match reserving segmentation, but still need to explain results at </a:t>
            </a:r>
            <a:r>
              <a:rPr lang="en-GB" sz="1600" dirty="0" err="1">
                <a:latin typeface="SwissReSans Light" panose="020B0504020202020204" pitchFamily="34" charset="0"/>
              </a:rPr>
              <a:t>LoA</a:t>
            </a:r>
            <a:r>
              <a:rPr lang="en-GB" sz="1600" dirty="0">
                <a:latin typeface="SwissReSans Light" panose="020B0504020202020204" pitchFamily="34" charset="0"/>
              </a:rPr>
              <a:t> level</a:t>
            </a:r>
          </a:p>
          <a:p>
            <a:pPr marL="285750" indent="-285750">
              <a:buFont typeface="Arial" panose="020B0604020202020204" pitchFamily="34" charset="0"/>
              <a:buChar char="•"/>
            </a:pPr>
            <a:r>
              <a:rPr lang="en-GB" sz="1600" dirty="0">
                <a:latin typeface="SwissReSans Light" panose="020B0504020202020204" pitchFamily="34" charset="0"/>
              </a:rPr>
              <a:t>Judgement may be required for allocation to </a:t>
            </a:r>
            <a:r>
              <a:rPr lang="en-GB" sz="1600" dirty="0" err="1">
                <a:latin typeface="SwissReSans Light" panose="020B0504020202020204" pitchFamily="34" charset="0"/>
              </a:rPr>
              <a:t>LoAs</a:t>
            </a:r>
            <a:r>
              <a:rPr lang="en-GB" sz="1600" dirty="0">
                <a:latin typeface="SwissReSans Light" panose="020B0504020202020204" pitchFamily="34" charset="0"/>
              </a:rPr>
              <a:t> for large multiline or complex treaties; complications for business shifts, acquisition of </a:t>
            </a:r>
            <a:r>
              <a:rPr lang="en-GB" sz="1600" dirty="0" err="1">
                <a:latin typeface="SwissReSans Light" panose="020B0504020202020204" pitchFamily="34" charset="0"/>
              </a:rPr>
              <a:t>portolios</a:t>
            </a:r>
            <a:r>
              <a:rPr lang="en-GB" sz="1600" dirty="0">
                <a:latin typeface="SwissReSans Light" panose="020B0504020202020204" pitchFamily="34" charset="0"/>
              </a:rPr>
              <a:t>, LPTs/ADCs</a:t>
            </a:r>
          </a:p>
          <a:p>
            <a:endParaRPr lang="en-GB" sz="1600" dirty="0">
              <a:latin typeface="SwissReSans Light" panose="020B0504020202020204" pitchFamily="34" charset="0"/>
            </a:endParaRPr>
          </a:p>
          <a:p>
            <a:r>
              <a:rPr lang="en-GB" sz="1600" b="1" dirty="0">
                <a:latin typeface="SwissReSans Light" panose="020B0504020202020204" pitchFamily="34" charset="0"/>
              </a:rPr>
              <a:t>Importance of Initial Onerousness Testing</a:t>
            </a:r>
          </a:p>
          <a:p>
            <a:pPr marL="285750" indent="-285750">
              <a:buFont typeface="Arial" panose="020B0604020202020204" pitchFamily="34" charset="0"/>
              <a:buChar char="•"/>
            </a:pPr>
            <a:r>
              <a:rPr lang="en-US" sz="1600" dirty="0">
                <a:latin typeface="SwissReSans Light" panose="020B0504020202020204" pitchFamily="34" charset="0"/>
              </a:rPr>
              <a:t>If classified incorrectly:</a:t>
            </a:r>
          </a:p>
          <a:p>
            <a:r>
              <a:rPr lang="en-US" sz="1600" dirty="0">
                <a:latin typeface="SwissReSans Light" panose="020B0504020202020204" pitchFamily="34" charset="0"/>
              </a:rPr>
              <a:t>	-Directly impacts P&amp;L on day one</a:t>
            </a:r>
          </a:p>
          <a:p>
            <a:r>
              <a:rPr lang="en-US" sz="1600" dirty="0">
                <a:latin typeface="SwissReSans Light" panose="020B0504020202020204" pitchFamily="34" charset="0"/>
              </a:rPr>
              <a:t>	-External and Internal stakeholders would be interested</a:t>
            </a:r>
          </a:p>
          <a:p>
            <a:r>
              <a:rPr lang="en-US" sz="1600" dirty="0">
                <a:latin typeface="SwissReSans Light" panose="020B0504020202020204" pitchFamily="34" charset="0"/>
              </a:rPr>
              <a:t>	-Management would have special focus on onerous business and factors behind it</a:t>
            </a:r>
          </a:p>
          <a:p>
            <a:r>
              <a:rPr lang="en-US" sz="1600" dirty="0">
                <a:latin typeface="SwissReSans Light" panose="020B0504020202020204" pitchFamily="34" charset="0"/>
              </a:rPr>
              <a:t>	-Analysts would comment on proportion of onerous business and future profitability of overall business</a:t>
            </a:r>
          </a:p>
          <a:p>
            <a:r>
              <a:rPr lang="en-US" sz="1600" dirty="0">
                <a:latin typeface="SwissReSans Light" panose="020B0504020202020204" pitchFamily="34" charset="0"/>
              </a:rPr>
              <a:t>	-Regulators may have biased outlooks especially when compared with peers, may lead to external scrutiny</a:t>
            </a:r>
          </a:p>
          <a:p>
            <a:pPr marL="285750" indent="-285750">
              <a:buFont typeface="Arial" panose="020B0604020202020204" pitchFamily="34" charset="0"/>
              <a:buChar char="•"/>
            </a:pPr>
            <a:r>
              <a:rPr lang="en-US" sz="1600" dirty="0">
                <a:latin typeface="SwissReSans Light" panose="020B0504020202020204" pitchFamily="34" charset="0"/>
              </a:rPr>
              <a:t>Incorrect Risk adjustment and expense factors may make seemingly good business look onerous</a:t>
            </a:r>
          </a:p>
          <a:p>
            <a:pPr marL="285750" indent="-285750">
              <a:buFont typeface="Arial" panose="020B0604020202020204" pitchFamily="34" charset="0"/>
              <a:buChar char="•"/>
            </a:pPr>
            <a:r>
              <a:rPr lang="en-US" sz="1600" dirty="0">
                <a:latin typeface="SwissReSans Light" panose="020B0504020202020204" pitchFamily="34" charset="0"/>
              </a:rPr>
              <a:t>Cross-subsidizing contracts would come under pressure to look non-onerous, may lead to pricing bias</a:t>
            </a: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endParaRPr lang="en-GB" sz="1600" dirty="0">
              <a:latin typeface="SwissReSans Light" panose="020B0504020202020204" pitchFamily="34" charset="0"/>
            </a:endParaRPr>
          </a:p>
          <a:p>
            <a:pPr marL="285750" indent="-285750">
              <a:buFont typeface="Arial" panose="020B0604020202020204" pitchFamily="34" charset="0"/>
              <a:buChar char="•"/>
            </a:pPr>
            <a:endParaRPr lang="en-GB" sz="1600" b="1" dirty="0">
              <a:latin typeface="SwissReSans Light" panose="020B0504020202020204" pitchFamily="34" charset="0"/>
            </a:endParaRPr>
          </a:p>
        </p:txBody>
      </p:sp>
      <p:sp>
        <p:nvSpPr>
          <p:cNvPr id="21" name="Text Placeholder 8">
            <a:extLst>
              <a:ext uri="{FF2B5EF4-FFF2-40B4-BE49-F238E27FC236}">
                <a16:creationId xmlns:a16="http://schemas.microsoft.com/office/drawing/2014/main" xmlns="" id="{3D6CFCEF-5E31-4C7D-AC08-69FCF9BE94C7}"/>
              </a:ext>
            </a:extLst>
          </p:cNvPr>
          <p:cNvSpPr txBox="1">
            <a:spLocks/>
          </p:cNvSpPr>
          <p:nvPr/>
        </p:nvSpPr>
        <p:spPr bwMode="black">
          <a:xfrm>
            <a:off x="673348" y="676714"/>
            <a:ext cx="10801348" cy="651299"/>
          </a:xfrm>
          <a:prstGeom prst="flowChartOffpageConnector">
            <a:avLst/>
          </a:prstGeom>
          <a:solidFill>
            <a:srgbClr val="0F4DBC"/>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800" b="1" dirty="0"/>
              <a:t>Considerations &amp; Challenges</a:t>
            </a:r>
          </a:p>
        </p:txBody>
      </p:sp>
      <p:pic>
        <p:nvPicPr>
          <p:cNvPr id="19" name="Picture 18">
            <a:extLst>
              <a:ext uri="{FF2B5EF4-FFF2-40B4-BE49-F238E27FC236}">
                <a16:creationId xmlns:a16="http://schemas.microsoft.com/office/drawing/2014/main" xmlns="" id="{FC37E086-7EED-456F-8329-52E85D34C1D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22625596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96"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GB" sz="40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en-GB" sz="4000" dirty="0"/>
              <a:t>Reinsurance impact under IFRS17</a:t>
            </a:r>
            <a:endParaRPr lang="en-GB" sz="4000" dirty="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dirty="0"/>
              <a:t>05</a:t>
            </a:r>
          </a:p>
        </p:txBody>
      </p:sp>
      <p:pic>
        <p:nvPicPr>
          <p:cNvPr id="6" name="Picture 5">
            <a:extLst>
              <a:ext uri="{FF2B5EF4-FFF2-40B4-BE49-F238E27FC236}">
                <a16:creationId xmlns:a16="http://schemas.microsoft.com/office/drawing/2014/main" xmlns="" id="{D2F88D1D-C6E2-428A-9206-6E08760732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11339" y="5750907"/>
            <a:ext cx="823814" cy="829886"/>
          </a:xfrm>
          <a:prstGeom prst="rect">
            <a:avLst/>
          </a:prstGeom>
        </p:spPr>
      </p:pic>
    </p:spTree>
    <p:extLst>
      <p:ext uri="{BB962C8B-B14F-4D97-AF65-F5344CB8AC3E}">
        <p14:creationId xmlns:p14="http://schemas.microsoft.com/office/powerpoint/2010/main" val="12403669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F5158FBD-3A33-44C1-B941-2E9FE7FC897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6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xmlns="" id="{F5158FBD-3A33-44C1-B941-2E9FE7FC89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C978D1FC-9417-4516-A034-3EB9A88DE2DB}"/>
              </a:ext>
            </a:extLst>
          </p:cNvPr>
          <p:cNvSpPr>
            <a:spLocks noGrp="1"/>
          </p:cNvSpPr>
          <p:nvPr>
            <p:ph type="title"/>
          </p:nvPr>
        </p:nvSpPr>
        <p:spPr>
          <a:xfrm>
            <a:off x="703984" y="1608896"/>
            <a:ext cx="11017250" cy="1296168"/>
          </a:xfrm>
        </p:spPr>
        <p:txBody>
          <a:bodyPr vert="horz"/>
          <a:lstStyle/>
          <a:p>
            <a:r>
              <a:rPr lang="en-GB" dirty="0"/>
              <a:t>Poll Question 2: True or False?</a:t>
            </a:r>
          </a:p>
        </p:txBody>
      </p:sp>
      <p:sp>
        <p:nvSpPr>
          <p:cNvPr id="3" name="Text Placeholder 2">
            <a:extLst>
              <a:ext uri="{FF2B5EF4-FFF2-40B4-BE49-F238E27FC236}">
                <a16:creationId xmlns:a16="http://schemas.microsoft.com/office/drawing/2014/main" xmlns="" id="{02937570-2F48-4C59-807C-E3B4F5E2EC2C}"/>
              </a:ext>
            </a:extLst>
          </p:cNvPr>
          <p:cNvSpPr>
            <a:spLocks noGrp="1"/>
          </p:cNvSpPr>
          <p:nvPr>
            <p:ph type="body" sz="quarter" idx="12"/>
          </p:nvPr>
        </p:nvSpPr>
        <p:spPr>
          <a:xfrm>
            <a:off x="1366983" y="2996952"/>
            <a:ext cx="8405090" cy="2544487"/>
          </a:xfrm>
        </p:spPr>
        <p:txBody>
          <a:bodyPr/>
          <a:lstStyle/>
          <a:p>
            <a:pPr marL="0" indent="0">
              <a:lnSpc>
                <a:spcPct val="150000"/>
              </a:lnSpc>
              <a:buNone/>
            </a:pPr>
            <a:r>
              <a:rPr lang="en-US" sz="2400" dirty="0"/>
              <a:t>Both </a:t>
            </a:r>
            <a:r>
              <a:rPr lang="en-US" sz="2400" b="1" dirty="0"/>
              <a:t>insurance contracts issued &amp; reinsurance contracts held </a:t>
            </a:r>
          </a:p>
          <a:p>
            <a:pPr marL="0" indent="0">
              <a:lnSpc>
                <a:spcPct val="150000"/>
              </a:lnSpc>
              <a:buNone/>
            </a:pPr>
            <a:r>
              <a:rPr lang="en-US" sz="2400" dirty="0"/>
              <a:t>which have </a:t>
            </a:r>
            <a:r>
              <a:rPr lang="en-US" sz="2400" b="1" dirty="0"/>
              <a:t>overall net losses </a:t>
            </a:r>
          </a:p>
          <a:p>
            <a:pPr marL="0" indent="0">
              <a:lnSpc>
                <a:spcPct val="150000"/>
              </a:lnSpc>
              <a:buNone/>
            </a:pPr>
            <a:r>
              <a:rPr lang="en-US" sz="2400" dirty="0"/>
              <a:t>must be </a:t>
            </a:r>
            <a:r>
              <a:rPr lang="en-US" sz="2400" b="1" dirty="0"/>
              <a:t>recognized </a:t>
            </a:r>
            <a:r>
              <a:rPr lang="en-US" sz="3200" b="1" dirty="0"/>
              <a:t>upfront</a:t>
            </a:r>
            <a:endParaRPr lang="en-GB" sz="2400" b="1" dirty="0"/>
          </a:p>
        </p:txBody>
      </p:sp>
      <p:sp>
        <p:nvSpPr>
          <p:cNvPr id="4" name="Slide Number Placeholder 3">
            <a:extLst>
              <a:ext uri="{FF2B5EF4-FFF2-40B4-BE49-F238E27FC236}">
                <a16:creationId xmlns:a16="http://schemas.microsoft.com/office/drawing/2014/main" xmlns="" id="{172F8C67-30F6-40E8-B005-D90EA9A25177}"/>
              </a:ext>
            </a:extLst>
          </p:cNvPr>
          <p:cNvSpPr>
            <a:spLocks noGrp="1"/>
          </p:cNvSpPr>
          <p:nvPr>
            <p:ph type="sldNum" sz="quarter" idx="15"/>
          </p:nvPr>
        </p:nvSpPr>
        <p:spPr/>
        <p:txBody>
          <a:bodyPr/>
          <a:lstStyle/>
          <a:p>
            <a:fld id="{5E4D2043-7E31-4A53-BD33-72A88E682172}" type="slidenum">
              <a:rPr lang="en-GB" smtClean="0"/>
              <a:pPr/>
              <a:t>43</a:t>
            </a:fld>
            <a:endParaRPr lang="en-GB"/>
          </a:p>
        </p:txBody>
      </p:sp>
      <p:pic>
        <p:nvPicPr>
          <p:cNvPr id="10" name="Picture 9">
            <a:extLst>
              <a:ext uri="{FF2B5EF4-FFF2-40B4-BE49-F238E27FC236}">
                <a16:creationId xmlns:a16="http://schemas.microsoft.com/office/drawing/2014/main" xmlns="" id="{21002C95-A70F-4F3D-8918-C41FA27054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46359" y="202926"/>
            <a:ext cx="823814" cy="829886"/>
          </a:xfrm>
          <a:prstGeom prst="rect">
            <a:avLst/>
          </a:prstGeom>
        </p:spPr>
      </p:pic>
    </p:spTree>
    <p:extLst>
      <p:ext uri="{BB962C8B-B14F-4D97-AF65-F5344CB8AC3E}">
        <p14:creationId xmlns:p14="http://schemas.microsoft.com/office/powerpoint/2010/main" val="19450260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xmlns="" id="{8CD32899-39D2-4241-B133-284CAC67939E}"/>
              </a:ext>
            </a:extLst>
          </p:cNvPr>
          <p:cNvPicPr>
            <a:picLocks noGrp="1"/>
          </p:cNvPicPr>
          <p:nvPr>
            <p:ph type="pic" sz="quarter" idx="13"/>
            <p:custDataLst>
              <p:tags r:id="rId2"/>
            </p:custDataLst>
          </p:nvPr>
        </p:nvPicPr>
        <p:blipFill>
          <a:blip r:embed="rId7">
            <a:duotone>
              <a:prstClr val="black"/>
              <a:schemeClr val="accent3">
                <a:tint val="45000"/>
                <a:satMod val="400000"/>
              </a:schemeClr>
            </a:duotone>
            <a:alphaModFix amt="50000"/>
            <a:extLst>
              <a:ext uri="{28A0092B-C50C-407E-A947-70E740481C1C}">
                <a14:useLocalDpi xmlns:a14="http://schemas.microsoft.com/office/drawing/2010/main" val="0"/>
              </a:ext>
            </a:extLst>
          </a:blip>
          <a:srcRect/>
          <a:stretch>
            <a:fillRect/>
          </a:stretch>
        </p:blipFill>
        <p:spPr bwMode="gray"/>
      </p:pic>
      <p:graphicFrame>
        <p:nvGraphicFramePr>
          <p:cNvPr id="7" name="Object 6" hidden="1">
            <a:extLst>
              <a:ext uri="{FF2B5EF4-FFF2-40B4-BE49-F238E27FC236}">
                <a16:creationId xmlns:a16="http://schemas.microsoft.com/office/drawing/2014/main" xmlns="" id="{D0813D12-283A-46BD-A4CE-3B3D143201F9}"/>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8" imgW="395" imgH="396" progId="TCLayout.ActiveDocument.1">
                  <p:embed/>
                </p:oleObj>
              </mc:Choice>
              <mc:Fallback>
                <p:oleObj name="think-cell Slide" r:id="rId8" imgW="395" imgH="396" progId="TCLayout.ActiveDocument.1">
                  <p:embed/>
                  <p:pic>
                    <p:nvPicPr>
                      <p:cNvPr id="7" name="Object 6" hidden="1">
                        <a:extLst>
                          <a:ext uri="{FF2B5EF4-FFF2-40B4-BE49-F238E27FC236}">
                            <a16:creationId xmlns:a16="http://schemas.microsoft.com/office/drawing/2014/main" xmlns="" id="{D0813D12-283A-46BD-A4CE-3B3D143201F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xmlns="" id="{CD314EB5-31DE-4728-B08F-AE3875388081}"/>
              </a:ext>
            </a:extLst>
          </p:cNvPr>
          <p:cNvSpPr>
            <a:spLocks noGrp="1"/>
          </p:cNvSpPr>
          <p:nvPr>
            <p:ph type="sldNum" sz="quarter" idx="12"/>
          </p:nvPr>
        </p:nvSpPr>
        <p:spPr/>
        <p:txBody>
          <a:bodyPr/>
          <a:lstStyle/>
          <a:p>
            <a:fld id="{5E4D2043-7E31-4A53-BD33-72A88E682172}" type="slidenum">
              <a:rPr lang="en-GB" smtClean="0"/>
              <a:pPr/>
              <a:t>44</a:t>
            </a:fld>
            <a:endParaRPr lang="en-GB"/>
          </a:p>
        </p:txBody>
      </p:sp>
      <p:sp>
        <p:nvSpPr>
          <p:cNvPr id="16" name="Text Placeholder 17">
            <a:extLst>
              <a:ext uri="{FF2B5EF4-FFF2-40B4-BE49-F238E27FC236}">
                <a16:creationId xmlns:a16="http://schemas.microsoft.com/office/drawing/2014/main" xmlns="" id="{88BD0491-8E82-4373-8D8B-A58E7BEF20CC}"/>
              </a:ext>
            </a:extLst>
          </p:cNvPr>
          <p:cNvSpPr txBox="1">
            <a:spLocks noGrp="1"/>
          </p:cNvSpPr>
          <p:nvPr>
            <p:ph type="body" sz="quarter" idx="15"/>
          </p:nvPr>
        </p:nvSpPr>
        <p:spPr bwMode="black">
          <a:xfrm>
            <a:off x="695324" y="1166958"/>
            <a:ext cx="11339658" cy="3529013"/>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0"/>
              </a:spcBef>
              <a:buClrTx/>
              <a:buSzPct val="100000"/>
              <a:buFontTx/>
              <a:buNone/>
              <a:defRPr sz="5000" kern="1200">
                <a:solidFill>
                  <a:schemeClr val="bg1"/>
                </a:solidFill>
                <a:latin typeface="SwissReSans Light" panose="020B0504020202020204" pitchFamily="34" charset="0"/>
                <a:ea typeface="+mn-ea"/>
                <a:cs typeface="+mn-cs"/>
              </a:defRPr>
            </a:lvl1pPr>
            <a:lvl2pPr marL="182562"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2pPr>
            <a:lvl3pPr marL="444500"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3pPr>
            <a:lvl4pPr marL="715963"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4pPr>
            <a:lvl5pPr marL="985838" indent="0" algn="l" defTabSz="914400" rtl="0" eaLnBrk="1" latinLnBrk="0" hangingPunct="1">
              <a:lnSpc>
                <a:spcPct val="100000"/>
              </a:lnSpc>
              <a:spcBef>
                <a:spcPts val="1000"/>
              </a:spcBef>
              <a:buFontTx/>
              <a:buNone/>
              <a:defRPr sz="5000" kern="1200">
                <a:solidFill>
                  <a:schemeClr val="tx2"/>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50000"/>
              </a:lnSpc>
            </a:pPr>
            <a:r>
              <a:rPr lang="en-GB" sz="4800"/>
              <a:t>Cost of reinsurance is amortized </a:t>
            </a:r>
            <a:r>
              <a:rPr lang="en-GB" sz="4800" b="1"/>
              <a:t>over time</a:t>
            </a:r>
            <a:r>
              <a:rPr lang="en-GB" sz="4800"/>
              <a:t> as service is delivered rather than being recognized </a:t>
            </a:r>
            <a:r>
              <a:rPr lang="en-GB" sz="4800" b="1"/>
              <a:t>upfront </a:t>
            </a:r>
            <a:r>
              <a:rPr lang="en-GB" sz="4800"/>
              <a:t>as a loss</a:t>
            </a:r>
          </a:p>
        </p:txBody>
      </p:sp>
      <p:sp>
        <p:nvSpPr>
          <p:cNvPr id="18" name="TextBox 17">
            <a:extLst>
              <a:ext uri="{FF2B5EF4-FFF2-40B4-BE49-F238E27FC236}">
                <a16:creationId xmlns:a16="http://schemas.microsoft.com/office/drawing/2014/main" xmlns="" id="{5869750A-60FB-4872-BE19-B573EEEB10C7}"/>
              </a:ext>
            </a:extLst>
          </p:cNvPr>
          <p:cNvSpPr txBox="1"/>
          <p:nvPr/>
        </p:nvSpPr>
        <p:spPr>
          <a:xfrm>
            <a:off x="695324" y="5453820"/>
            <a:ext cx="6480175" cy="646331"/>
          </a:xfrm>
          <a:prstGeom prst="rect">
            <a:avLst/>
          </a:prstGeom>
          <a:noFill/>
        </p:spPr>
        <p:txBody>
          <a:bodyPr wrap="square" rtlCol="0">
            <a:spAutoFit/>
          </a:bodyPr>
          <a:lstStyle/>
          <a:p>
            <a:r>
              <a:rPr lang="en-GB" sz="1200">
                <a:solidFill>
                  <a:prstClr val="white"/>
                </a:solidFill>
              </a:rPr>
              <a:t>The exception to this is when the reinsurance contract held is a retrospective cover involving claims that have already been incurred; in such cases the cost of reinsurance must be recognized upfront</a:t>
            </a:r>
          </a:p>
        </p:txBody>
      </p:sp>
      <p:pic>
        <p:nvPicPr>
          <p:cNvPr id="6" name="Picture 5">
            <a:extLst>
              <a:ext uri="{FF2B5EF4-FFF2-40B4-BE49-F238E27FC236}">
                <a16:creationId xmlns:a16="http://schemas.microsoft.com/office/drawing/2014/main" xmlns="" id="{2039BEC4-0A40-486F-BDCA-420B154C7D3E}"/>
              </a:ext>
            </a:extLst>
          </p:cNvPr>
          <p:cNvPicPr>
            <a:picLocks noChangeAspect="1"/>
          </p:cNvPicPr>
          <p:nvPr>
            <p:custDataLst>
              <p:tags r:id="rId4"/>
            </p:custDataLst>
          </p:nvPr>
        </p:nvPicPr>
        <p:blipFill>
          <a:blip r:embed="rId1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pic>
        <p:nvPicPr>
          <p:cNvPr id="10" name="Picture 9">
            <a:extLst>
              <a:ext uri="{FF2B5EF4-FFF2-40B4-BE49-F238E27FC236}">
                <a16:creationId xmlns:a16="http://schemas.microsoft.com/office/drawing/2014/main" xmlns="" id="{19DF47DB-DED9-4369-A636-FACA560B34F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176052" y="202926"/>
            <a:ext cx="823814" cy="829886"/>
          </a:xfrm>
          <a:prstGeom prst="rect">
            <a:avLst/>
          </a:prstGeom>
        </p:spPr>
      </p:pic>
    </p:spTree>
    <p:extLst>
      <p:ext uri="{BB962C8B-B14F-4D97-AF65-F5344CB8AC3E}">
        <p14:creationId xmlns:p14="http://schemas.microsoft.com/office/powerpoint/2010/main" val="779253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xmlns="" id="{0018B711-465D-4BEC-B585-F4613731D02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11" name="think-cell Slide" r:id="rId5" imgW="395" imgH="396" progId="TCLayout.ActiveDocument.1">
                  <p:embed/>
                </p:oleObj>
              </mc:Choice>
              <mc:Fallback>
                <p:oleObj name="think-cell Slide" r:id="rId5" imgW="395" imgH="396" progId="TCLayout.ActiveDocument.1">
                  <p:embed/>
                  <p:pic>
                    <p:nvPicPr>
                      <p:cNvPr id="16" name="Object 15" hidden="1">
                        <a:extLst>
                          <a:ext uri="{FF2B5EF4-FFF2-40B4-BE49-F238E27FC236}">
                            <a16:creationId xmlns:a16="http://schemas.microsoft.com/office/drawing/2014/main" xmlns="" id="{0018B711-465D-4BEC-B585-F4613731D0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xmlns="" id="{3350B156-E21E-42D0-9718-5B5B4D511F73}"/>
              </a:ext>
            </a:extLst>
          </p:cNvPr>
          <p:cNvSpPr>
            <a:spLocks noGrp="1"/>
          </p:cNvSpPr>
          <p:nvPr>
            <p:ph type="title"/>
          </p:nvPr>
        </p:nvSpPr>
        <p:spPr>
          <a:xfrm>
            <a:off x="695325" y="692151"/>
            <a:ext cx="8239953" cy="692647"/>
          </a:xfrm>
        </p:spPr>
        <p:txBody>
          <a:bodyPr vert="horz"/>
          <a:lstStyle/>
          <a:p>
            <a:r>
              <a:rPr lang="en-GB"/>
              <a:t>Losses generated by </a:t>
            </a:r>
            <a:r>
              <a:rPr lang="en-GB" b="1"/>
              <a:t>Onerous insurance contracts</a:t>
            </a:r>
            <a:r>
              <a:rPr lang="en-GB"/>
              <a:t> have to be recognized upfront under IFRS17</a:t>
            </a:r>
          </a:p>
        </p:txBody>
      </p:sp>
      <p:sp>
        <p:nvSpPr>
          <p:cNvPr id="4" name="Slide Number Placeholder 3">
            <a:extLst>
              <a:ext uri="{FF2B5EF4-FFF2-40B4-BE49-F238E27FC236}">
                <a16:creationId xmlns:a16="http://schemas.microsoft.com/office/drawing/2014/main" xmlns="" id="{8705EE43-90EA-4DDB-8257-7E7563EFC40D}"/>
              </a:ext>
            </a:extLst>
          </p:cNvPr>
          <p:cNvSpPr>
            <a:spLocks noGrp="1"/>
          </p:cNvSpPr>
          <p:nvPr>
            <p:ph type="sldNum" sz="quarter" idx="12"/>
          </p:nvPr>
        </p:nvSpPr>
        <p:spPr>
          <a:xfrm>
            <a:off x="11414761" y="6472512"/>
            <a:ext cx="402885" cy="182562"/>
          </a:xfrm>
        </p:spPr>
        <p:txBody>
          <a:bodyPr/>
          <a:lstStyle/>
          <a:p>
            <a:fld id="{5E4D2043-7E31-4A53-BD33-72A88E682172}" type="slidenum">
              <a:rPr lang="en-GB" smtClean="0"/>
              <a:pPr/>
              <a:t>45</a:t>
            </a:fld>
            <a:endParaRPr lang="en-GB"/>
          </a:p>
        </p:txBody>
      </p:sp>
      <p:sp>
        <p:nvSpPr>
          <p:cNvPr id="10" name="TextBox 9">
            <a:extLst>
              <a:ext uri="{FF2B5EF4-FFF2-40B4-BE49-F238E27FC236}">
                <a16:creationId xmlns:a16="http://schemas.microsoft.com/office/drawing/2014/main" xmlns="" id="{4081FD20-7D5C-41D5-8C77-BCBFA6221441}"/>
              </a:ext>
            </a:extLst>
          </p:cNvPr>
          <p:cNvSpPr txBox="1"/>
          <p:nvPr/>
        </p:nvSpPr>
        <p:spPr>
          <a:xfrm>
            <a:off x="4367808" y="1893052"/>
            <a:ext cx="2526735" cy="276999"/>
          </a:xfrm>
          <a:prstGeom prst="rect">
            <a:avLst/>
          </a:prstGeom>
          <a:solidFill>
            <a:schemeClr val="accent6"/>
          </a:solidFill>
        </p:spPr>
        <p:txBody>
          <a:bodyPr wrap="square" rtlCol="0">
            <a:spAutoFit/>
          </a:bodyPr>
          <a:lstStyle/>
          <a:p>
            <a:pPr algn="ctr"/>
            <a:r>
              <a:rPr lang="en-GB" sz="1200">
                <a:latin typeface="SwissReSans" pitchFamily="34" charset="0"/>
              </a:rPr>
              <a:t>IFRS17</a:t>
            </a:r>
          </a:p>
        </p:txBody>
      </p:sp>
      <p:sp>
        <p:nvSpPr>
          <p:cNvPr id="26" name="TextBox 25">
            <a:extLst>
              <a:ext uri="{FF2B5EF4-FFF2-40B4-BE49-F238E27FC236}">
                <a16:creationId xmlns:a16="http://schemas.microsoft.com/office/drawing/2014/main" xmlns="" id="{3523E27A-E776-424A-8EF2-94003F726759}"/>
              </a:ext>
            </a:extLst>
          </p:cNvPr>
          <p:cNvSpPr txBox="1"/>
          <p:nvPr/>
        </p:nvSpPr>
        <p:spPr>
          <a:xfrm>
            <a:off x="739621" y="1885563"/>
            <a:ext cx="2627804" cy="276999"/>
          </a:xfrm>
          <a:prstGeom prst="rect">
            <a:avLst/>
          </a:prstGeom>
          <a:solidFill>
            <a:schemeClr val="accent6"/>
          </a:solidFill>
        </p:spPr>
        <p:txBody>
          <a:bodyPr wrap="square" rtlCol="0">
            <a:spAutoFit/>
          </a:bodyPr>
          <a:lstStyle/>
          <a:p>
            <a:pPr algn="ctr"/>
            <a:r>
              <a:rPr lang="en-GB" sz="1200" dirty="0">
                <a:latin typeface="SwissReSans" pitchFamily="34" charset="0"/>
              </a:rPr>
              <a:t>IFRS4 (current)</a:t>
            </a:r>
          </a:p>
        </p:txBody>
      </p:sp>
      <p:pic>
        <p:nvPicPr>
          <p:cNvPr id="60" name="Picture 59">
            <a:extLst>
              <a:ext uri="{FF2B5EF4-FFF2-40B4-BE49-F238E27FC236}">
                <a16:creationId xmlns:a16="http://schemas.microsoft.com/office/drawing/2014/main" xmlns="" id="{19ED1E95-9067-4D63-8DBB-50F64422F783}"/>
              </a:ext>
            </a:extLst>
          </p:cNvPr>
          <p:cNvPicPr>
            <a:picLocks noChangeAspect="1"/>
          </p:cNvPicPr>
          <p:nvPr/>
        </p:nvPicPr>
        <p:blipFill rotWithShape="1">
          <a:blip r:embed="rId7"/>
          <a:srcRect l="58777" t="26977" r="-1" b="31869"/>
          <a:stretch/>
        </p:blipFill>
        <p:spPr>
          <a:xfrm>
            <a:off x="4494802" y="5784273"/>
            <a:ext cx="1398040" cy="688239"/>
          </a:xfrm>
          <a:prstGeom prst="rect">
            <a:avLst/>
          </a:prstGeom>
        </p:spPr>
      </p:pic>
      <p:grpSp>
        <p:nvGrpSpPr>
          <p:cNvPr id="9" name="Group 8">
            <a:extLst>
              <a:ext uri="{FF2B5EF4-FFF2-40B4-BE49-F238E27FC236}">
                <a16:creationId xmlns:a16="http://schemas.microsoft.com/office/drawing/2014/main" xmlns="" id="{32133566-83B8-47AF-9943-F01A155DF14A}"/>
              </a:ext>
            </a:extLst>
          </p:cNvPr>
          <p:cNvGrpSpPr/>
          <p:nvPr/>
        </p:nvGrpSpPr>
        <p:grpSpPr>
          <a:xfrm>
            <a:off x="441545" y="2162562"/>
            <a:ext cx="6487175" cy="1568167"/>
            <a:chOff x="0" y="3973653"/>
            <a:chExt cx="6487175" cy="1568167"/>
          </a:xfrm>
        </p:grpSpPr>
        <p:sp>
          <p:nvSpPr>
            <p:cNvPr id="22" name="TextBox 21">
              <a:extLst>
                <a:ext uri="{FF2B5EF4-FFF2-40B4-BE49-F238E27FC236}">
                  <a16:creationId xmlns:a16="http://schemas.microsoft.com/office/drawing/2014/main" xmlns="" id="{278B577F-E58D-43A6-86E4-AF1A8C24E59C}"/>
                </a:ext>
              </a:extLst>
            </p:cNvPr>
            <p:cNvSpPr txBox="1"/>
            <p:nvPr/>
          </p:nvSpPr>
          <p:spPr>
            <a:xfrm rot="16200000">
              <a:off x="-226344" y="4405555"/>
              <a:ext cx="729687" cy="276999"/>
            </a:xfrm>
            <a:prstGeom prst="rect">
              <a:avLst/>
            </a:prstGeom>
            <a:noFill/>
          </p:spPr>
          <p:txBody>
            <a:bodyPr wrap="none" rtlCol="0">
              <a:spAutoFit/>
            </a:bodyPr>
            <a:lstStyle/>
            <a:p>
              <a:pPr algn="ctr"/>
              <a:r>
                <a:rPr lang="en-GB" sz="1200">
                  <a:latin typeface="SwissReSans" pitchFamily="34" charset="0"/>
                </a:rPr>
                <a:t>LR 88%</a:t>
              </a:r>
            </a:p>
          </p:txBody>
        </p:sp>
        <p:pic>
          <p:nvPicPr>
            <p:cNvPr id="41" name="Picture 40">
              <a:extLst>
                <a:ext uri="{FF2B5EF4-FFF2-40B4-BE49-F238E27FC236}">
                  <a16:creationId xmlns:a16="http://schemas.microsoft.com/office/drawing/2014/main" xmlns="" id="{9E926E99-7FBE-4A08-993E-2BB11A4B582B}"/>
                </a:ext>
              </a:extLst>
            </p:cNvPr>
            <p:cNvPicPr>
              <a:picLocks noChangeAspect="1"/>
            </p:cNvPicPr>
            <p:nvPr/>
          </p:nvPicPr>
          <p:blipFill rotWithShape="1">
            <a:blip r:embed="rId8"/>
            <a:srcRect l="12691"/>
            <a:stretch/>
          </p:blipFill>
          <p:spPr>
            <a:xfrm>
              <a:off x="334169" y="3993005"/>
              <a:ext cx="2581091" cy="1546058"/>
            </a:xfrm>
            <a:prstGeom prst="rect">
              <a:avLst/>
            </a:prstGeom>
          </p:spPr>
        </p:pic>
        <p:pic>
          <p:nvPicPr>
            <p:cNvPr id="2" name="Picture 1">
              <a:extLst>
                <a:ext uri="{FF2B5EF4-FFF2-40B4-BE49-F238E27FC236}">
                  <a16:creationId xmlns:a16="http://schemas.microsoft.com/office/drawing/2014/main" xmlns="" id="{5CA6D18E-27F6-4148-B47C-50C3DDDDE8B5}"/>
                </a:ext>
              </a:extLst>
            </p:cNvPr>
            <p:cNvPicPr>
              <a:picLocks noChangeAspect="1"/>
            </p:cNvPicPr>
            <p:nvPr/>
          </p:nvPicPr>
          <p:blipFill rotWithShape="1">
            <a:blip r:embed="rId9"/>
            <a:srcRect l="14250"/>
            <a:stretch/>
          </p:blipFill>
          <p:spPr>
            <a:xfrm>
              <a:off x="3960441" y="3973653"/>
              <a:ext cx="2526734" cy="1568167"/>
            </a:xfrm>
            <a:prstGeom prst="rect">
              <a:avLst/>
            </a:prstGeom>
          </p:spPr>
        </p:pic>
      </p:grpSp>
      <p:grpSp>
        <p:nvGrpSpPr>
          <p:cNvPr id="12" name="Group 11">
            <a:extLst>
              <a:ext uri="{FF2B5EF4-FFF2-40B4-BE49-F238E27FC236}">
                <a16:creationId xmlns:a16="http://schemas.microsoft.com/office/drawing/2014/main" xmlns="" id="{EEE73249-6F3F-43BF-A163-9C3AE6FBC968}"/>
              </a:ext>
            </a:extLst>
          </p:cNvPr>
          <p:cNvGrpSpPr/>
          <p:nvPr/>
        </p:nvGrpSpPr>
        <p:grpSpPr>
          <a:xfrm>
            <a:off x="349560" y="4099878"/>
            <a:ext cx="6544983" cy="1551652"/>
            <a:chOff x="335360" y="2170051"/>
            <a:chExt cx="6544983" cy="1551652"/>
          </a:xfrm>
        </p:grpSpPr>
        <p:sp>
          <p:nvSpPr>
            <p:cNvPr id="18" name="TextBox 17">
              <a:extLst>
                <a:ext uri="{FF2B5EF4-FFF2-40B4-BE49-F238E27FC236}">
                  <a16:creationId xmlns:a16="http://schemas.microsoft.com/office/drawing/2014/main" xmlns="" id="{F4F18192-1362-49C3-82F4-9177C0FD344B}"/>
                </a:ext>
              </a:extLst>
            </p:cNvPr>
            <p:cNvSpPr txBox="1"/>
            <p:nvPr/>
          </p:nvSpPr>
          <p:spPr>
            <a:xfrm rot="16200000">
              <a:off x="112863" y="2687777"/>
              <a:ext cx="721993" cy="276999"/>
            </a:xfrm>
            <a:prstGeom prst="rect">
              <a:avLst/>
            </a:prstGeom>
            <a:noFill/>
          </p:spPr>
          <p:txBody>
            <a:bodyPr wrap="none" rtlCol="0">
              <a:spAutoFit/>
            </a:bodyPr>
            <a:lstStyle/>
            <a:p>
              <a:r>
                <a:rPr lang="en-GB" sz="1200">
                  <a:latin typeface="SwissReSans" pitchFamily="34" charset="0"/>
                </a:rPr>
                <a:t>LR 75%</a:t>
              </a:r>
            </a:p>
          </p:txBody>
        </p:sp>
        <p:pic>
          <p:nvPicPr>
            <p:cNvPr id="46" name="Picture 45">
              <a:extLst>
                <a:ext uri="{FF2B5EF4-FFF2-40B4-BE49-F238E27FC236}">
                  <a16:creationId xmlns:a16="http://schemas.microsoft.com/office/drawing/2014/main" xmlns="" id="{BC80F063-9E36-488B-8E4E-2E65BC0AA0F5}"/>
                </a:ext>
              </a:extLst>
            </p:cNvPr>
            <p:cNvPicPr>
              <a:picLocks noChangeAspect="1"/>
            </p:cNvPicPr>
            <p:nvPr/>
          </p:nvPicPr>
          <p:blipFill rotWithShape="1">
            <a:blip r:embed="rId10"/>
            <a:srcRect l="12598"/>
            <a:stretch/>
          </p:blipFill>
          <p:spPr>
            <a:xfrm>
              <a:off x="745953" y="2171420"/>
              <a:ext cx="2581286" cy="1544530"/>
            </a:xfrm>
            <a:prstGeom prst="rect">
              <a:avLst/>
            </a:prstGeom>
          </p:spPr>
        </p:pic>
        <p:pic>
          <p:nvPicPr>
            <p:cNvPr id="7" name="Picture 6">
              <a:extLst>
                <a:ext uri="{FF2B5EF4-FFF2-40B4-BE49-F238E27FC236}">
                  <a16:creationId xmlns:a16="http://schemas.microsoft.com/office/drawing/2014/main" xmlns="" id="{CE4ED33B-DFE7-4CB1-A999-2E0F1842D613}"/>
                </a:ext>
              </a:extLst>
            </p:cNvPr>
            <p:cNvPicPr>
              <a:picLocks noChangeAspect="1"/>
            </p:cNvPicPr>
            <p:nvPr/>
          </p:nvPicPr>
          <p:blipFill rotWithShape="1">
            <a:blip r:embed="rId11"/>
            <a:srcRect l="11217"/>
            <a:stretch/>
          </p:blipFill>
          <p:spPr>
            <a:xfrm>
              <a:off x="4367808" y="2170051"/>
              <a:ext cx="2512535" cy="1551652"/>
            </a:xfrm>
            <a:prstGeom prst="rect">
              <a:avLst/>
            </a:prstGeom>
          </p:spPr>
        </p:pic>
      </p:grpSp>
      <p:sp>
        <p:nvSpPr>
          <p:cNvPr id="8" name="TextBox 7">
            <a:extLst>
              <a:ext uri="{FF2B5EF4-FFF2-40B4-BE49-F238E27FC236}">
                <a16:creationId xmlns:a16="http://schemas.microsoft.com/office/drawing/2014/main" xmlns="" id="{A45A31EE-3E37-478B-84CA-928FF7CDDD8F}"/>
              </a:ext>
            </a:extLst>
          </p:cNvPr>
          <p:cNvSpPr txBox="1"/>
          <p:nvPr/>
        </p:nvSpPr>
        <p:spPr>
          <a:xfrm>
            <a:off x="7536872" y="4348301"/>
            <a:ext cx="3509818" cy="1015663"/>
          </a:xfrm>
          <a:prstGeom prst="rect">
            <a:avLst/>
          </a:prstGeom>
          <a:noFill/>
        </p:spPr>
        <p:txBody>
          <a:bodyPr wrap="square" rtlCol="0">
            <a:spAutoFit/>
          </a:bodyPr>
          <a:lstStyle/>
          <a:p>
            <a:r>
              <a:rPr lang="en-GB" sz="1600">
                <a:solidFill>
                  <a:schemeClr val="accent3"/>
                </a:solidFill>
                <a:latin typeface="SwissReSans Light" panose="020B0504020202020204" pitchFamily="34" charset="0"/>
              </a:rPr>
              <a:t>For a </a:t>
            </a:r>
            <a:r>
              <a:rPr lang="en-GB" sz="2000" b="1">
                <a:solidFill>
                  <a:schemeClr val="accent3"/>
                </a:solidFill>
                <a:latin typeface="SwissReSans Light" panose="020B0504020202020204" pitchFamily="34" charset="0"/>
              </a:rPr>
              <a:t>profit-making business</a:t>
            </a:r>
            <a:r>
              <a:rPr lang="en-GB" sz="1600">
                <a:solidFill>
                  <a:schemeClr val="accent3"/>
                </a:solidFill>
                <a:latin typeface="SwissReSans Light" panose="020B0504020202020204" pitchFamily="34" charset="0"/>
              </a:rPr>
              <a:t>, there is </a:t>
            </a:r>
            <a:r>
              <a:rPr lang="en-GB" sz="2000" b="1">
                <a:solidFill>
                  <a:schemeClr val="accent3"/>
                </a:solidFill>
                <a:latin typeface="SwissReSans Light" panose="020B0504020202020204" pitchFamily="34" charset="0"/>
              </a:rPr>
              <a:t>not much change </a:t>
            </a:r>
            <a:r>
              <a:rPr lang="en-GB" sz="2000">
                <a:solidFill>
                  <a:schemeClr val="accent3"/>
                </a:solidFill>
                <a:latin typeface="SwissReSans Light" panose="020B0504020202020204" pitchFamily="34" charset="0"/>
              </a:rPr>
              <a:t>between IFRS17 and IFRS4</a:t>
            </a:r>
            <a:endParaRPr lang="en-GB" sz="1600">
              <a:solidFill>
                <a:schemeClr val="accent3"/>
              </a:solidFill>
              <a:latin typeface="SwissReSans Light" panose="020B0504020202020204" pitchFamily="34" charset="0"/>
            </a:endParaRPr>
          </a:p>
        </p:txBody>
      </p:sp>
      <p:sp>
        <p:nvSpPr>
          <p:cNvPr id="17" name="TextBox 16">
            <a:extLst>
              <a:ext uri="{FF2B5EF4-FFF2-40B4-BE49-F238E27FC236}">
                <a16:creationId xmlns:a16="http://schemas.microsoft.com/office/drawing/2014/main" xmlns="" id="{C44C7690-7B23-41A6-AE5A-FD0FE88347A3}"/>
              </a:ext>
            </a:extLst>
          </p:cNvPr>
          <p:cNvSpPr txBox="1"/>
          <p:nvPr/>
        </p:nvSpPr>
        <p:spPr>
          <a:xfrm>
            <a:off x="7536872" y="2315703"/>
            <a:ext cx="3629891" cy="1261884"/>
          </a:xfrm>
          <a:prstGeom prst="rect">
            <a:avLst/>
          </a:prstGeom>
          <a:noFill/>
        </p:spPr>
        <p:txBody>
          <a:bodyPr wrap="square" rtlCol="0">
            <a:spAutoFit/>
          </a:bodyPr>
          <a:lstStyle/>
          <a:p>
            <a:r>
              <a:rPr lang="en-GB" sz="1600">
                <a:solidFill>
                  <a:srgbClr val="C00000"/>
                </a:solidFill>
                <a:latin typeface="SwissReSans Light" panose="020B0504020202020204" pitchFamily="34" charset="0"/>
              </a:rPr>
              <a:t>For a </a:t>
            </a:r>
            <a:r>
              <a:rPr lang="en-GB" sz="2000" b="1">
                <a:solidFill>
                  <a:srgbClr val="C00000"/>
                </a:solidFill>
                <a:latin typeface="SwissReSans Light" panose="020B0504020202020204" pitchFamily="34" charset="0"/>
              </a:rPr>
              <a:t>loss-making business</a:t>
            </a:r>
            <a:r>
              <a:rPr lang="en-GB" sz="1600">
                <a:solidFill>
                  <a:srgbClr val="C00000"/>
                </a:solidFill>
                <a:latin typeface="SwissReSans Light" panose="020B0504020202020204" pitchFamily="34" charset="0"/>
              </a:rPr>
              <a:t>, the upfront (or a.s.a.p.) </a:t>
            </a:r>
            <a:r>
              <a:rPr lang="en-GB" sz="2000" b="1">
                <a:solidFill>
                  <a:srgbClr val="C00000"/>
                </a:solidFill>
                <a:latin typeface="SwissReSans Light" panose="020B0504020202020204" pitchFamily="34" charset="0"/>
              </a:rPr>
              <a:t>recognition of losses largely shifts </a:t>
            </a:r>
            <a:r>
              <a:rPr lang="en-GB" sz="1600">
                <a:solidFill>
                  <a:srgbClr val="C00000"/>
                </a:solidFill>
                <a:latin typeface="SwissReSans Light" panose="020B0504020202020204" pitchFamily="34" charset="0"/>
              </a:rPr>
              <a:t>the earnings pattern</a:t>
            </a:r>
          </a:p>
        </p:txBody>
      </p:sp>
      <p:pic>
        <p:nvPicPr>
          <p:cNvPr id="21" name="Picture 20">
            <a:extLst>
              <a:ext uri="{FF2B5EF4-FFF2-40B4-BE49-F238E27FC236}">
                <a16:creationId xmlns:a16="http://schemas.microsoft.com/office/drawing/2014/main" xmlns="" id="{8E17E233-18ED-4F22-9A9F-E3FD00F0B7A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238515" y="277531"/>
            <a:ext cx="755375" cy="760943"/>
          </a:xfrm>
          <a:prstGeom prst="rect">
            <a:avLst/>
          </a:prstGeom>
        </p:spPr>
      </p:pic>
    </p:spTree>
    <p:extLst>
      <p:ext uri="{BB962C8B-B14F-4D97-AF65-F5344CB8AC3E}">
        <p14:creationId xmlns:p14="http://schemas.microsoft.com/office/powerpoint/2010/main" val="1063409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8"/>
                                        </p:tgtEl>
                                      </p:cBhvr>
                                      <p:by x="150000" y="150000"/>
                                    </p:animScale>
                                  </p:childTnLst>
                                </p:cTn>
                              </p:par>
                              <p:par>
                                <p:cTn id="7" presetID="10"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animEffect transition="in" filter="fade">
                                      <p:cBhvr>
                                        <p:cTn id="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15DE33BE-F43E-4D9F-9B6F-9C4BE9282FF8}"/>
              </a:ext>
            </a:extLst>
          </p:cNvPr>
          <p:cNvSpPr>
            <a:spLocks noGrp="1"/>
          </p:cNvSpPr>
          <p:nvPr>
            <p:ph idx="1"/>
          </p:nvPr>
        </p:nvSpPr>
        <p:spPr>
          <a:xfrm>
            <a:off x="695324" y="1844799"/>
            <a:ext cx="11161315" cy="3744441"/>
          </a:xfrm>
        </p:spPr>
        <p:txBody>
          <a:bodyPr/>
          <a:lstStyle/>
          <a:p>
            <a:r>
              <a:rPr lang="en-GB" sz="1600" dirty="0"/>
              <a:t>Onerous contracts</a:t>
            </a:r>
          </a:p>
          <a:p>
            <a:pPr lvl="1">
              <a:spcBef>
                <a:spcPts val="600"/>
              </a:spcBef>
            </a:pPr>
            <a:r>
              <a:rPr lang="en-GB" sz="1400" dirty="0"/>
              <a:t>RI contracts cannot be onerous</a:t>
            </a:r>
          </a:p>
          <a:p>
            <a:pPr lvl="1">
              <a:spcBef>
                <a:spcPts val="600"/>
              </a:spcBef>
            </a:pPr>
            <a:r>
              <a:rPr lang="en-GB" sz="1400" dirty="0"/>
              <a:t>RI recoveries can be offset from onerous contracts, reducing the hit to the Net Income… but requires a match between RI cover and Insurance cover</a:t>
            </a:r>
          </a:p>
          <a:p>
            <a:r>
              <a:rPr lang="en-GB" sz="1600" dirty="0"/>
              <a:t>Admin burden of computing IFRS17 accounts: PAA vs GMM</a:t>
            </a:r>
          </a:p>
          <a:p>
            <a:pPr lvl="1">
              <a:spcBef>
                <a:spcPts val="600"/>
              </a:spcBef>
            </a:pPr>
            <a:r>
              <a:rPr lang="en-GB" sz="1400" dirty="0"/>
              <a:t>If the insurer can demonstrate that there would be no material difference in the accounts using PAA (or RI contract held are equal to or less that 1 year duration), it can use PAA (“similar to UPR used currently”)</a:t>
            </a:r>
          </a:p>
          <a:p>
            <a:pPr lvl="1">
              <a:spcBef>
                <a:spcPts val="600"/>
              </a:spcBef>
            </a:pPr>
            <a:r>
              <a:rPr lang="en-GB" sz="1400" dirty="0"/>
              <a:t>Otherwise GMM must be used</a:t>
            </a:r>
          </a:p>
        </p:txBody>
      </p:sp>
      <p:sp>
        <p:nvSpPr>
          <p:cNvPr id="3" name="Title 2">
            <a:extLst>
              <a:ext uri="{FF2B5EF4-FFF2-40B4-BE49-F238E27FC236}">
                <a16:creationId xmlns:a16="http://schemas.microsoft.com/office/drawing/2014/main" xmlns="" id="{1117ADD3-0BA3-47F2-B7A5-891A4B7923E4}"/>
              </a:ext>
            </a:extLst>
          </p:cNvPr>
          <p:cNvSpPr>
            <a:spLocks noGrp="1"/>
          </p:cNvSpPr>
          <p:nvPr>
            <p:ph type="title"/>
          </p:nvPr>
        </p:nvSpPr>
        <p:spPr/>
        <p:txBody>
          <a:bodyPr/>
          <a:lstStyle/>
          <a:p>
            <a:r>
              <a:rPr lang="en-GB"/>
              <a:t>Reinsurance is represented independently from the insurance performance</a:t>
            </a:r>
            <a:br>
              <a:rPr lang="en-GB"/>
            </a:br>
            <a:r>
              <a:rPr lang="en-GB"/>
              <a:t>What are the implications? </a:t>
            </a:r>
          </a:p>
        </p:txBody>
      </p:sp>
      <p:sp>
        <p:nvSpPr>
          <p:cNvPr id="4" name="Slide Number Placeholder 3">
            <a:extLst>
              <a:ext uri="{FF2B5EF4-FFF2-40B4-BE49-F238E27FC236}">
                <a16:creationId xmlns:a16="http://schemas.microsoft.com/office/drawing/2014/main" xmlns="" id="{13100BFA-F38B-49A6-BE8C-70C25C527B2A}"/>
              </a:ext>
            </a:extLst>
          </p:cNvPr>
          <p:cNvSpPr>
            <a:spLocks noGrp="1"/>
          </p:cNvSpPr>
          <p:nvPr>
            <p:ph type="sldNum" sz="quarter" idx="12"/>
          </p:nvPr>
        </p:nvSpPr>
        <p:spPr/>
        <p:txBody>
          <a:bodyPr/>
          <a:lstStyle/>
          <a:p>
            <a:fld id="{5E4D2043-7E31-4A53-BD33-72A88E682172}" type="slidenum">
              <a:rPr lang="en-GB" smtClean="0"/>
              <a:pPr/>
              <a:t>46</a:t>
            </a:fld>
            <a:endParaRPr lang="en-GB"/>
          </a:p>
        </p:txBody>
      </p:sp>
      <p:sp>
        <p:nvSpPr>
          <p:cNvPr id="22" name="Rectangle 21">
            <a:extLst>
              <a:ext uri="{FF2B5EF4-FFF2-40B4-BE49-F238E27FC236}">
                <a16:creationId xmlns:a16="http://schemas.microsoft.com/office/drawing/2014/main" xmlns="" id="{2A71745F-190D-4BC7-8E41-0E54E1FFA4BA}"/>
              </a:ext>
            </a:extLst>
          </p:cNvPr>
          <p:cNvSpPr/>
          <p:nvPr/>
        </p:nvSpPr>
        <p:spPr>
          <a:xfrm>
            <a:off x="551384" y="5810982"/>
            <a:ext cx="6096000" cy="461665"/>
          </a:xfrm>
          <a:prstGeom prst="rect">
            <a:avLst/>
          </a:prstGeom>
        </p:spPr>
        <p:txBody>
          <a:bodyPr>
            <a:spAutoFit/>
          </a:bodyPr>
          <a:lstStyle/>
          <a:p>
            <a:r>
              <a:rPr lang="en-GB" sz="1200" i="1">
                <a:latin typeface="SwissReSans" pitchFamily="34" charset="0"/>
              </a:rPr>
              <a:t>PAA: Premium Allocation Approach</a:t>
            </a:r>
          </a:p>
          <a:p>
            <a:r>
              <a:rPr lang="en-GB" sz="1200" i="1">
                <a:latin typeface="SwissReSans" pitchFamily="34" charset="0"/>
              </a:rPr>
              <a:t>GMM: General Measurement Model</a:t>
            </a:r>
          </a:p>
        </p:txBody>
      </p:sp>
      <p:pic>
        <p:nvPicPr>
          <p:cNvPr id="12" name="Picture 11">
            <a:extLst>
              <a:ext uri="{FF2B5EF4-FFF2-40B4-BE49-F238E27FC236}">
                <a16:creationId xmlns:a16="http://schemas.microsoft.com/office/drawing/2014/main" xmlns="" id="{A5CD050E-3888-491E-AFF4-5D0583367FC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34572427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E464160A-9DCD-4F75-94D2-EB95990332D0}"/>
              </a:ext>
            </a:extLst>
          </p:cNvPr>
          <p:cNvSpPr>
            <a:spLocks noGrp="1"/>
          </p:cNvSpPr>
          <p:nvPr>
            <p:ph idx="1"/>
          </p:nvPr>
        </p:nvSpPr>
        <p:spPr>
          <a:xfrm>
            <a:off x="695671" y="1417713"/>
            <a:ext cx="11358798" cy="1906161"/>
          </a:xfrm>
          <a:solidFill>
            <a:schemeClr val="accent4">
              <a:lumMod val="20000"/>
              <a:lumOff val="80000"/>
            </a:schemeClr>
          </a:solidFill>
        </p:spPr>
        <p:txBody>
          <a:bodyPr lIns="36000" rIns="36000"/>
          <a:lstStyle/>
          <a:p>
            <a:pPr marL="0" indent="0">
              <a:buNone/>
            </a:pPr>
            <a:r>
              <a:rPr lang="en-US"/>
              <a:t>Visibility in accounts</a:t>
            </a:r>
          </a:p>
          <a:p>
            <a:pPr marL="0" indent="0">
              <a:spcBef>
                <a:spcPts val="600"/>
              </a:spcBef>
              <a:buNone/>
            </a:pPr>
            <a:r>
              <a:rPr lang="en-US" sz="1400">
                <a:solidFill>
                  <a:schemeClr val="tx2"/>
                </a:solidFill>
              </a:rPr>
              <a:t>Income statement</a:t>
            </a:r>
          </a:p>
          <a:p>
            <a:pPr marL="0" indent="0">
              <a:spcBef>
                <a:spcPts val="600"/>
              </a:spcBef>
              <a:buNone/>
            </a:pPr>
            <a:endParaRPr lang="en-US" sz="1400">
              <a:solidFill>
                <a:schemeClr val="tx2"/>
              </a:solidFill>
            </a:endParaRPr>
          </a:p>
        </p:txBody>
      </p:sp>
      <p:sp>
        <p:nvSpPr>
          <p:cNvPr id="4" name="Title 3">
            <a:extLst>
              <a:ext uri="{FF2B5EF4-FFF2-40B4-BE49-F238E27FC236}">
                <a16:creationId xmlns:a16="http://schemas.microsoft.com/office/drawing/2014/main" xmlns="" id="{6BDB11FB-BE96-4E09-82BD-EC14838D721D}"/>
              </a:ext>
            </a:extLst>
          </p:cNvPr>
          <p:cNvSpPr>
            <a:spLocks noGrp="1"/>
          </p:cNvSpPr>
          <p:nvPr>
            <p:ph type="title"/>
          </p:nvPr>
        </p:nvSpPr>
        <p:spPr/>
        <p:txBody>
          <a:bodyPr/>
          <a:lstStyle/>
          <a:p>
            <a:r>
              <a:rPr lang="en-GB" dirty="0"/>
              <a:t>Proportional reinsurance: mind the commission</a:t>
            </a:r>
          </a:p>
        </p:txBody>
      </p:sp>
      <p:sp>
        <p:nvSpPr>
          <p:cNvPr id="3" name="Slide Number Placeholder 2">
            <a:extLst>
              <a:ext uri="{FF2B5EF4-FFF2-40B4-BE49-F238E27FC236}">
                <a16:creationId xmlns:a16="http://schemas.microsoft.com/office/drawing/2014/main" xmlns="" id="{36DA5AE5-5FCB-4FDF-A1A4-FAE69A4D3A46}"/>
              </a:ext>
            </a:extLst>
          </p:cNvPr>
          <p:cNvSpPr>
            <a:spLocks noGrp="1"/>
          </p:cNvSpPr>
          <p:nvPr>
            <p:ph type="sldNum" sz="quarter" idx="12"/>
          </p:nvPr>
        </p:nvSpPr>
        <p:spPr/>
        <p:txBody>
          <a:bodyPr/>
          <a:lstStyle/>
          <a:p>
            <a:fld id="{5E4D2043-7E31-4A53-BD33-72A88E682172}" type="slidenum">
              <a:rPr lang="en-GB" smtClean="0"/>
              <a:pPr/>
              <a:t>47</a:t>
            </a:fld>
            <a:endParaRPr lang="en-GB"/>
          </a:p>
        </p:txBody>
      </p:sp>
      <p:pic>
        <p:nvPicPr>
          <p:cNvPr id="5" name="Picture 4">
            <a:extLst>
              <a:ext uri="{FF2B5EF4-FFF2-40B4-BE49-F238E27FC236}">
                <a16:creationId xmlns:a16="http://schemas.microsoft.com/office/drawing/2014/main" xmlns="" id="{41894C0B-1C8D-4827-A0AE-81D3F4313147}"/>
              </a:ext>
            </a:extLst>
          </p:cNvPr>
          <p:cNvPicPr>
            <a:picLocks noChangeAspect="1"/>
          </p:cNvPicPr>
          <p:nvPr/>
        </p:nvPicPr>
        <p:blipFill rotWithShape="1">
          <a:blip r:embed="rId3"/>
          <a:srcRect t="24990" b="63335"/>
          <a:stretch/>
        </p:blipFill>
        <p:spPr>
          <a:xfrm>
            <a:off x="685800" y="1984528"/>
            <a:ext cx="6048101" cy="654481"/>
          </a:xfrm>
          <a:prstGeom prst="rect">
            <a:avLst/>
          </a:prstGeom>
        </p:spPr>
      </p:pic>
      <p:sp>
        <p:nvSpPr>
          <p:cNvPr id="7" name="Rectangle 6">
            <a:extLst>
              <a:ext uri="{FF2B5EF4-FFF2-40B4-BE49-F238E27FC236}">
                <a16:creationId xmlns:a16="http://schemas.microsoft.com/office/drawing/2014/main" xmlns="" id="{3FFE4F53-0FCA-4B07-AAD1-21BA867096A4}"/>
              </a:ext>
            </a:extLst>
          </p:cNvPr>
          <p:cNvSpPr/>
          <p:nvPr/>
        </p:nvSpPr>
        <p:spPr>
          <a:xfrm>
            <a:off x="7274315" y="1933137"/>
            <a:ext cx="4427455" cy="523220"/>
          </a:xfrm>
          <a:prstGeom prst="rect">
            <a:avLst/>
          </a:prstGeom>
        </p:spPr>
        <p:txBody>
          <a:bodyPr wrap="square">
            <a:spAutoFit/>
          </a:bodyPr>
          <a:lstStyle/>
          <a:p>
            <a:r>
              <a:rPr lang="en-US" sz="1400" b="1">
                <a:solidFill>
                  <a:schemeClr val="tx2"/>
                </a:solidFill>
                <a:latin typeface="+mj-lt"/>
              </a:rPr>
              <a:t>3 lines representation : large amounts </a:t>
            </a:r>
            <a:r>
              <a:rPr lang="en-US" sz="1400">
                <a:latin typeface="+mj-lt"/>
              </a:rPr>
              <a:t>if proportional cession is significant versus the size of your book</a:t>
            </a:r>
            <a:endParaRPr lang="en-GB" sz="1400">
              <a:latin typeface="+mj-lt"/>
            </a:endParaRPr>
          </a:p>
        </p:txBody>
      </p:sp>
      <p:sp>
        <p:nvSpPr>
          <p:cNvPr id="8" name="Rectangle 7">
            <a:extLst>
              <a:ext uri="{FF2B5EF4-FFF2-40B4-BE49-F238E27FC236}">
                <a16:creationId xmlns:a16="http://schemas.microsoft.com/office/drawing/2014/main" xmlns="" id="{1EEDE44B-E873-4435-B8CC-473667E58D10}"/>
              </a:ext>
            </a:extLst>
          </p:cNvPr>
          <p:cNvSpPr/>
          <p:nvPr/>
        </p:nvSpPr>
        <p:spPr>
          <a:xfrm>
            <a:off x="7264715" y="2392558"/>
            <a:ext cx="4873065" cy="307777"/>
          </a:xfrm>
          <a:prstGeom prst="rect">
            <a:avLst/>
          </a:prstGeom>
        </p:spPr>
        <p:txBody>
          <a:bodyPr wrap="none">
            <a:spAutoFit/>
          </a:bodyPr>
          <a:lstStyle/>
          <a:p>
            <a:r>
              <a:rPr lang="en-US" sz="1400" b="1">
                <a:solidFill>
                  <a:schemeClr val="tx2"/>
                </a:solidFill>
                <a:latin typeface="+mj-lt"/>
              </a:rPr>
              <a:t>1 line</a:t>
            </a:r>
            <a:r>
              <a:rPr lang="en-US" sz="1400">
                <a:latin typeface="+mj-lt"/>
              </a:rPr>
              <a:t>: only shows ceded margin, thus </a:t>
            </a:r>
            <a:r>
              <a:rPr lang="en-US" sz="1400" b="1">
                <a:solidFill>
                  <a:schemeClr val="tx2"/>
                </a:solidFill>
                <a:latin typeface="+mj-lt"/>
              </a:rPr>
              <a:t>much smaller amount </a:t>
            </a:r>
            <a:endParaRPr lang="en-GB" sz="1400" b="1">
              <a:solidFill>
                <a:schemeClr val="tx2"/>
              </a:solidFill>
              <a:latin typeface="+mj-lt"/>
            </a:endParaRPr>
          </a:p>
        </p:txBody>
      </p:sp>
      <p:sp>
        <p:nvSpPr>
          <p:cNvPr id="9" name="Rectangle 8">
            <a:extLst>
              <a:ext uri="{FF2B5EF4-FFF2-40B4-BE49-F238E27FC236}">
                <a16:creationId xmlns:a16="http://schemas.microsoft.com/office/drawing/2014/main" xmlns="" id="{74F392A1-BC7F-49D7-9AC5-9DDA966E47EF}"/>
              </a:ext>
            </a:extLst>
          </p:cNvPr>
          <p:cNvSpPr/>
          <p:nvPr/>
        </p:nvSpPr>
        <p:spPr>
          <a:xfrm>
            <a:off x="695325" y="2745308"/>
            <a:ext cx="11191875" cy="523220"/>
          </a:xfrm>
          <a:prstGeom prst="rect">
            <a:avLst/>
          </a:prstGeom>
        </p:spPr>
        <p:txBody>
          <a:bodyPr wrap="square">
            <a:spAutoFit/>
          </a:bodyPr>
          <a:lstStyle/>
          <a:p>
            <a:pPr lvl="0"/>
            <a:r>
              <a:rPr lang="en-US" sz="1400" b="1">
                <a:solidFill>
                  <a:schemeClr val="tx2"/>
                </a:solidFill>
                <a:latin typeface="+mj-lt"/>
              </a:rPr>
              <a:t>Reinsurance Commission </a:t>
            </a:r>
            <a:r>
              <a:rPr lang="en-US" sz="1400">
                <a:latin typeface="+mj-lt"/>
              </a:rPr>
              <a:t>(RI Comm): fixed &amp; provisional deducted from premium paid to reinsurer, adjustment to sliding scale is added to amounts recovered from reinsurer</a:t>
            </a:r>
          </a:p>
        </p:txBody>
      </p:sp>
      <p:sp>
        <p:nvSpPr>
          <p:cNvPr id="10" name="Content Placeholder 1">
            <a:extLst>
              <a:ext uri="{FF2B5EF4-FFF2-40B4-BE49-F238E27FC236}">
                <a16:creationId xmlns:a16="http://schemas.microsoft.com/office/drawing/2014/main" xmlns="" id="{5FEABB36-1AAC-45F8-97A7-5C653391EAF8}"/>
              </a:ext>
            </a:extLst>
          </p:cNvPr>
          <p:cNvSpPr txBox="1">
            <a:spLocks/>
          </p:cNvSpPr>
          <p:nvPr/>
        </p:nvSpPr>
        <p:spPr bwMode="black">
          <a:xfrm>
            <a:off x="684520" y="3462453"/>
            <a:ext cx="7341880" cy="2815685"/>
          </a:xfrm>
          <a:prstGeom prst="rect">
            <a:avLst/>
          </a:prstGeom>
          <a:solidFill>
            <a:schemeClr val="accent4"/>
          </a:solidFill>
        </p:spPr>
        <p:txBody>
          <a:bodyPr vert="horz" lIns="36000" tIns="0" rIns="3600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bg1"/>
                </a:solidFill>
              </a:rPr>
              <a:t>Impact on KPI (bottom line &amp; key ratios)</a:t>
            </a:r>
          </a:p>
          <a:p>
            <a:pPr>
              <a:spcBef>
                <a:spcPts val="600"/>
              </a:spcBef>
            </a:pPr>
            <a:r>
              <a:rPr lang="en-US" sz="1400">
                <a:solidFill>
                  <a:schemeClr val="bg1"/>
                </a:solidFill>
                <a:latin typeface="SwissReSans Light" panose="020B0504020202020204" pitchFamily="34" charset="0"/>
              </a:rPr>
              <a:t>Bottom line: similar impact as IFRS4 except discounting, thus minor change</a:t>
            </a:r>
          </a:p>
          <a:p>
            <a:pPr>
              <a:spcBef>
                <a:spcPts val="600"/>
              </a:spcBef>
            </a:pPr>
            <a:r>
              <a:rPr lang="en-US" sz="1400">
                <a:solidFill>
                  <a:schemeClr val="bg1"/>
                </a:solidFill>
                <a:latin typeface="SwissReSans Light" panose="020B0504020202020204" pitchFamily="34" charset="0"/>
              </a:rPr>
              <a:t>UW result: overall similar: minor change but split between "expected from new business written" and "adjustments for past business" ⇒ evolution of book quality becomes transparent</a:t>
            </a:r>
          </a:p>
          <a:p>
            <a:pPr>
              <a:spcBef>
                <a:spcPts val="600"/>
              </a:spcBef>
            </a:pPr>
            <a:r>
              <a:rPr lang="en-US" sz="1400">
                <a:solidFill>
                  <a:schemeClr val="bg1"/>
                </a:solidFill>
                <a:latin typeface="SwissReSans Light" panose="020B0504020202020204" pitchFamily="34" charset="0"/>
              </a:rPr>
              <a:t>New ratios vs old ones:</a:t>
            </a:r>
          </a:p>
        </p:txBody>
      </p:sp>
      <p:sp>
        <p:nvSpPr>
          <p:cNvPr id="11" name="Content Placeholder 1">
            <a:extLst>
              <a:ext uri="{FF2B5EF4-FFF2-40B4-BE49-F238E27FC236}">
                <a16:creationId xmlns:a16="http://schemas.microsoft.com/office/drawing/2014/main" xmlns="" id="{449A6F5B-D094-405A-8AA8-0D850E7F860C}"/>
              </a:ext>
            </a:extLst>
          </p:cNvPr>
          <p:cNvSpPr txBox="1">
            <a:spLocks/>
          </p:cNvSpPr>
          <p:nvPr/>
        </p:nvSpPr>
        <p:spPr bwMode="black">
          <a:xfrm>
            <a:off x="8139289" y="3462453"/>
            <a:ext cx="3915180" cy="2815684"/>
          </a:xfrm>
          <a:prstGeom prst="rect">
            <a:avLst/>
          </a:prstGeom>
          <a:solidFill>
            <a:schemeClr val="tx2"/>
          </a:solidFill>
        </p:spPr>
        <p:txBody>
          <a:bodyPr vert="horz" lIns="36000" tIns="0" rIns="3600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bg1"/>
                </a:solidFill>
              </a:rPr>
              <a:t>Points of attention</a:t>
            </a:r>
          </a:p>
          <a:p>
            <a:r>
              <a:rPr lang="en-GB" sz="1400" b="1">
                <a:solidFill>
                  <a:schemeClr val="bg1"/>
                </a:solidFill>
                <a:latin typeface="SwissReSans Light" panose="020B0504020202020204" pitchFamily="34" charset="0"/>
              </a:rPr>
              <a:t>Accounting simplicity versus risk exposure</a:t>
            </a:r>
            <a:r>
              <a:rPr lang="en-GB" sz="1400">
                <a:solidFill>
                  <a:schemeClr val="bg1"/>
                </a:solidFill>
                <a:latin typeface="SwissReSans Light" panose="020B0504020202020204" pitchFamily="34" charset="0"/>
              </a:rPr>
              <a:t>: Aiming for automatic PAA eligibility may create mismatch in your  protection</a:t>
            </a:r>
          </a:p>
          <a:p>
            <a:r>
              <a:rPr lang="en-GB" sz="1400" b="1">
                <a:solidFill>
                  <a:schemeClr val="bg1"/>
                </a:solidFill>
                <a:latin typeface="SwissReSans Light" panose="020B0504020202020204" pitchFamily="34" charset="0"/>
              </a:rPr>
              <a:t>Reinsurance benefit </a:t>
            </a:r>
            <a:r>
              <a:rPr lang="en-GB" sz="1400">
                <a:solidFill>
                  <a:schemeClr val="bg1"/>
                </a:solidFill>
                <a:latin typeface="SwissReSans Light" panose="020B0504020202020204" pitchFamily="34" charset="0"/>
              </a:rPr>
              <a:t>can be fully recognized upfront for new business in case that business is </a:t>
            </a:r>
            <a:r>
              <a:rPr lang="en-GB" sz="1400" b="1">
                <a:solidFill>
                  <a:schemeClr val="bg1"/>
                </a:solidFill>
                <a:latin typeface="SwissReSans Light" panose="020B0504020202020204" pitchFamily="34" charset="0"/>
              </a:rPr>
              <a:t>onerous </a:t>
            </a:r>
            <a:endParaRPr lang="en-US" sz="1400" b="1">
              <a:solidFill>
                <a:schemeClr val="bg1"/>
              </a:solidFill>
              <a:latin typeface="SwissReSans Light" panose="020B0504020202020204" pitchFamily="34" charset="0"/>
            </a:endParaRPr>
          </a:p>
          <a:p>
            <a:r>
              <a:rPr lang="en-GB" sz="1400" b="1">
                <a:solidFill>
                  <a:schemeClr val="bg1"/>
                </a:solidFill>
                <a:latin typeface="SwissReSans Light" panose="020B0504020202020204" pitchFamily="34" charset="0"/>
              </a:rPr>
              <a:t>RI comm</a:t>
            </a:r>
            <a:r>
              <a:rPr lang="en-GB" sz="1400">
                <a:solidFill>
                  <a:schemeClr val="bg1"/>
                </a:solidFill>
                <a:latin typeface="SwissReSans Light" panose="020B0504020202020204" pitchFamily="34" charset="0"/>
              </a:rPr>
              <a:t>: </a:t>
            </a:r>
            <a:r>
              <a:rPr lang="en-GB" sz="1400" b="1">
                <a:solidFill>
                  <a:schemeClr val="bg1"/>
                </a:solidFill>
                <a:latin typeface="SwissReSans Light" panose="020B0504020202020204" pitchFamily="34" charset="0"/>
              </a:rPr>
              <a:t>Fixed or variable</a:t>
            </a:r>
            <a:endParaRPr lang="en-GB" sz="1400">
              <a:solidFill>
                <a:schemeClr val="bg1"/>
              </a:solidFill>
              <a:latin typeface="SwissReSans Light" panose="020B0504020202020204" pitchFamily="34" charset="0"/>
            </a:endParaRPr>
          </a:p>
          <a:p>
            <a:r>
              <a:rPr lang="en-GB" sz="1400">
                <a:solidFill>
                  <a:schemeClr val="bg1"/>
                </a:solidFill>
                <a:latin typeface="SwissReSans Light" panose="020B0504020202020204" pitchFamily="34" charset="0"/>
              </a:rPr>
              <a:t>Accounts level detail: </a:t>
            </a:r>
            <a:r>
              <a:rPr lang="en-GB" sz="1400" b="1">
                <a:solidFill>
                  <a:schemeClr val="bg1"/>
                </a:solidFill>
                <a:latin typeface="SwissReSans Light" panose="020B0504020202020204" pitchFamily="34" charset="0"/>
              </a:rPr>
              <a:t>1 or 2 lines</a:t>
            </a:r>
            <a:endParaRPr lang="en-GB" sz="1400">
              <a:solidFill>
                <a:schemeClr val="bg1"/>
              </a:solidFill>
              <a:latin typeface="SwissReSans Light" panose="020B0504020202020204" pitchFamily="34" charset="0"/>
            </a:endParaRPr>
          </a:p>
        </p:txBody>
      </p:sp>
      <p:graphicFrame>
        <p:nvGraphicFramePr>
          <p:cNvPr id="12" name="Table 12">
            <a:extLst>
              <a:ext uri="{FF2B5EF4-FFF2-40B4-BE49-F238E27FC236}">
                <a16:creationId xmlns:a16="http://schemas.microsoft.com/office/drawing/2014/main" xmlns="" id="{019AFE62-74F1-4101-B3CA-6978A95DF505}"/>
              </a:ext>
            </a:extLst>
          </p:cNvPr>
          <p:cNvGraphicFramePr>
            <a:graphicFrameLocks noGrp="1"/>
          </p:cNvGraphicFramePr>
          <p:nvPr/>
        </p:nvGraphicFramePr>
        <p:xfrm>
          <a:off x="2262293" y="4919694"/>
          <a:ext cx="4233334" cy="1280020"/>
        </p:xfrm>
        <a:graphic>
          <a:graphicData uri="http://schemas.openxmlformats.org/drawingml/2006/table">
            <a:tbl>
              <a:tblPr firstRow="1" bandRow="1">
                <a:tableStyleId>{5940675A-B579-460E-94D1-54222C63F5DA}</a:tableStyleId>
              </a:tblPr>
              <a:tblGrid>
                <a:gridCol w="1952978">
                  <a:extLst>
                    <a:ext uri="{9D8B030D-6E8A-4147-A177-3AD203B41FA5}">
                      <a16:colId xmlns:a16="http://schemas.microsoft.com/office/drawing/2014/main" xmlns="" val="727865988"/>
                    </a:ext>
                  </a:extLst>
                </a:gridCol>
                <a:gridCol w="2280356">
                  <a:extLst>
                    <a:ext uri="{9D8B030D-6E8A-4147-A177-3AD203B41FA5}">
                      <a16:colId xmlns:a16="http://schemas.microsoft.com/office/drawing/2014/main" xmlns="" val="3305140919"/>
                    </a:ext>
                  </a:extLst>
                </a:gridCol>
              </a:tblGrid>
              <a:tr h="383743">
                <a:tc>
                  <a:txBody>
                    <a:bodyPr/>
                    <a:lstStyle/>
                    <a:p>
                      <a:pPr algn="ctr"/>
                      <a:r>
                        <a:rPr lang="en-GB" sz="1400">
                          <a:solidFill>
                            <a:schemeClr val="bg1"/>
                          </a:solidFill>
                        </a:rPr>
                        <a:t>ROE</a:t>
                      </a:r>
                    </a:p>
                  </a:txBody>
                  <a:tcPr marL="36000"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GB" sz="1400">
                          <a:solidFill>
                            <a:schemeClr val="bg1"/>
                          </a:solidFill>
                        </a:rPr>
                        <a:t>Combined Ratio</a:t>
                      </a:r>
                    </a:p>
                  </a:txBody>
                  <a:tcPr marL="36000"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654888582"/>
                  </a:ext>
                </a:extLst>
              </a:tr>
              <a:tr h="512534">
                <a:tc>
                  <a:txBody>
                    <a:bodyPr/>
                    <a:lstStyle/>
                    <a:p>
                      <a:pPr algn="ctr"/>
                      <a:r>
                        <a:rPr lang="en-GB" sz="1200" u="sng">
                          <a:solidFill>
                            <a:schemeClr val="bg1"/>
                          </a:solidFill>
                        </a:rPr>
                        <a:t>Net income</a:t>
                      </a:r>
                    </a:p>
                    <a:p>
                      <a:pPr algn="ctr"/>
                      <a:r>
                        <a:rPr lang="en-GB" sz="1200">
                          <a:solidFill>
                            <a:schemeClr val="bg1"/>
                          </a:solidFill>
                        </a:rPr>
                        <a:t>Equity</a:t>
                      </a:r>
                    </a:p>
                  </a:txBody>
                  <a:tcPr marL="36000"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spcAft>
                          <a:spcPts val="300"/>
                        </a:spcAft>
                      </a:pPr>
                      <a:r>
                        <a:rPr lang="en-GB" sz="1200" b="0" u="sng" kern="1200">
                          <a:solidFill>
                            <a:schemeClr val="bg1"/>
                          </a:solidFill>
                          <a:latin typeface="+mn-lt"/>
                          <a:ea typeface="+mn-ea"/>
                          <a:cs typeface="+mn-cs"/>
                        </a:rPr>
                        <a:t>Ins. service expense* </a:t>
                      </a:r>
                      <a:r>
                        <a:rPr lang="en-GB" sz="1200" b="0" u="sng" kern="1200">
                          <a:solidFill>
                            <a:schemeClr val="bg1"/>
                          </a:solidFill>
                          <a:latin typeface="+mj-lt"/>
                          <a:ea typeface="+mn-ea"/>
                          <a:cs typeface="+mn-cs"/>
                        </a:rPr>
                        <a:t>(ISE)</a:t>
                      </a:r>
                    </a:p>
                    <a:p>
                      <a:pPr algn="ctr">
                        <a:spcAft>
                          <a:spcPts val="300"/>
                        </a:spcAft>
                      </a:pPr>
                      <a:r>
                        <a:rPr lang="en-GB" sz="1200" b="0" kern="1200">
                          <a:solidFill>
                            <a:schemeClr val="bg1"/>
                          </a:solidFill>
                          <a:latin typeface="+mn-lt"/>
                          <a:ea typeface="+mn-ea"/>
                          <a:cs typeface="+mn-cs"/>
                        </a:rPr>
                        <a:t>Ins. revenue*</a:t>
                      </a:r>
                    </a:p>
                  </a:txBody>
                  <a:tcPr marL="0" marR="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1703465359"/>
                  </a:ext>
                </a:extLst>
              </a:tr>
              <a:tr h="383743">
                <a:tc>
                  <a:txBody>
                    <a:bodyPr/>
                    <a:lstStyle/>
                    <a:p>
                      <a:pPr algn="ctr"/>
                      <a:r>
                        <a:rPr lang="en-GB" sz="1800">
                          <a:solidFill>
                            <a:schemeClr val="bg1"/>
                          </a:solidFill>
                        </a:rPr>
                        <a:t>=</a:t>
                      </a:r>
                    </a:p>
                  </a:txBody>
                  <a:tcPr marL="36000"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endParaRPr lang="en-GB" sz="1800">
                        <a:solidFill>
                          <a:schemeClr val="bg1"/>
                        </a:solidFill>
                      </a:endParaRPr>
                    </a:p>
                  </a:txBody>
                  <a:tcPr marL="36000" marR="36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xmlns="" val="3887273726"/>
                  </a:ext>
                </a:extLst>
              </a:tr>
            </a:tbl>
          </a:graphicData>
        </a:graphic>
      </p:graphicFrame>
      <p:pic>
        <p:nvPicPr>
          <p:cNvPr id="16" name="Graphic 15" descr="Warning">
            <a:extLst>
              <a:ext uri="{FF2B5EF4-FFF2-40B4-BE49-F238E27FC236}">
                <a16:creationId xmlns:a16="http://schemas.microsoft.com/office/drawing/2014/main" xmlns="" id="{68E2EC15-3361-4180-972E-669A370CE79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072319" y="5808432"/>
            <a:ext cx="391282" cy="391282"/>
          </a:xfrm>
          <a:prstGeom prst="rect">
            <a:avLst/>
          </a:prstGeom>
        </p:spPr>
      </p:pic>
      <p:sp>
        <p:nvSpPr>
          <p:cNvPr id="6" name="TextBox 5">
            <a:extLst>
              <a:ext uri="{FF2B5EF4-FFF2-40B4-BE49-F238E27FC236}">
                <a16:creationId xmlns:a16="http://schemas.microsoft.com/office/drawing/2014/main" xmlns="" id="{F2DB8A22-2917-4B97-8828-EC9A4D098994}"/>
              </a:ext>
            </a:extLst>
          </p:cNvPr>
          <p:cNvSpPr txBox="1"/>
          <p:nvPr/>
        </p:nvSpPr>
        <p:spPr>
          <a:xfrm>
            <a:off x="2042160" y="6386511"/>
            <a:ext cx="1747530" cy="307777"/>
          </a:xfrm>
          <a:prstGeom prst="rect">
            <a:avLst/>
          </a:prstGeom>
          <a:noFill/>
        </p:spPr>
        <p:txBody>
          <a:bodyPr wrap="none" rtlCol="0">
            <a:spAutoFit/>
          </a:bodyPr>
          <a:lstStyle/>
          <a:p>
            <a:r>
              <a:rPr lang="en-GB" sz="1400">
                <a:latin typeface="SwissReSans" pitchFamily="34" charset="0"/>
              </a:rPr>
              <a:t>*Net of reinsurance</a:t>
            </a:r>
          </a:p>
        </p:txBody>
      </p:sp>
      <p:sp>
        <p:nvSpPr>
          <p:cNvPr id="13" name="Right Brace 12">
            <a:extLst>
              <a:ext uri="{FF2B5EF4-FFF2-40B4-BE49-F238E27FC236}">
                <a16:creationId xmlns:a16="http://schemas.microsoft.com/office/drawing/2014/main" xmlns="" id="{46DA2BC9-2936-4D87-B364-55BFD7B0B244}"/>
              </a:ext>
            </a:extLst>
          </p:cNvPr>
          <p:cNvSpPr/>
          <p:nvPr/>
        </p:nvSpPr>
        <p:spPr>
          <a:xfrm>
            <a:off x="6827758" y="1984528"/>
            <a:ext cx="187715" cy="641256"/>
          </a:xfrm>
          <a:prstGeom prst="rightBrace">
            <a:avLst>
              <a:gd name="adj1" fmla="val 8333"/>
              <a:gd name="adj2" fmla="val 2515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7" name="Straight Arrow Connector 16">
            <a:extLst>
              <a:ext uri="{FF2B5EF4-FFF2-40B4-BE49-F238E27FC236}">
                <a16:creationId xmlns:a16="http://schemas.microsoft.com/office/drawing/2014/main" xmlns="" id="{363B94E4-AB36-4129-860E-2F69988733AE}"/>
              </a:ext>
            </a:extLst>
          </p:cNvPr>
          <p:cNvCxnSpPr/>
          <p:nvPr/>
        </p:nvCxnSpPr>
        <p:spPr>
          <a:xfrm>
            <a:off x="6866004" y="2546446"/>
            <a:ext cx="29893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xmlns="" id="{622081AF-0836-483E-B9B3-45E41BB55BD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51095" y="194270"/>
            <a:ext cx="755375" cy="760943"/>
          </a:xfrm>
          <a:prstGeom prst="rect">
            <a:avLst/>
          </a:prstGeom>
        </p:spPr>
      </p:pic>
    </p:spTree>
    <p:extLst>
      <p:ext uri="{BB962C8B-B14F-4D97-AF65-F5344CB8AC3E}">
        <p14:creationId xmlns:p14="http://schemas.microsoft.com/office/powerpoint/2010/main" val="19981382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E464160A-9DCD-4F75-94D2-EB95990332D0}"/>
              </a:ext>
            </a:extLst>
          </p:cNvPr>
          <p:cNvSpPr>
            <a:spLocks noGrp="1"/>
          </p:cNvSpPr>
          <p:nvPr>
            <p:ph idx="1"/>
          </p:nvPr>
        </p:nvSpPr>
        <p:spPr>
          <a:xfrm>
            <a:off x="695325" y="1417712"/>
            <a:ext cx="6396833" cy="4984351"/>
          </a:xfrm>
          <a:solidFill>
            <a:schemeClr val="accent4">
              <a:lumMod val="20000"/>
              <a:lumOff val="80000"/>
            </a:schemeClr>
          </a:solidFill>
        </p:spPr>
        <p:txBody>
          <a:bodyPr lIns="36000" rIns="36000"/>
          <a:lstStyle/>
          <a:p>
            <a:pPr marL="0" indent="0">
              <a:buNone/>
            </a:pPr>
            <a:r>
              <a:rPr lang="en-US"/>
              <a:t>Visibility in accounts</a:t>
            </a:r>
          </a:p>
          <a:p>
            <a:pPr marL="0" indent="0">
              <a:spcBef>
                <a:spcPts val="600"/>
              </a:spcBef>
              <a:buNone/>
              <a:tabLst>
                <a:tab pos="6189663" algn="l"/>
              </a:tabLst>
            </a:pPr>
            <a:r>
              <a:rPr lang="en-US" sz="1400" b="1">
                <a:solidFill>
                  <a:schemeClr val="tx2"/>
                </a:solidFill>
              </a:rPr>
              <a:t>Income statement</a:t>
            </a:r>
          </a:p>
          <a:p>
            <a:pPr marL="0" indent="0">
              <a:spcBef>
                <a:spcPts val="600"/>
              </a:spcBef>
              <a:buNone/>
              <a:tabLst>
                <a:tab pos="6189663" algn="l"/>
              </a:tabLst>
            </a:pPr>
            <a:endParaRPr lang="en-US" sz="1400">
              <a:solidFill>
                <a:schemeClr val="tx2"/>
              </a:solidFill>
            </a:endParaRPr>
          </a:p>
          <a:p>
            <a:pPr marL="0" indent="0">
              <a:spcBef>
                <a:spcPts val="600"/>
              </a:spcBef>
              <a:buNone/>
              <a:tabLst>
                <a:tab pos="6189663" algn="l"/>
              </a:tabLst>
            </a:pPr>
            <a:endParaRPr lang="en-US" sz="1400">
              <a:solidFill>
                <a:schemeClr val="tx2"/>
              </a:solidFill>
            </a:endParaRPr>
          </a:p>
          <a:p>
            <a:pPr marL="0" indent="0">
              <a:spcBef>
                <a:spcPts val="600"/>
              </a:spcBef>
              <a:buNone/>
              <a:tabLst>
                <a:tab pos="6189663" algn="l"/>
              </a:tabLst>
            </a:pPr>
            <a:endParaRPr lang="en-US" sz="1400">
              <a:solidFill>
                <a:schemeClr val="tx2"/>
              </a:solidFill>
            </a:endParaRPr>
          </a:p>
          <a:p>
            <a:pPr marL="0" indent="0">
              <a:spcBef>
                <a:spcPts val="600"/>
              </a:spcBef>
              <a:buNone/>
              <a:tabLst>
                <a:tab pos="6189663" algn="l"/>
              </a:tabLst>
            </a:pPr>
            <a:r>
              <a:rPr lang="en-US" sz="1400" b="1">
                <a:solidFill>
                  <a:schemeClr val="tx2"/>
                </a:solidFill>
              </a:rPr>
              <a:t>Movements in the Present Value of Future Cash Flows - PVFC</a:t>
            </a:r>
            <a:r>
              <a:rPr lang="en-US" sz="1400">
                <a:solidFill>
                  <a:schemeClr val="tx2"/>
                </a:solidFill>
              </a:rPr>
              <a:t> </a:t>
            </a:r>
            <a:r>
              <a:rPr lang="en-US" sz="1400">
                <a:solidFill>
                  <a:schemeClr val="tx2"/>
                </a:solidFill>
                <a:latin typeface="SwissReSans Light" panose="020B0504020202020204" pitchFamily="34" charset="0"/>
              </a:rPr>
              <a:t>(new to IFRS17)</a:t>
            </a:r>
          </a:p>
          <a:p>
            <a:pPr marL="0" indent="0">
              <a:spcBef>
                <a:spcPts val="600"/>
              </a:spcBef>
              <a:buNone/>
              <a:tabLst>
                <a:tab pos="6189663" algn="l"/>
              </a:tabLst>
            </a:pPr>
            <a:endParaRPr lang="en-US" sz="1400">
              <a:solidFill>
                <a:schemeClr val="tx2"/>
              </a:solidFill>
            </a:endParaRPr>
          </a:p>
        </p:txBody>
      </p:sp>
      <p:sp>
        <p:nvSpPr>
          <p:cNvPr id="4" name="Title 3">
            <a:extLst>
              <a:ext uri="{FF2B5EF4-FFF2-40B4-BE49-F238E27FC236}">
                <a16:creationId xmlns:a16="http://schemas.microsoft.com/office/drawing/2014/main" xmlns="" id="{6BDB11FB-BE96-4E09-82BD-EC14838D721D}"/>
              </a:ext>
            </a:extLst>
          </p:cNvPr>
          <p:cNvSpPr>
            <a:spLocks noGrp="1"/>
          </p:cNvSpPr>
          <p:nvPr>
            <p:ph type="title"/>
          </p:nvPr>
        </p:nvSpPr>
        <p:spPr/>
        <p:txBody>
          <a:bodyPr/>
          <a:lstStyle/>
          <a:p>
            <a:r>
              <a:rPr lang="en-GB" dirty="0"/>
              <a:t>Non-Proportional reinsurance: limited changes</a:t>
            </a:r>
          </a:p>
        </p:txBody>
      </p:sp>
      <p:sp>
        <p:nvSpPr>
          <p:cNvPr id="3" name="Slide Number Placeholder 2">
            <a:extLst>
              <a:ext uri="{FF2B5EF4-FFF2-40B4-BE49-F238E27FC236}">
                <a16:creationId xmlns:a16="http://schemas.microsoft.com/office/drawing/2014/main" xmlns="" id="{36DA5AE5-5FCB-4FDF-A1A4-FAE69A4D3A46}"/>
              </a:ext>
            </a:extLst>
          </p:cNvPr>
          <p:cNvSpPr>
            <a:spLocks noGrp="1"/>
          </p:cNvSpPr>
          <p:nvPr>
            <p:ph type="sldNum" sz="quarter" idx="12"/>
          </p:nvPr>
        </p:nvSpPr>
        <p:spPr/>
        <p:txBody>
          <a:bodyPr/>
          <a:lstStyle/>
          <a:p>
            <a:fld id="{5E4D2043-7E31-4A53-BD33-72A88E682172}" type="slidenum">
              <a:rPr lang="en-GB" smtClean="0"/>
              <a:pPr/>
              <a:t>48</a:t>
            </a:fld>
            <a:endParaRPr lang="en-GB"/>
          </a:p>
        </p:txBody>
      </p:sp>
      <p:sp>
        <p:nvSpPr>
          <p:cNvPr id="10" name="Content Placeholder 1">
            <a:extLst>
              <a:ext uri="{FF2B5EF4-FFF2-40B4-BE49-F238E27FC236}">
                <a16:creationId xmlns:a16="http://schemas.microsoft.com/office/drawing/2014/main" xmlns="" id="{5FEABB36-1AAC-45F8-97A7-5C653391EAF8}"/>
              </a:ext>
            </a:extLst>
          </p:cNvPr>
          <p:cNvSpPr txBox="1">
            <a:spLocks/>
          </p:cNvSpPr>
          <p:nvPr/>
        </p:nvSpPr>
        <p:spPr bwMode="black">
          <a:xfrm>
            <a:off x="7408100" y="1384799"/>
            <a:ext cx="4293670" cy="1676035"/>
          </a:xfrm>
          <a:prstGeom prst="rect">
            <a:avLst/>
          </a:prstGeom>
          <a:solidFill>
            <a:schemeClr val="accent4"/>
          </a:solidFill>
        </p:spPr>
        <p:txBody>
          <a:bodyPr vert="horz" lIns="36000" tIns="0" rIns="3600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bg1"/>
                </a:solidFill>
              </a:rPr>
              <a:t>Impact on KPI (bottom line &amp; key ratios)</a:t>
            </a:r>
          </a:p>
        </p:txBody>
      </p:sp>
      <p:sp>
        <p:nvSpPr>
          <p:cNvPr id="11" name="Content Placeholder 1">
            <a:extLst>
              <a:ext uri="{FF2B5EF4-FFF2-40B4-BE49-F238E27FC236}">
                <a16:creationId xmlns:a16="http://schemas.microsoft.com/office/drawing/2014/main" xmlns="" id="{449A6F5B-D094-405A-8AA8-0D850E7F860C}"/>
              </a:ext>
            </a:extLst>
          </p:cNvPr>
          <p:cNvSpPr txBox="1">
            <a:spLocks/>
          </p:cNvSpPr>
          <p:nvPr/>
        </p:nvSpPr>
        <p:spPr bwMode="black">
          <a:xfrm>
            <a:off x="7392008" y="3258889"/>
            <a:ext cx="4320568" cy="3143173"/>
          </a:xfrm>
          <a:prstGeom prst="rect">
            <a:avLst/>
          </a:prstGeom>
          <a:solidFill>
            <a:schemeClr val="tx2"/>
          </a:solidFill>
        </p:spPr>
        <p:txBody>
          <a:bodyPr vert="horz" lIns="36000" tIns="72000" rIns="3600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bg1"/>
                </a:solidFill>
              </a:rPr>
              <a:t>Points of attention</a:t>
            </a:r>
          </a:p>
          <a:p>
            <a:r>
              <a:rPr lang="en-US" sz="1400">
                <a:solidFill>
                  <a:schemeClr val="bg1"/>
                </a:solidFill>
                <a:latin typeface="SwissReSans Light" panose="020B0504020202020204" pitchFamily="34" charset="0"/>
              </a:rPr>
              <a:t>More </a:t>
            </a:r>
            <a:r>
              <a:rPr lang="en-US" sz="1400" b="1">
                <a:solidFill>
                  <a:schemeClr val="bg1"/>
                </a:solidFill>
                <a:latin typeface="SwissReSans Light" panose="020B0504020202020204" pitchFamily="34" charset="0"/>
              </a:rPr>
              <a:t>transparency</a:t>
            </a:r>
            <a:r>
              <a:rPr lang="en-US" sz="1400">
                <a:solidFill>
                  <a:schemeClr val="bg1"/>
                </a:solidFill>
                <a:latin typeface="SwissReSans Light" panose="020B0504020202020204" pitchFamily="34" charset="0"/>
              </a:rPr>
              <a:t> on book improvement or deterioration</a:t>
            </a:r>
          </a:p>
          <a:p>
            <a:r>
              <a:rPr lang="en-US" sz="1400" b="1">
                <a:solidFill>
                  <a:schemeClr val="bg1"/>
                </a:solidFill>
                <a:latin typeface="SwissReSans Light" panose="020B0504020202020204" pitchFamily="34" charset="0"/>
              </a:rPr>
              <a:t>Expected recoveries </a:t>
            </a:r>
            <a:r>
              <a:rPr lang="en-US" sz="1400">
                <a:solidFill>
                  <a:schemeClr val="bg1"/>
                </a:solidFill>
                <a:latin typeface="SwissReSans Light" panose="020B0504020202020204" pitchFamily="34" charset="0"/>
              </a:rPr>
              <a:t>and </a:t>
            </a:r>
            <a:r>
              <a:rPr lang="en-US" sz="1400" b="1">
                <a:solidFill>
                  <a:schemeClr val="bg1"/>
                </a:solidFill>
                <a:latin typeface="SwissReSans Light" panose="020B0504020202020204" pitchFamily="34" charset="0"/>
              </a:rPr>
              <a:t>reinsurance efficiency </a:t>
            </a:r>
            <a:r>
              <a:rPr lang="en-US" sz="1400">
                <a:solidFill>
                  <a:schemeClr val="bg1"/>
                </a:solidFill>
                <a:latin typeface="SwissReSans Light" panose="020B0504020202020204" pitchFamily="34" charset="0"/>
              </a:rPr>
              <a:t>(CSM and PVFC)</a:t>
            </a:r>
            <a:endParaRPr lang="en-GB" sz="1400">
              <a:solidFill>
                <a:schemeClr val="bg1"/>
              </a:solidFill>
              <a:latin typeface="SwissReSans Light" panose="020B0504020202020204" pitchFamily="34" charset="0"/>
            </a:endParaRPr>
          </a:p>
          <a:p>
            <a:r>
              <a:rPr lang="en-GB" sz="1400" b="1">
                <a:solidFill>
                  <a:schemeClr val="bg1"/>
                </a:solidFill>
                <a:latin typeface="SwissReSans Light" panose="020B0504020202020204" pitchFamily="34" charset="0"/>
              </a:rPr>
              <a:t>Accounting simplicity versus risk exposure</a:t>
            </a:r>
            <a:r>
              <a:rPr lang="en-GB" sz="1400">
                <a:solidFill>
                  <a:schemeClr val="bg1"/>
                </a:solidFill>
                <a:latin typeface="SwissReSans Light" panose="020B0504020202020204" pitchFamily="34" charset="0"/>
              </a:rPr>
              <a:t>: Aiming for automatic PAA eligibility may create mismatch in protection</a:t>
            </a:r>
          </a:p>
        </p:txBody>
      </p:sp>
      <p:sp>
        <p:nvSpPr>
          <p:cNvPr id="64" name="Rectangle 63">
            <a:extLst>
              <a:ext uri="{FF2B5EF4-FFF2-40B4-BE49-F238E27FC236}">
                <a16:creationId xmlns:a16="http://schemas.microsoft.com/office/drawing/2014/main" xmlns="" id="{692E5DD8-82EF-47B3-B0F1-8423515DCBFE}"/>
              </a:ext>
            </a:extLst>
          </p:cNvPr>
          <p:cNvSpPr/>
          <p:nvPr/>
        </p:nvSpPr>
        <p:spPr>
          <a:xfrm>
            <a:off x="711469" y="5432400"/>
            <a:ext cx="6390213" cy="923330"/>
          </a:xfrm>
          <a:prstGeom prst="rect">
            <a:avLst/>
          </a:prstGeom>
        </p:spPr>
        <p:txBody>
          <a:bodyPr wrap="square">
            <a:spAutoFit/>
          </a:bodyPr>
          <a:lstStyle/>
          <a:p>
            <a:r>
              <a:rPr lang="en-US" sz="1400" b="1" i="1">
                <a:solidFill>
                  <a:schemeClr val="tx2"/>
                </a:solidFill>
                <a:latin typeface="+mj-lt"/>
              </a:rPr>
              <a:t>PVFC</a:t>
            </a:r>
            <a:r>
              <a:rPr lang="en-US" sz="1400">
                <a:latin typeface="+mj-lt"/>
              </a:rPr>
              <a:t> is impacted by elements estimated, especially Expected Ceded Claims, from which the expected RI comm may result and depending on which the Risk Adjustment and CSM will be adjusted: impacts the analysis of achieved vs expected</a:t>
            </a:r>
          </a:p>
          <a:p>
            <a:r>
              <a:rPr lang="en-US" sz="1200">
                <a:solidFill>
                  <a:srgbClr val="C00000"/>
                </a:solidFill>
              </a:rPr>
              <a:t>Note that this only applies to GMM, thus those using PAA would not face this issue</a:t>
            </a:r>
            <a:endParaRPr lang="en-GB" sz="1200">
              <a:solidFill>
                <a:srgbClr val="C00000"/>
              </a:solidFill>
            </a:endParaRPr>
          </a:p>
        </p:txBody>
      </p:sp>
      <p:grpSp>
        <p:nvGrpSpPr>
          <p:cNvPr id="8" name="Group 7">
            <a:extLst>
              <a:ext uri="{FF2B5EF4-FFF2-40B4-BE49-F238E27FC236}">
                <a16:creationId xmlns:a16="http://schemas.microsoft.com/office/drawing/2014/main" xmlns="" id="{8D82622C-5312-499A-97AA-44739F20F1CA}"/>
              </a:ext>
            </a:extLst>
          </p:cNvPr>
          <p:cNvGrpSpPr/>
          <p:nvPr/>
        </p:nvGrpSpPr>
        <p:grpSpPr>
          <a:xfrm>
            <a:off x="759118" y="3237118"/>
            <a:ext cx="6203857" cy="2169011"/>
            <a:chOff x="739868" y="3756906"/>
            <a:chExt cx="5561286" cy="1945756"/>
          </a:xfrm>
        </p:grpSpPr>
        <p:sp>
          <p:nvSpPr>
            <p:cNvPr id="14" name="Rectangle 18">
              <a:extLst>
                <a:ext uri="{FF2B5EF4-FFF2-40B4-BE49-F238E27FC236}">
                  <a16:creationId xmlns:a16="http://schemas.microsoft.com/office/drawing/2014/main" xmlns="" id="{7D60B8A7-5F71-4012-9AD6-3E877E13D3AC}"/>
                </a:ext>
              </a:extLst>
            </p:cNvPr>
            <p:cNvSpPr>
              <a:spLocks noChangeArrowheads="1"/>
            </p:cNvSpPr>
            <p:nvPr/>
          </p:nvSpPr>
          <p:spPr bwMode="auto">
            <a:xfrm>
              <a:off x="2951822" y="4534456"/>
              <a:ext cx="3337197" cy="965728"/>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7" name="Rectangle 6">
              <a:extLst>
                <a:ext uri="{FF2B5EF4-FFF2-40B4-BE49-F238E27FC236}">
                  <a16:creationId xmlns:a16="http://schemas.microsoft.com/office/drawing/2014/main" xmlns="" id="{25E688BF-2001-469F-899B-8E284AAF87FE}"/>
                </a:ext>
              </a:extLst>
            </p:cNvPr>
            <p:cNvSpPr>
              <a:spLocks noChangeArrowheads="1"/>
            </p:cNvSpPr>
            <p:nvPr/>
          </p:nvSpPr>
          <p:spPr bwMode="auto">
            <a:xfrm>
              <a:off x="739868" y="3756906"/>
              <a:ext cx="1035841" cy="694752"/>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600"/>
            </a:p>
          </p:txBody>
        </p:sp>
        <p:sp>
          <p:nvSpPr>
            <p:cNvPr id="18" name="Rectangle 7">
              <a:extLst>
                <a:ext uri="{FF2B5EF4-FFF2-40B4-BE49-F238E27FC236}">
                  <a16:creationId xmlns:a16="http://schemas.microsoft.com/office/drawing/2014/main" xmlns="" id="{A57E585C-E659-40DB-8C02-ECEF68D38BF1}"/>
                </a:ext>
              </a:extLst>
            </p:cNvPr>
            <p:cNvSpPr>
              <a:spLocks noChangeArrowheads="1"/>
            </p:cNvSpPr>
            <p:nvPr/>
          </p:nvSpPr>
          <p:spPr bwMode="auto">
            <a:xfrm>
              <a:off x="1763378" y="3756906"/>
              <a:ext cx="3361860" cy="694752"/>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19" name="Rectangle 8">
              <a:extLst>
                <a:ext uri="{FF2B5EF4-FFF2-40B4-BE49-F238E27FC236}">
                  <a16:creationId xmlns:a16="http://schemas.microsoft.com/office/drawing/2014/main" xmlns="" id="{0D3708D5-0D79-467D-9585-F4F35E8AFEFB}"/>
                </a:ext>
              </a:extLst>
            </p:cNvPr>
            <p:cNvSpPr>
              <a:spLocks noChangeArrowheads="1"/>
            </p:cNvSpPr>
            <p:nvPr/>
          </p:nvSpPr>
          <p:spPr bwMode="auto">
            <a:xfrm>
              <a:off x="5112907" y="3756906"/>
              <a:ext cx="1176112" cy="563028"/>
            </a:xfrm>
            <a:prstGeom prst="rect">
              <a:avLst/>
            </a:prstGeom>
            <a:solidFill>
              <a:srgbClr val="CC009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0" name="Rectangle 9">
              <a:extLst>
                <a:ext uri="{FF2B5EF4-FFF2-40B4-BE49-F238E27FC236}">
                  <a16:creationId xmlns:a16="http://schemas.microsoft.com/office/drawing/2014/main" xmlns="" id="{AD6F34D9-4A15-40D4-851E-7AB7205BD7CB}"/>
                </a:ext>
              </a:extLst>
            </p:cNvPr>
            <p:cNvSpPr>
              <a:spLocks noChangeArrowheads="1"/>
            </p:cNvSpPr>
            <p:nvPr/>
          </p:nvSpPr>
          <p:spPr bwMode="auto">
            <a:xfrm>
              <a:off x="739868" y="4444884"/>
              <a:ext cx="1035841" cy="26871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21" name="Rectangle 10">
              <a:extLst>
                <a:ext uri="{FF2B5EF4-FFF2-40B4-BE49-F238E27FC236}">
                  <a16:creationId xmlns:a16="http://schemas.microsoft.com/office/drawing/2014/main" xmlns="" id="{06FFF939-CE68-4D11-9AFD-149CE4A818E7}"/>
                </a:ext>
              </a:extLst>
            </p:cNvPr>
            <p:cNvSpPr>
              <a:spLocks noChangeArrowheads="1"/>
            </p:cNvSpPr>
            <p:nvPr/>
          </p:nvSpPr>
          <p:spPr bwMode="auto">
            <a:xfrm>
              <a:off x="1763378" y="4444884"/>
              <a:ext cx="2301356" cy="268718"/>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22" name="Rectangle 11">
              <a:extLst>
                <a:ext uri="{FF2B5EF4-FFF2-40B4-BE49-F238E27FC236}">
                  <a16:creationId xmlns:a16="http://schemas.microsoft.com/office/drawing/2014/main" xmlns="" id="{C9786154-C3B3-4B18-9E6A-19A491089199}"/>
                </a:ext>
              </a:extLst>
            </p:cNvPr>
            <p:cNvSpPr>
              <a:spLocks noChangeArrowheads="1"/>
            </p:cNvSpPr>
            <p:nvPr/>
          </p:nvSpPr>
          <p:spPr bwMode="auto">
            <a:xfrm>
              <a:off x="4050862" y="4288320"/>
              <a:ext cx="1074377" cy="268718"/>
            </a:xfrm>
            <a:prstGeom prst="rect">
              <a:avLst/>
            </a:prstGeom>
            <a:solidFill>
              <a:srgbClr val="996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3" name="Rectangle 12">
              <a:extLst>
                <a:ext uri="{FF2B5EF4-FFF2-40B4-BE49-F238E27FC236}">
                  <a16:creationId xmlns:a16="http://schemas.microsoft.com/office/drawing/2014/main" xmlns="" id="{EB13E86A-A88C-48D7-B4BF-11CAF5F9C451}"/>
                </a:ext>
              </a:extLst>
            </p:cNvPr>
            <p:cNvSpPr>
              <a:spLocks noChangeArrowheads="1"/>
            </p:cNvSpPr>
            <p:nvPr/>
          </p:nvSpPr>
          <p:spPr bwMode="auto">
            <a:xfrm>
              <a:off x="5112907" y="4279287"/>
              <a:ext cx="1176112" cy="434314"/>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24" name="Rectangle 13">
              <a:extLst>
                <a:ext uri="{FF2B5EF4-FFF2-40B4-BE49-F238E27FC236}">
                  <a16:creationId xmlns:a16="http://schemas.microsoft.com/office/drawing/2014/main" xmlns="" id="{B0481E6D-827D-4108-80CB-48C5B0EAE1CE}"/>
                </a:ext>
              </a:extLst>
            </p:cNvPr>
            <p:cNvSpPr>
              <a:spLocks noChangeArrowheads="1"/>
            </p:cNvSpPr>
            <p:nvPr/>
          </p:nvSpPr>
          <p:spPr bwMode="auto">
            <a:xfrm>
              <a:off x="739868" y="4707580"/>
              <a:ext cx="1035841" cy="137746"/>
            </a:xfrm>
            <a:prstGeom prst="rect">
              <a:avLst/>
            </a:prstGeom>
            <a:solidFill>
              <a:srgbClr val="3399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25" name="Rectangle 14">
              <a:extLst>
                <a:ext uri="{FF2B5EF4-FFF2-40B4-BE49-F238E27FC236}">
                  <a16:creationId xmlns:a16="http://schemas.microsoft.com/office/drawing/2014/main" xmlns="" id="{2D9C4240-6651-4211-8AC2-7311CD899792}"/>
                </a:ext>
              </a:extLst>
            </p:cNvPr>
            <p:cNvSpPr>
              <a:spLocks noChangeArrowheads="1"/>
            </p:cNvSpPr>
            <p:nvPr/>
          </p:nvSpPr>
          <p:spPr bwMode="auto">
            <a:xfrm>
              <a:off x="1763378" y="4707580"/>
              <a:ext cx="1200775" cy="137746"/>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26" name="Rectangle 15">
              <a:extLst>
                <a:ext uri="{FF2B5EF4-FFF2-40B4-BE49-F238E27FC236}">
                  <a16:creationId xmlns:a16="http://schemas.microsoft.com/office/drawing/2014/main" xmlns="" id="{33520346-F4BD-4CC5-BA9D-C1BFD0A97569}"/>
                </a:ext>
              </a:extLst>
            </p:cNvPr>
            <p:cNvSpPr>
              <a:spLocks noChangeArrowheads="1"/>
            </p:cNvSpPr>
            <p:nvPr/>
          </p:nvSpPr>
          <p:spPr bwMode="auto">
            <a:xfrm>
              <a:off x="2951822" y="4570586"/>
              <a:ext cx="1112913" cy="137746"/>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27" name="Rectangle 17">
              <a:extLst>
                <a:ext uri="{FF2B5EF4-FFF2-40B4-BE49-F238E27FC236}">
                  <a16:creationId xmlns:a16="http://schemas.microsoft.com/office/drawing/2014/main" xmlns="" id="{42DDDA7A-7F7E-44FE-AABB-3FC58CDD629A}"/>
                </a:ext>
              </a:extLst>
            </p:cNvPr>
            <p:cNvSpPr>
              <a:spLocks noChangeArrowheads="1"/>
            </p:cNvSpPr>
            <p:nvPr/>
          </p:nvSpPr>
          <p:spPr bwMode="auto">
            <a:xfrm>
              <a:off x="739868" y="4706074"/>
              <a:ext cx="2224285" cy="794110"/>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600">
                <a:solidFill>
                  <a:schemeClr val="bg1"/>
                </a:solidFill>
              </a:endParaRPr>
            </a:p>
          </p:txBody>
        </p:sp>
        <p:sp>
          <p:nvSpPr>
            <p:cNvPr id="30" name="Rectangle 22">
              <a:extLst>
                <a:ext uri="{FF2B5EF4-FFF2-40B4-BE49-F238E27FC236}">
                  <a16:creationId xmlns:a16="http://schemas.microsoft.com/office/drawing/2014/main" xmlns="" id="{77AB19C2-72BD-4047-8F89-DCE423D66C51}"/>
                </a:ext>
              </a:extLst>
            </p:cNvPr>
            <p:cNvSpPr>
              <a:spLocks noChangeArrowheads="1"/>
            </p:cNvSpPr>
            <p:nvPr/>
          </p:nvSpPr>
          <p:spPr bwMode="auto">
            <a:xfrm>
              <a:off x="5088243" y="3785237"/>
              <a:ext cx="1212911" cy="386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00"/>
                  </a:solidFill>
                  <a:effectLst/>
                  <a:latin typeface="Calibri" panose="020F0502020204030204" pitchFamily="34" charset="0"/>
                </a:rPr>
                <a:t>Contractual Service Margin</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
          <p:nvSpPr>
            <p:cNvPr id="33" name="Rectangle 25">
              <a:extLst>
                <a:ext uri="{FF2B5EF4-FFF2-40B4-BE49-F238E27FC236}">
                  <a16:creationId xmlns:a16="http://schemas.microsoft.com/office/drawing/2014/main" xmlns="" id="{E1C63745-96EE-4539-805D-535BE60C7D24}"/>
                </a:ext>
              </a:extLst>
            </p:cNvPr>
            <p:cNvSpPr>
              <a:spLocks noChangeArrowheads="1"/>
            </p:cNvSpPr>
            <p:nvPr/>
          </p:nvSpPr>
          <p:spPr bwMode="auto">
            <a:xfrm>
              <a:off x="4066276" y="4331224"/>
              <a:ext cx="1127619" cy="19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000000"/>
                  </a:solidFill>
                  <a:effectLst/>
                  <a:latin typeface="Calibri" panose="020F0502020204030204" pitchFamily="34" charset="0"/>
                </a:rPr>
                <a:t>Risk Adjustment </a:t>
              </a:r>
              <a:endParaRPr kumimoji="0" lang="en-US" altLang="en-US" sz="1600" b="0" i="0" u="none" strike="noStrike" cap="none" normalizeH="0" baseline="0">
                <a:ln>
                  <a:noFill/>
                </a:ln>
                <a:solidFill>
                  <a:schemeClr val="tx1"/>
                </a:solidFill>
                <a:effectLst/>
                <a:latin typeface="Arial" panose="020B0604020202020204" pitchFamily="34" charset="0"/>
              </a:endParaRPr>
            </a:p>
          </p:txBody>
        </p:sp>
        <p:sp>
          <p:nvSpPr>
            <p:cNvPr id="35" name="Rectangle 27">
              <a:extLst>
                <a:ext uri="{FF2B5EF4-FFF2-40B4-BE49-F238E27FC236}">
                  <a16:creationId xmlns:a16="http://schemas.microsoft.com/office/drawing/2014/main" xmlns="" id="{17A781B5-3AD0-4040-ADFA-1074A58BD191}"/>
                </a:ext>
              </a:extLst>
            </p:cNvPr>
            <p:cNvSpPr>
              <a:spLocks noChangeArrowheads="1"/>
            </p:cNvSpPr>
            <p:nvPr/>
          </p:nvSpPr>
          <p:spPr bwMode="auto">
            <a:xfrm>
              <a:off x="3127545" y="4534456"/>
              <a:ext cx="789471" cy="19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chemeClr val="bg1"/>
                  </a:solidFill>
                  <a:effectLst/>
                  <a:latin typeface="Calibri" panose="020F0502020204030204" pitchFamily="34" charset="0"/>
                </a:rPr>
                <a:t>Discounting</a:t>
              </a:r>
              <a:endParaRPr kumimoji="0" lang="en-US" altLang="en-US" sz="1600" b="0" i="0" u="none" strike="noStrike" cap="none" normalizeH="0" baseline="0">
                <a:ln>
                  <a:noFill/>
                </a:ln>
                <a:solidFill>
                  <a:schemeClr val="bg1"/>
                </a:solidFill>
                <a:effectLst/>
              </a:endParaRPr>
            </a:p>
          </p:txBody>
        </p:sp>
        <p:sp>
          <p:nvSpPr>
            <p:cNvPr id="36" name="Rectangle 28">
              <a:extLst>
                <a:ext uri="{FF2B5EF4-FFF2-40B4-BE49-F238E27FC236}">
                  <a16:creationId xmlns:a16="http://schemas.microsoft.com/office/drawing/2014/main" xmlns="" id="{97B1AE61-9E32-4B43-8BCE-80F257683A32}"/>
                </a:ext>
              </a:extLst>
            </p:cNvPr>
            <p:cNvSpPr>
              <a:spLocks noChangeArrowheads="1"/>
            </p:cNvSpPr>
            <p:nvPr/>
          </p:nvSpPr>
          <p:spPr bwMode="auto">
            <a:xfrm>
              <a:off x="1923687" y="4715107"/>
              <a:ext cx="835570" cy="19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chemeClr val="bg1"/>
                  </a:solidFill>
                  <a:effectLst/>
                  <a:latin typeface="Calibri" panose="020F0502020204030204" pitchFamily="34" charset="0"/>
                </a:rPr>
                <a:t>Cash inflows</a:t>
              </a:r>
              <a:endParaRPr kumimoji="0" lang="en-US" altLang="en-US" sz="1600" b="0" i="0" u="none" strike="noStrike" cap="none" normalizeH="0" baseline="0">
                <a:ln>
                  <a:noFill/>
                </a:ln>
                <a:solidFill>
                  <a:schemeClr val="bg1"/>
                </a:solidFill>
                <a:effectLst/>
              </a:endParaRPr>
            </a:p>
          </p:txBody>
        </p:sp>
        <p:sp>
          <p:nvSpPr>
            <p:cNvPr id="38" name="Rectangle 30">
              <a:extLst>
                <a:ext uri="{FF2B5EF4-FFF2-40B4-BE49-F238E27FC236}">
                  <a16:creationId xmlns:a16="http://schemas.microsoft.com/office/drawing/2014/main" xmlns="" id="{EAC2E6DD-E951-47AE-BFC5-F94B0E789D48}"/>
                </a:ext>
              </a:extLst>
            </p:cNvPr>
            <p:cNvSpPr>
              <a:spLocks noChangeArrowheads="1"/>
            </p:cNvSpPr>
            <p:nvPr/>
          </p:nvSpPr>
          <p:spPr bwMode="auto">
            <a:xfrm>
              <a:off x="1800373" y="4879198"/>
              <a:ext cx="114990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r>
                <a:rPr kumimoji="0" lang="en-US" altLang="en-US" sz="1200" b="0" i="0" u="none" strike="noStrike" cap="none" normalizeH="0" baseline="0">
                  <a:ln>
                    <a:noFill/>
                  </a:ln>
                  <a:solidFill>
                    <a:schemeClr val="bg1"/>
                  </a:solidFill>
                  <a:effectLst/>
                  <a:latin typeface="Calibri" panose="020F0502020204030204" pitchFamily="34" charset="0"/>
                </a:rPr>
                <a:t>(Ceded Claims</a:t>
              </a:r>
              <a:r>
                <a:rPr lang="en-US" altLang="en-US" sz="1200">
                  <a:solidFill>
                    <a:schemeClr val="bg1"/>
                  </a:solidFill>
                  <a:latin typeface="Calibri" panose="020F0502020204030204" pitchFamily="34" charset="0"/>
                </a:rPr>
                <a:t>, Sliding comm., - non-perf. risk) </a:t>
              </a:r>
              <a:r>
                <a:rPr kumimoji="0" lang="en-US" altLang="en-US" sz="1200" b="0" i="0" u="none" strike="noStrike" cap="none" normalizeH="0" baseline="0">
                  <a:ln>
                    <a:noFill/>
                  </a:ln>
                  <a:solidFill>
                    <a:schemeClr val="bg1"/>
                  </a:solidFill>
                  <a:effectLst/>
                  <a:latin typeface="Calibri" panose="020F0502020204030204" pitchFamily="34" charset="0"/>
                </a:rPr>
                <a:t> </a:t>
              </a:r>
              <a:endParaRPr kumimoji="0" lang="en-US" altLang="en-US" sz="1400" b="0" i="0" u="none" strike="noStrike" cap="none" normalizeH="0" baseline="0">
                <a:ln>
                  <a:noFill/>
                </a:ln>
                <a:solidFill>
                  <a:schemeClr val="bg1"/>
                </a:solidFill>
                <a:effectLst/>
              </a:endParaRPr>
            </a:p>
          </p:txBody>
        </p:sp>
        <p:sp>
          <p:nvSpPr>
            <p:cNvPr id="42" name="Rectangle 35">
              <a:extLst>
                <a:ext uri="{FF2B5EF4-FFF2-40B4-BE49-F238E27FC236}">
                  <a16:creationId xmlns:a16="http://schemas.microsoft.com/office/drawing/2014/main" xmlns="" id="{68096938-84E0-4213-A243-FC222A0DC95A}"/>
                </a:ext>
              </a:extLst>
            </p:cNvPr>
            <p:cNvSpPr>
              <a:spLocks noChangeArrowheads="1"/>
            </p:cNvSpPr>
            <p:nvPr/>
          </p:nvSpPr>
          <p:spPr bwMode="auto">
            <a:xfrm>
              <a:off x="801526" y="4438862"/>
              <a:ext cx="974380" cy="193269"/>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1" i="0" u="none" strike="noStrike" cap="none" normalizeH="0" baseline="0">
                  <a:ln>
                    <a:noFill/>
                  </a:ln>
                  <a:solidFill>
                    <a:schemeClr val="bg1"/>
                  </a:solidFill>
                  <a:effectLst/>
                  <a:latin typeface="Calibri" panose="020F0502020204030204" pitchFamily="34" charset="0"/>
                </a:rPr>
                <a:t>Cash outflows </a:t>
              </a:r>
              <a:endParaRPr kumimoji="0" lang="en-US" altLang="en-US" sz="1600" b="0" i="0" u="none" strike="noStrike" cap="none" normalizeH="0" baseline="0">
                <a:ln>
                  <a:noFill/>
                </a:ln>
                <a:solidFill>
                  <a:schemeClr val="bg1"/>
                </a:solidFill>
                <a:effectLst/>
              </a:endParaRPr>
            </a:p>
          </p:txBody>
        </p:sp>
        <p:sp>
          <p:nvSpPr>
            <p:cNvPr id="44" name="Rectangle 37">
              <a:extLst>
                <a:ext uri="{FF2B5EF4-FFF2-40B4-BE49-F238E27FC236}">
                  <a16:creationId xmlns:a16="http://schemas.microsoft.com/office/drawing/2014/main" xmlns="" id="{23301DB0-804D-466F-8C1A-37B8E677EF39}"/>
                </a:ext>
              </a:extLst>
            </p:cNvPr>
            <p:cNvSpPr>
              <a:spLocks noChangeArrowheads="1"/>
            </p:cNvSpPr>
            <p:nvPr/>
          </p:nvSpPr>
          <p:spPr bwMode="auto">
            <a:xfrm>
              <a:off x="806150" y="4793389"/>
              <a:ext cx="934107" cy="67710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bg1"/>
                  </a:solidFill>
                  <a:effectLst/>
                  <a:latin typeface="Calibri" panose="020F0502020204030204" pitchFamily="34" charset="0"/>
                </a:rPr>
                <a:t>(Ceded Prem.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bg1"/>
                  </a:solidFill>
                  <a:effectLst/>
                  <a:latin typeface="Calibri" panose="020F0502020204030204" pitchFamily="34" charset="0"/>
                </a:rPr>
                <a:t>Fixed RI Comm &amp; Prov. RI Comm)</a:t>
              </a:r>
              <a:endParaRPr kumimoji="0" lang="en-US" altLang="en-US" sz="1400" b="0" i="0" u="none" strike="noStrike" cap="none" normalizeH="0" baseline="0">
                <a:ln>
                  <a:noFill/>
                </a:ln>
                <a:solidFill>
                  <a:schemeClr val="bg1"/>
                </a:solidFill>
                <a:effectLst/>
              </a:endParaRPr>
            </a:p>
          </p:txBody>
        </p:sp>
        <p:sp>
          <p:nvSpPr>
            <p:cNvPr id="45" name="Line 38">
              <a:extLst>
                <a:ext uri="{FF2B5EF4-FFF2-40B4-BE49-F238E27FC236}">
                  <a16:creationId xmlns:a16="http://schemas.microsoft.com/office/drawing/2014/main" xmlns="" id="{3103E834-B25A-4632-B96F-0DDE3556E956}"/>
                </a:ext>
              </a:extLst>
            </p:cNvPr>
            <p:cNvSpPr>
              <a:spLocks noChangeShapeType="1"/>
            </p:cNvSpPr>
            <p:nvPr/>
          </p:nvSpPr>
          <p:spPr bwMode="auto">
            <a:xfrm>
              <a:off x="739868" y="3756906"/>
              <a:ext cx="0" cy="174327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600"/>
            </a:p>
          </p:txBody>
        </p:sp>
        <p:sp>
          <p:nvSpPr>
            <p:cNvPr id="46" name="Rectangle 39">
              <a:extLst>
                <a:ext uri="{FF2B5EF4-FFF2-40B4-BE49-F238E27FC236}">
                  <a16:creationId xmlns:a16="http://schemas.microsoft.com/office/drawing/2014/main" xmlns="" id="{BAAA3549-3950-438F-947D-BEF07815D92D}"/>
                </a:ext>
              </a:extLst>
            </p:cNvPr>
            <p:cNvSpPr>
              <a:spLocks noChangeArrowheads="1"/>
            </p:cNvSpPr>
            <p:nvPr/>
          </p:nvSpPr>
          <p:spPr bwMode="auto">
            <a:xfrm>
              <a:off x="739868" y="3756906"/>
              <a:ext cx="12331" cy="174327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 name="Rectangle 40">
              <a:extLst>
                <a:ext uri="{FF2B5EF4-FFF2-40B4-BE49-F238E27FC236}">
                  <a16:creationId xmlns:a16="http://schemas.microsoft.com/office/drawing/2014/main" xmlns="" id="{0C7C1864-2C13-4383-863F-5DC02B45CC4A}"/>
                </a:ext>
              </a:extLst>
            </p:cNvPr>
            <p:cNvSpPr>
              <a:spLocks noChangeArrowheads="1"/>
            </p:cNvSpPr>
            <p:nvPr/>
          </p:nvSpPr>
          <p:spPr bwMode="auto">
            <a:xfrm>
              <a:off x="4050862" y="3763680"/>
              <a:ext cx="13873" cy="17304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 name="Rectangle 41">
              <a:extLst>
                <a:ext uri="{FF2B5EF4-FFF2-40B4-BE49-F238E27FC236}">
                  <a16:creationId xmlns:a16="http://schemas.microsoft.com/office/drawing/2014/main" xmlns="" id="{749ECAD1-C89A-4191-9BFB-D61C985231C6}"/>
                </a:ext>
              </a:extLst>
            </p:cNvPr>
            <p:cNvSpPr>
              <a:spLocks noChangeArrowheads="1"/>
            </p:cNvSpPr>
            <p:nvPr/>
          </p:nvSpPr>
          <p:spPr bwMode="auto">
            <a:xfrm>
              <a:off x="5112907" y="3763680"/>
              <a:ext cx="12331" cy="17304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9" name="Line 42">
              <a:extLst>
                <a:ext uri="{FF2B5EF4-FFF2-40B4-BE49-F238E27FC236}">
                  <a16:creationId xmlns:a16="http://schemas.microsoft.com/office/drawing/2014/main" xmlns="" id="{0786EC23-B5BF-4F5B-98DA-9B24C0B6B5F5}"/>
                </a:ext>
              </a:extLst>
            </p:cNvPr>
            <p:cNvSpPr>
              <a:spLocks noChangeShapeType="1"/>
            </p:cNvSpPr>
            <p:nvPr/>
          </p:nvSpPr>
          <p:spPr bwMode="auto">
            <a:xfrm>
              <a:off x="6276688" y="3763680"/>
              <a:ext cx="0" cy="173650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600"/>
            </a:p>
          </p:txBody>
        </p:sp>
        <p:sp>
          <p:nvSpPr>
            <p:cNvPr id="50" name="Rectangle 43">
              <a:extLst>
                <a:ext uri="{FF2B5EF4-FFF2-40B4-BE49-F238E27FC236}">
                  <a16:creationId xmlns:a16="http://schemas.microsoft.com/office/drawing/2014/main" xmlns="" id="{8BDDB3C2-834E-40DE-BA17-98CE7DFE859C}"/>
                </a:ext>
              </a:extLst>
            </p:cNvPr>
            <p:cNvSpPr>
              <a:spLocks noChangeArrowheads="1"/>
            </p:cNvSpPr>
            <p:nvPr/>
          </p:nvSpPr>
          <p:spPr bwMode="auto">
            <a:xfrm>
              <a:off x="6276688" y="3763680"/>
              <a:ext cx="12331" cy="173650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52" name="Rectangle 45">
              <a:extLst>
                <a:ext uri="{FF2B5EF4-FFF2-40B4-BE49-F238E27FC236}">
                  <a16:creationId xmlns:a16="http://schemas.microsoft.com/office/drawing/2014/main" xmlns="" id="{943943D7-A78E-4342-91AA-A41FA8F113D1}"/>
                </a:ext>
              </a:extLst>
            </p:cNvPr>
            <p:cNvSpPr>
              <a:spLocks noChangeArrowheads="1"/>
            </p:cNvSpPr>
            <p:nvPr/>
          </p:nvSpPr>
          <p:spPr bwMode="auto">
            <a:xfrm>
              <a:off x="1763378" y="3763680"/>
              <a:ext cx="12331" cy="17304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53" name="Rectangle 46">
              <a:extLst>
                <a:ext uri="{FF2B5EF4-FFF2-40B4-BE49-F238E27FC236}">
                  <a16:creationId xmlns:a16="http://schemas.microsoft.com/office/drawing/2014/main" xmlns="" id="{0F56BF84-B8BD-4753-BBF8-B607058F8909}"/>
                </a:ext>
              </a:extLst>
            </p:cNvPr>
            <p:cNvSpPr>
              <a:spLocks noChangeArrowheads="1"/>
            </p:cNvSpPr>
            <p:nvPr/>
          </p:nvSpPr>
          <p:spPr bwMode="auto">
            <a:xfrm>
              <a:off x="2951822" y="3763680"/>
              <a:ext cx="12331" cy="17304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57" name="Line 50">
              <a:extLst>
                <a:ext uri="{FF2B5EF4-FFF2-40B4-BE49-F238E27FC236}">
                  <a16:creationId xmlns:a16="http://schemas.microsoft.com/office/drawing/2014/main" xmlns="" id="{5C5CD60C-3219-4C46-A559-C3AE0B3EDD33}"/>
                </a:ext>
              </a:extLst>
            </p:cNvPr>
            <p:cNvSpPr>
              <a:spLocks noChangeShapeType="1"/>
            </p:cNvSpPr>
            <p:nvPr/>
          </p:nvSpPr>
          <p:spPr bwMode="auto">
            <a:xfrm>
              <a:off x="752200" y="3756906"/>
              <a:ext cx="553681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600"/>
            </a:p>
          </p:txBody>
        </p:sp>
        <p:sp>
          <p:nvSpPr>
            <p:cNvPr id="58" name="Rectangle 51">
              <a:extLst>
                <a:ext uri="{FF2B5EF4-FFF2-40B4-BE49-F238E27FC236}">
                  <a16:creationId xmlns:a16="http://schemas.microsoft.com/office/drawing/2014/main" xmlns="" id="{43593D1A-E0CB-4AE3-A12E-BD80AE4101F8}"/>
                </a:ext>
              </a:extLst>
            </p:cNvPr>
            <p:cNvSpPr>
              <a:spLocks noChangeArrowheads="1"/>
            </p:cNvSpPr>
            <p:nvPr/>
          </p:nvSpPr>
          <p:spPr bwMode="auto">
            <a:xfrm>
              <a:off x="752200" y="3756906"/>
              <a:ext cx="5536819" cy="677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59" name="Line 52">
              <a:extLst>
                <a:ext uri="{FF2B5EF4-FFF2-40B4-BE49-F238E27FC236}">
                  <a16:creationId xmlns:a16="http://schemas.microsoft.com/office/drawing/2014/main" xmlns="" id="{B420F72A-0944-47CE-AB1B-243807972761}"/>
                </a:ext>
              </a:extLst>
            </p:cNvPr>
            <p:cNvSpPr>
              <a:spLocks noChangeShapeType="1"/>
            </p:cNvSpPr>
            <p:nvPr/>
          </p:nvSpPr>
          <p:spPr bwMode="auto">
            <a:xfrm>
              <a:off x="752200" y="5494163"/>
              <a:ext cx="553681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sz="1600"/>
            </a:p>
          </p:txBody>
        </p:sp>
        <p:sp>
          <p:nvSpPr>
            <p:cNvPr id="60" name="Rectangle 53">
              <a:extLst>
                <a:ext uri="{FF2B5EF4-FFF2-40B4-BE49-F238E27FC236}">
                  <a16:creationId xmlns:a16="http://schemas.microsoft.com/office/drawing/2014/main" xmlns="" id="{FC99131C-D24C-4AEF-8CA0-5BE73ACE5FF4}"/>
                </a:ext>
              </a:extLst>
            </p:cNvPr>
            <p:cNvSpPr>
              <a:spLocks noChangeArrowheads="1"/>
            </p:cNvSpPr>
            <p:nvPr/>
          </p:nvSpPr>
          <p:spPr bwMode="auto">
            <a:xfrm>
              <a:off x="752200" y="5494163"/>
              <a:ext cx="5536819" cy="60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7" name="Rectangle 6">
              <a:extLst>
                <a:ext uri="{FF2B5EF4-FFF2-40B4-BE49-F238E27FC236}">
                  <a16:creationId xmlns:a16="http://schemas.microsoft.com/office/drawing/2014/main" xmlns="" id="{369ABB26-6065-4375-BCCF-87055F4F127B}"/>
                </a:ext>
              </a:extLst>
            </p:cNvPr>
            <p:cNvSpPr/>
            <p:nvPr/>
          </p:nvSpPr>
          <p:spPr>
            <a:xfrm>
              <a:off x="739868" y="5528034"/>
              <a:ext cx="3324866" cy="174628"/>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bg1"/>
                  </a:solidFill>
                  <a:latin typeface="SwissReSans" pitchFamily="34" charset="0"/>
                </a:rPr>
                <a:t>PVFC</a:t>
              </a:r>
            </a:p>
          </p:txBody>
        </p:sp>
      </p:grpSp>
      <p:sp>
        <p:nvSpPr>
          <p:cNvPr id="6" name="Rectangle 5">
            <a:extLst>
              <a:ext uri="{FF2B5EF4-FFF2-40B4-BE49-F238E27FC236}">
                <a16:creationId xmlns:a16="http://schemas.microsoft.com/office/drawing/2014/main" xmlns="" id="{FE8A42F3-AD03-4950-90B8-2A9967BFB38D}"/>
              </a:ext>
            </a:extLst>
          </p:cNvPr>
          <p:cNvSpPr/>
          <p:nvPr/>
        </p:nvSpPr>
        <p:spPr>
          <a:xfrm>
            <a:off x="978236" y="2096464"/>
            <a:ext cx="2568571" cy="461899"/>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FFFFFF"/>
                </a:solidFill>
                <a:latin typeface="SwissReSans" pitchFamily="34" charset="0"/>
              </a:rPr>
              <a:t>No significant change</a:t>
            </a:r>
          </a:p>
        </p:txBody>
      </p:sp>
      <p:sp>
        <p:nvSpPr>
          <p:cNvPr id="54" name="Rectangle 53">
            <a:extLst>
              <a:ext uri="{FF2B5EF4-FFF2-40B4-BE49-F238E27FC236}">
                <a16:creationId xmlns:a16="http://schemas.microsoft.com/office/drawing/2014/main" xmlns="" id="{67A057F7-1DC4-4D71-9C89-D54A5FAB6618}"/>
              </a:ext>
            </a:extLst>
          </p:cNvPr>
          <p:cNvSpPr/>
          <p:nvPr/>
        </p:nvSpPr>
        <p:spPr>
          <a:xfrm>
            <a:off x="8268006" y="1997436"/>
            <a:ext cx="2568571" cy="450760"/>
          </a:xfrm>
          <a:prstGeom prst="rect">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rgbClr val="FFFFFF"/>
                </a:solidFill>
                <a:latin typeface="SwissReSans" pitchFamily="34" charset="0"/>
              </a:rPr>
              <a:t>No significant change</a:t>
            </a:r>
          </a:p>
        </p:txBody>
      </p:sp>
      <p:pic>
        <p:nvPicPr>
          <p:cNvPr id="43" name="Picture 42">
            <a:extLst>
              <a:ext uri="{FF2B5EF4-FFF2-40B4-BE49-F238E27FC236}">
                <a16:creationId xmlns:a16="http://schemas.microsoft.com/office/drawing/2014/main" xmlns="" id="{70286701-1492-4881-B012-1823DC9D9A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34398" y="202926"/>
            <a:ext cx="765467" cy="771109"/>
          </a:xfrm>
          <a:prstGeom prst="rect">
            <a:avLst/>
          </a:prstGeom>
        </p:spPr>
      </p:pic>
    </p:spTree>
    <p:extLst>
      <p:ext uri="{BB962C8B-B14F-4D97-AF65-F5344CB8AC3E}">
        <p14:creationId xmlns:p14="http://schemas.microsoft.com/office/powerpoint/2010/main" val="41882329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64FFBBC9-913E-4B36-A329-DDEB69A704E9}"/>
              </a:ext>
            </a:extLst>
          </p:cNvPr>
          <p:cNvSpPr>
            <a:spLocks noGrp="1"/>
          </p:cNvSpPr>
          <p:nvPr>
            <p:ph idx="1"/>
          </p:nvPr>
        </p:nvSpPr>
        <p:spPr>
          <a:xfrm>
            <a:off x="695325" y="1628777"/>
            <a:ext cx="11017250" cy="1296168"/>
          </a:xfrm>
        </p:spPr>
        <p:txBody>
          <a:bodyPr/>
          <a:lstStyle/>
          <a:p>
            <a:r>
              <a:rPr lang="en-GB"/>
              <a:t>Main question: contract boundaries</a:t>
            </a:r>
          </a:p>
          <a:p>
            <a:pPr lvl="1"/>
            <a:r>
              <a:rPr lang="en-GB"/>
              <a:t>Underlying business is 1-year policies</a:t>
            </a:r>
          </a:p>
          <a:p>
            <a:pPr lvl="1"/>
            <a:r>
              <a:rPr lang="en-GB"/>
              <a:t>RI is a 3-year deal (or other MY)</a:t>
            </a:r>
          </a:p>
        </p:txBody>
      </p:sp>
      <p:sp>
        <p:nvSpPr>
          <p:cNvPr id="3" name="Title 2">
            <a:extLst>
              <a:ext uri="{FF2B5EF4-FFF2-40B4-BE49-F238E27FC236}">
                <a16:creationId xmlns:a16="http://schemas.microsoft.com/office/drawing/2014/main" xmlns="" id="{BA3FA777-327D-4AA5-91E9-BEF2056B0053}"/>
              </a:ext>
            </a:extLst>
          </p:cNvPr>
          <p:cNvSpPr>
            <a:spLocks noGrp="1"/>
          </p:cNvSpPr>
          <p:nvPr>
            <p:ph type="title"/>
          </p:nvPr>
        </p:nvSpPr>
        <p:spPr/>
        <p:txBody>
          <a:bodyPr/>
          <a:lstStyle/>
          <a:p>
            <a:r>
              <a:rPr lang="en-GB" dirty="0"/>
              <a:t>MY </a:t>
            </a:r>
            <a:r>
              <a:rPr lang="en-GB" dirty="0" err="1"/>
              <a:t>XoL</a:t>
            </a:r>
            <a:r>
              <a:rPr lang="en-GB" dirty="0"/>
              <a:t/>
            </a:r>
            <a:br>
              <a:rPr lang="en-GB" dirty="0"/>
            </a:br>
            <a:endParaRPr lang="en-GB" dirty="0"/>
          </a:p>
        </p:txBody>
      </p:sp>
      <p:sp>
        <p:nvSpPr>
          <p:cNvPr id="4" name="Slide Number Placeholder 3">
            <a:extLst>
              <a:ext uri="{FF2B5EF4-FFF2-40B4-BE49-F238E27FC236}">
                <a16:creationId xmlns:a16="http://schemas.microsoft.com/office/drawing/2014/main" xmlns="" id="{5F580E5F-C5CD-4EED-9094-12A147EE1855}"/>
              </a:ext>
            </a:extLst>
          </p:cNvPr>
          <p:cNvSpPr>
            <a:spLocks noGrp="1"/>
          </p:cNvSpPr>
          <p:nvPr>
            <p:ph type="sldNum" sz="quarter" idx="12"/>
          </p:nvPr>
        </p:nvSpPr>
        <p:spPr/>
        <p:txBody>
          <a:bodyPr/>
          <a:lstStyle/>
          <a:p>
            <a:fld id="{5E4D2043-7E31-4A53-BD33-72A88E682172}" type="slidenum">
              <a:rPr lang="en-GB" smtClean="0"/>
              <a:pPr/>
              <a:t>49</a:t>
            </a:fld>
            <a:endParaRPr lang="en-GB"/>
          </a:p>
        </p:txBody>
      </p:sp>
      <p:sp>
        <p:nvSpPr>
          <p:cNvPr id="5" name="Rectangle: Rounded Corners 4">
            <a:extLst>
              <a:ext uri="{FF2B5EF4-FFF2-40B4-BE49-F238E27FC236}">
                <a16:creationId xmlns:a16="http://schemas.microsoft.com/office/drawing/2014/main" xmlns="" id="{0603464A-1AC5-4456-9F29-10A239FE3332}"/>
              </a:ext>
            </a:extLst>
          </p:cNvPr>
          <p:cNvSpPr/>
          <p:nvPr/>
        </p:nvSpPr>
        <p:spPr>
          <a:xfrm>
            <a:off x="5161667" y="1723011"/>
            <a:ext cx="4464496" cy="1080120"/>
          </a:xfrm>
          <a:prstGeom prst="roundRect">
            <a:avLst/>
          </a:prstGeom>
          <a:solidFill>
            <a:schemeClr val="accent6"/>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accent3">
                    <a:lumMod val="75000"/>
                  </a:schemeClr>
                </a:solidFill>
                <a:latin typeface="SwissReSans" pitchFamily="34" charset="0"/>
              </a:rPr>
              <a:t>“Creates a mismatch between RI held and underlying policies”</a:t>
            </a:r>
          </a:p>
        </p:txBody>
      </p:sp>
      <p:grpSp>
        <p:nvGrpSpPr>
          <p:cNvPr id="23" name="Group 22">
            <a:extLst>
              <a:ext uri="{FF2B5EF4-FFF2-40B4-BE49-F238E27FC236}">
                <a16:creationId xmlns:a16="http://schemas.microsoft.com/office/drawing/2014/main" xmlns="" id="{9C9638EB-4349-4A64-A3B0-C2A7B1A0A777}"/>
              </a:ext>
            </a:extLst>
          </p:cNvPr>
          <p:cNvGrpSpPr/>
          <p:nvPr/>
        </p:nvGrpSpPr>
        <p:grpSpPr>
          <a:xfrm>
            <a:off x="1415480" y="3140989"/>
            <a:ext cx="7560560" cy="624280"/>
            <a:chOff x="1415480" y="3392492"/>
            <a:chExt cx="7560560" cy="181972"/>
          </a:xfrm>
        </p:grpSpPr>
        <p:sp>
          <p:nvSpPr>
            <p:cNvPr id="6" name="Rectangle 5">
              <a:extLst>
                <a:ext uri="{FF2B5EF4-FFF2-40B4-BE49-F238E27FC236}">
                  <a16:creationId xmlns:a16="http://schemas.microsoft.com/office/drawing/2014/main" xmlns="" id="{7C352AF0-8C14-4D51-B0DC-6006650C9C17}"/>
                </a:ext>
              </a:extLst>
            </p:cNvPr>
            <p:cNvSpPr/>
            <p:nvPr/>
          </p:nvSpPr>
          <p:spPr>
            <a:xfrm>
              <a:off x="1415480" y="3392492"/>
              <a:ext cx="7560000" cy="72008"/>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7" name="Rectangle 6">
              <a:extLst>
                <a:ext uri="{FF2B5EF4-FFF2-40B4-BE49-F238E27FC236}">
                  <a16:creationId xmlns:a16="http://schemas.microsoft.com/office/drawing/2014/main" xmlns="" id="{78F58273-B703-421F-B311-D8F32EF2FD52}"/>
                </a:ext>
              </a:extLst>
            </p:cNvPr>
            <p:cNvSpPr/>
            <p:nvPr/>
          </p:nvSpPr>
          <p:spPr>
            <a:xfrm>
              <a:off x="1415480" y="3501008"/>
              <a:ext cx="2520000" cy="73456"/>
            </a:xfrm>
            <a:prstGeom prst="rect">
              <a:avLst/>
            </a:prstGeom>
            <a:solidFill>
              <a:schemeClr val="accent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8" name="Rectangle 7">
              <a:extLst>
                <a:ext uri="{FF2B5EF4-FFF2-40B4-BE49-F238E27FC236}">
                  <a16:creationId xmlns:a16="http://schemas.microsoft.com/office/drawing/2014/main" xmlns="" id="{BCBACB66-B4C7-48AE-88B5-E493D424176D}"/>
                </a:ext>
              </a:extLst>
            </p:cNvPr>
            <p:cNvSpPr/>
            <p:nvPr/>
          </p:nvSpPr>
          <p:spPr>
            <a:xfrm>
              <a:off x="3935760" y="3501008"/>
              <a:ext cx="2520000" cy="73456"/>
            </a:xfrm>
            <a:prstGeom prst="rect">
              <a:avLst/>
            </a:prstGeom>
            <a:solidFill>
              <a:schemeClr val="accent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9" name="Rectangle 8">
              <a:extLst>
                <a:ext uri="{FF2B5EF4-FFF2-40B4-BE49-F238E27FC236}">
                  <a16:creationId xmlns:a16="http://schemas.microsoft.com/office/drawing/2014/main" xmlns="" id="{35A4DDC9-103E-43AE-A64B-BED23A92339D}"/>
                </a:ext>
              </a:extLst>
            </p:cNvPr>
            <p:cNvSpPr/>
            <p:nvPr/>
          </p:nvSpPr>
          <p:spPr>
            <a:xfrm>
              <a:off x="6456040" y="3501008"/>
              <a:ext cx="2520000" cy="73456"/>
            </a:xfrm>
            <a:prstGeom prst="rect">
              <a:avLst/>
            </a:prstGeom>
            <a:solidFill>
              <a:schemeClr val="accent6"/>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grpSp>
      <p:sp>
        <p:nvSpPr>
          <p:cNvPr id="10" name="TextBox 9">
            <a:extLst>
              <a:ext uri="{FF2B5EF4-FFF2-40B4-BE49-F238E27FC236}">
                <a16:creationId xmlns:a16="http://schemas.microsoft.com/office/drawing/2014/main" xmlns="" id="{4E728C1F-0FCC-4BA4-8E33-48DC0B782ABF}"/>
              </a:ext>
            </a:extLst>
          </p:cNvPr>
          <p:cNvSpPr txBox="1"/>
          <p:nvPr/>
        </p:nvSpPr>
        <p:spPr>
          <a:xfrm>
            <a:off x="792315" y="4105466"/>
            <a:ext cx="10920260" cy="1969770"/>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GB" sz="1600" i="1">
                <a:solidFill>
                  <a:schemeClr val="accent3"/>
                </a:solidFill>
                <a:latin typeface="SwissReSans" pitchFamily="34" charset="0"/>
              </a:rPr>
              <a:t>Initial recognition? Fear that the insurer has to account for PVFC for RI? (3 years means more premium paid out?)</a:t>
            </a:r>
          </a:p>
          <a:p>
            <a:pPr marL="742950" lvl="1" indent="-285750">
              <a:spcBef>
                <a:spcPts val="600"/>
              </a:spcBef>
              <a:buFont typeface="Wingdings" panose="05000000000000000000" pitchFamily="2" charset="2"/>
              <a:buChar char="Ø"/>
            </a:pPr>
            <a:r>
              <a:rPr lang="en-GB" sz="1400">
                <a:latin typeface="SwissReSans" pitchFamily="34" charset="0"/>
              </a:rPr>
              <a:t>Issue if the insurer grows less than planned… but not too different from now (constructive with client)</a:t>
            </a:r>
          </a:p>
          <a:p>
            <a:pPr marL="285750" indent="-285750">
              <a:spcBef>
                <a:spcPts val="600"/>
              </a:spcBef>
              <a:buFont typeface="Arial" panose="020B0604020202020204" pitchFamily="34" charset="0"/>
              <a:buChar char="•"/>
            </a:pPr>
            <a:r>
              <a:rPr lang="en-GB" sz="1400" i="1">
                <a:latin typeface="SwissReSans" pitchFamily="34" charset="0"/>
              </a:rPr>
              <a:t>Allocating the losses to the cover is not an issue as policies covered are clearly identified</a:t>
            </a:r>
          </a:p>
          <a:p>
            <a:pPr marL="285750" indent="-285750">
              <a:spcBef>
                <a:spcPts val="600"/>
              </a:spcBef>
              <a:buFont typeface="Arial" panose="020B0604020202020204" pitchFamily="34" charset="0"/>
              <a:buChar char="•"/>
            </a:pPr>
            <a:r>
              <a:rPr lang="en-GB" sz="1600" i="1">
                <a:solidFill>
                  <a:schemeClr val="accent3"/>
                </a:solidFill>
                <a:latin typeface="SwissReSans" pitchFamily="34" charset="0"/>
              </a:rPr>
              <a:t>Primary business on risk attaching basis and RI on loss occurring basis </a:t>
            </a:r>
            <a:r>
              <a:rPr lang="en-GB" sz="1400" i="1">
                <a:latin typeface="SwissReSans" pitchFamily="34" charset="0"/>
              </a:rPr>
              <a:t>would be more an issue: what happens when a primary policy is on the book and no reinsurer want to write that book at “favourable conditions” for the next loss Occurring year of protection?</a:t>
            </a:r>
          </a:p>
          <a:p>
            <a:pPr marL="742950" lvl="1" indent="-285750">
              <a:spcBef>
                <a:spcPts val="600"/>
              </a:spcBef>
              <a:buFont typeface="Wingdings" panose="05000000000000000000" pitchFamily="2" charset="2"/>
              <a:buChar char="Ø"/>
            </a:pPr>
            <a:r>
              <a:rPr lang="en-GB" sz="1400">
                <a:latin typeface="SwissReSans" pitchFamily="34" charset="0"/>
              </a:rPr>
              <a:t>Again nothing different from now</a:t>
            </a:r>
          </a:p>
        </p:txBody>
      </p:sp>
      <p:sp>
        <p:nvSpPr>
          <p:cNvPr id="24" name="TextBox 23">
            <a:extLst>
              <a:ext uri="{FF2B5EF4-FFF2-40B4-BE49-F238E27FC236}">
                <a16:creationId xmlns:a16="http://schemas.microsoft.com/office/drawing/2014/main" xmlns="" id="{3B2D0418-B30D-413F-A2B9-FF847D6E4FD5}"/>
              </a:ext>
            </a:extLst>
          </p:cNvPr>
          <p:cNvSpPr txBox="1"/>
          <p:nvPr/>
        </p:nvSpPr>
        <p:spPr>
          <a:xfrm>
            <a:off x="9264352" y="3068960"/>
            <a:ext cx="399468" cy="369332"/>
          </a:xfrm>
          <a:prstGeom prst="rect">
            <a:avLst/>
          </a:prstGeom>
          <a:noFill/>
        </p:spPr>
        <p:txBody>
          <a:bodyPr wrap="none" rtlCol="0">
            <a:spAutoFit/>
          </a:bodyPr>
          <a:lstStyle/>
          <a:p>
            <a:r>
              <a:rPr lang="en-GB">
                <a:latin typeface="SwissReSans" pitchFamily="34" charset="0"/>
              </a:rPr>
              <a:t>RI</a:t>
            </a:r>
          </a:p>
        </p:txBody>
      </p:sp>
      <p:sp>
        <p:nvSpPr>
          <p:cNvPr id="25" name="TextBox 24">
            <a:extLst>
              <a:ext uri="{FF2B5EF4-FFF2-40B4-BE49-F238E27FC236}">
                <a16:creationId xmlns:a16="http://schemas.microsoft.com/office/drawing/2014/main" xmlns="" id="{D0393678-1E1A-4372-98F5-80B8B4E067A6}"/>
              </a:ext>
            </a:extLst>
          </p:cNvPr>
          <p:cNvSpPr txBox="1"/>
          <p:nvPr/>
        </p:nvSpPr>
        <p:spPr>
          <a:xfrm>
            <a:off x="9264352" y="3429000"/>
            <a:ext cx="2160913" cy="369332"/>
          </a:xfrm>
          <a:prstGeom prst="rect">
            <a:avLst/>
          </a:prstGeom>
          <a:noFill/>
        </p:spPr>
        <p:txBody>
          <a:bodyPr wrap="none" rtlCol="0">
            <a:spAutoFit/>
          </a:bodyPr>
          <a:lstStyle/>
          <a:p>
            <a:r>
              <a:rPr lang="en-GB">
                <a:latin typeface="SwissReSans" pitchFamily="34" charset="0"/>
              </a:rPr>
              <a:t>Underlying policies</a:t>
            </a:r>
          </a:p>
        </p:txBody>
      </p:sp>
      <p:pic>
        <p:nvPicPr>
          <p:cNvPr id="26" name="Picture 25">
            <a:extLst>
              <a:ext uri="{FF2B5EF4-FFF2-40B4-BE49-F238E27FC236}">
                <a16:creationId xmlns:a16="http://schemas.microsoft.com/office/drawing/2014/main" xmlns="" id="{61AF05DE-4F11-4C99-A36F-1417A65EFB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6274" y="5900558"/>
            <a:ext cx="748995" cy="754516"/>
          </a:xfrm>
          <a:prstGeom prst="rect">
            <a:avLst/>
          </a:prstGeom>
        </p:spPr>
      </p:pic>
    </p:spTree>
    <p:extLst>
      <p:ext uri="{BB962C8B-B14F-4D97-AF65-F5344CB8AC3E}">
        <p14:creationId xmlns:p14="http://schemas.microsoft.com/office/powerpoint/2010/main" val="3364928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2209801" y="1524001"/>
          <a:ext cx="9448801" cy="4724399"/>
        </p:xfrm>
        <a:graphic>
          <a:graphicData uri="http://schemas.openxmlformats.org/drawingml/2006/table">
            <a:tbl>
              <a:tblPr firstRow="1" firstCol="1" bandRow="1">
                <a:tableStyleId>{5C22544A-7EE6-4342-B048-85BDC9FD1C3A}</a:tableStyleId>
              </a:tblPr>
              <a:tblGrid>
                <a:gridCol w="685799">
                  <a:extLst>
                    <a:ext uri="{9D8B030D-6E8A-4147-A177-3AD203B41FA5}">
                      <a16:colId xmlns:a16="http://schemas.microsoft.com/office/drawing/2014/main" xmlns="" val="20000"/>
                    </a:ext>
                  </a:extLst>
                </a:gridCol>
                <a:gridCol w="1905000">
                  <a:extLst>
                    <a:ext uri="{9D8B030D-6E8A-4147-A177-3AD203B41FA5}">
                      <a16:colId xmlns:a16="http://schemas.microsoft.com/office/drawing/2014/main" xmlns="" val="20001"/>
                    </a:ext>
                  </a:extLst>
                </a:gridCol>
                <a:gridCol w="2895600">
                  <a:extLst>
                    <a:ext uri="{9D8B030D-6E8A-4147-A177-3AD203B41FA5}">
                      <a16:colId xmlns:a16="http://schemas.microsoft.com/office/drawing/2014/main" xmlns="" val="20002"/>
                    </a:ext>
                  </a:extLst>
                </a:gridCol>
                <a:gridCol w="3962402">
                  <a:extLst>
                    <a:ext uri="{9D8B030D-6E8A-4147-A177-3AD203B41FA5}">
                      <a16:colId xmlns:a16="http://schemas.microsoft.com/office/drawing/2014/main" xmlns="" val="20003"/>
                    </a:ext>
                  </a:extLst>
                </a:gridCol>
              </a:tblGrid>
              <a:tr h="388961">
                <a:tc>
                  <a:txBody>
                    <a:bodyPr/>
                    <a:lstStyle/>
                    <a:p>
                      <a:pPr algn="ctr">
                        <a:spcAft>
                          <a:spcPts val="0"/>
                        </a:spcAft>
                      </a:pPr>
                      <a:r>
                        <a:rPr lang="en-IN" sz="1500" dirty="0">
                          <a:effectLst/>
                        </a:rPr>
                        <a:t>No</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Time</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Sessions</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Speaker</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0"/>
                  </a:ext>
                </a:extLst>
              </a:tr>
              <a:tr h="572979">
                <a:tc>
                  <a:txBody>
                    <a:bodyPr/>
                    <a:lstStyle/>
                    <a:p>
                      <a:pPr algn="ctr">
                        <a:spcAft>
                          <a:spcPts val="0"/>
                        </a:spcAft>
                      </a:pPr>
                      <a:r>
                        <a:rPr lang="en-IN" sz="1500" dirty="0">
                          <a:effectLst/>
                        </a:rPr>
                        <a:t>1</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04-00 PM to 04-05 PM</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Introductory Address</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b="1" dirty="0" err="1">
                          <a:effectLst/>
                        </a:rPr>
                        <a:t>Mr.</a:t>
                      </a:r>
                      <a:r>
                        <a:rPr lang="en-IN" sz="1500" b="1" dirty="0">
                          <a:effectLst/>
                        </a:rPr>
                        <a:t> </a:t>
                      </a:r>
                      <a:r>
                        <a:rPr lang="en-IN" sz="1500" b="1" dirty="0" err="1">
                          <a:effectLst/>
                        </a:rPr>
                        <a:t>Hiten</a:t>
                      </a:r>
                      <a:r>
                        <a:rPr lang="en-IN" sz="1500" b="1" dirty="0">
                          <a:effectLst/>
                        </a:rPr>
                        <a:t> Kothari,</a:t>
                      </a:r>
                    </a:p>
                    <a:p>
                      <a:pPr algn="just">
                        <a:spcAft>
                          <a:spcPts val="0"/>
                        </a:spcAft>
                      </a:pPr>
                      <a:r>
                        <a:rPr lang="en-IN" sz="1500" dirty="0">
                          <a:effectLst/>
                        </a:rPr>
                        <a:t>Chairperson, AGGI, IAI</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1"/>
                  </a:ext>
                </a:extLst>
              </a:tr>
              <a:tr h="572979">
                <a:tc>
                  <a:txBody>
                    <a:bodyPr/>
                    <a:lstStyle/>
                    <a:p>
                      <a:pPr algn="ctr">
                        <a:spcAft>
                          <a:spcPts val="0"/>
                        </a:spcAft>
                      </a:pPr>
                      <a:r>
                        <a:rPr lang="en-IN" sz="1500" dirty="0">
                          <a:effectLst/>
                        </a:rPr>
                        <a:t>2</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04-05 PM to 04-10 PM</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Presidential Address</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b="1" dirty="0" err="1">
                          <a:effectLst/>
                        </a:rPr>
                        <a:t>Mr.</a:t>
                      </a:r>
                      <a:r>
                        <a:rPr lang="en-IN" sz="1500" b="1" dirty="0">
                          <a:effectLst/>
                        </a:rPr>
                        <a:t> </a:t>
                      </a:r>
                      <a:r>
                        <a:rPr lang="en-IN" sz="1500" b="1" dirty="0" err="1">
                          <a:effectLst/>
                        </a:rPr>
                        <a:t>Subhendu</a:t>
                      </a:r>
                      <a:r>
                        <a:rPr lang="en-IN" sz="1500" b="1" dirty="0">
                          <a:effectLst/>
                        </a:rPr>
                        <a:t> Bal,</a:t>
                      </a:r>
                    </a:p>
                    <a:p>
                      <a:pPr algn="just">
                        <a:spcAft>
                          <a:spcPts val="0"/>
                        </a:spcAft>
                      </a:pPr>
                      <a:r>
                        <a:rPr lang="en-IN" sz="1500" dirty="0">
                          <a:effectLst/>
                        </a:rPr>
                        <a:t>President, IAI</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2"/>
                  </a:ext>
                </a:extLst>
              </a:tr>
              <a:tr h="2043522">
                <a:tc>
                  <a:txBody>
                    <a:bodyPr/>
                    <a:lstStyle/>
                    <a:p>
                      <a:pPr algn="ctr">
                        <a:spcAft>
                          <a:spcPts val="0"/>
                        </a:spcAft>
                      </a:pPr>
                      <a:r>
                        <a:rPr lang="en-IN" sz="1500" dirty="0">
                          <a:effectLst/>
                        </a:rPr>
                        <a:t>3</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dirty="0">
                          <a:effectLst/>
                        </a:rPr>
                        <a:t>04-10 PM to 05-40 PM</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dirty="0">
                          <a:effectLst/>
                        </a:rPr>
                        <a:t>Presentation: Impact of IFRS 17 on Reinsurance Business and Accounting</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nSpc>
                          <a:spcPct val="100000"/>
                        </a:lnSpc>
                        <a:spcAft>
                          <a:spcPts val="0"/>
                        </a:spcAft>
                      </a:pPr>
                      <a:r>
                        <a:rPr lang="en-US" sz="1500" b="1" dirty="0">
                          <a:effectLst/>
                        </a:rPr>
                        <a:t>Mr. </a:t>
                      </a:r>
                      <a:r>
                        <a:rPr lang="en-US" sz="1500" b="1" dirty="0" err="1">
                          <a:effectLst/>
                        </a:rPr>
                        <a:t>Amitabha</a:t>
                      </a:r>
                      <a:r>
                        <a:rPr lang="en-US" sz="1500" b="1" dirty="0">
                          <a:effectLst/>
                        </a:rPr>
                        <a:t> Ray</a:t>
                      </a:r>
                      <a:r>
                        <a:rPr lang="en-US" sz="1500" dirty="0">
                          <a:effectLst/>
                        </a:rPr>
                        <a:t>, Head Client Markets P&amp;C,  Swiss Re, India</a:t>
                      </a:r>
                      <a:endParaRPr lang="en-IN" sz="1500" dirty="0">
                        <a:effectLst/>
                      </a:endParaRPr>
                    </a:p>
                    <a:p>
                      <a:pPr>
                        <a:lnSpc>
                          <a:spcPct val="100000"/>
                        </a:lnSpc>
                        <a:spcAft>
                          <a:spcPts val="0"/>
                        </a:spcAft>
                      </a:pPr>
                      <a:r>
                        <a:rPr lang="en-US" sz="1500" b="1" dirty="0">
                          <a:effectLst/>
                        </a:rPr>
                        <a:t>Miss. </a:t>
                      </a:r>
                      <a:r>
                        <a:rPr lang="en-US" sz="1500" b="1" dirty="0" err="1">
                          <a:effectLst/>
                        </a:rPr>
                        <a:t>Prerana</a:t>
                      </a:r>
                      <a:r>
                        <a:rPr lang="en-US" sz="1500" b="1" dirty="0">
                          <a:effectLst/>
                        </a:rPr>
                        <a:t> </a:t>
                      </a:r>
                      <a:r>
                        <a:rPr lang="en-US" sz="1500" b="1" dirty="0" err="1">
                          <a:effectLst/>
                        </a:rPr>
                        <a:t>Sadarangani</a:t>
                      </a:r>
                      <a:r>
                        <a:rPr lang="en-US" sz="1500" b="1" dirty="0">
                          <a:effectLst/>
                        </a:rPr>
                        <a:t>, </a:t>
                      </a:r>
                      <a:r>
                        <a:rPr lang="en-US" sz="1500" dirty="0">
                          <a:effectLst/>
                        </a:rPr>
                        <a:t>Corporate Actuarial Analyst</a:t>
                      </a:r>
                      <a:r>
                        <a:rPr lang="en-IN" sz="1500" dirty="0">
                          <a:effectLst/>
                        </a:rPr>
                        <a:t>, Head of P&amp;C Reserving, Swiss Re</a:t>
                      </a:r>
                      <a:r>
                        <a:rPr lang="en-US" sz="1500" dirty="0">
                          <a:effectLst/>
                        </a:rPr>
                        <a:t>, India</a:t>
                      </a:r>
                      <a:endParaRPr lang="en-IN" sz="1500" dirty="0">
                        <a:effectLst/>
                      </a:endParaRPr>
                    </a:p>
                    <a:p>
                      <a:pPr algn="just">
                        <a:lnSpc>
                          <a:spcPct val="100000"/>
                        </a:lnSpc>
                        <a:spcAft>
                          <a:spcPts val="0"/>
                        </a:spcAft>
                      </a:pPr>
                      <a:r>
                        <a:rPr lang="en-US" sz="1500" b="1" dirty="0">
                          <a:effectLst/>
                        </a:rPr>
                        <a:t>Mr. </a:t>
                      </a:r>
                      <a:r>
                        <a:rPr lang="en-US" sz="1500" b="1" dirty="0" err="1">
                          <a:effectLst/>
                        </a:rPr>
                        <a:t>Mahipal</a:t>
                      </a:r>
                      <a:r>
                        <a:rPr lang="en-US" sz="1500" b="1" dirty="0">
                          <a:effectLst/>
                        </a:rPr>
                        <a:t> Choudhary, </a:t>
                      </a:r>
                      <a:r>
                        <a:rPr lang="en-US" sz="1500" dirty="0">
                          <a:effectLst/>
                        </a:rPr>
                        <a:t>Manager, P&amp;C Business Management, IFRS Actuarial Implementation</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3"/>
                  </a:ext>
                </a:extLst>
              </a:tr>
              <a:tr h="572979">
                <a:tc>
                  <a:txBody>
                    <a:bodyPr/>
                    <a:lstStyle/>
                    <a:p>
                      <a:pPr algn="ctr">
                        <a:spcAft>
                          <a:spcPts val="0"/>
                        </a:spcAft>
                      </a:pPr>
                      <a:r>
                        <a:rPr lang="en-IN" sz="1500" dirty="0">
                          <a:effectLst/>
                        </a:rPr>
                        <a:t>4</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05-40 PM to 05-55 PM</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Questions and Answers</a:t>
                      </a:r>
                    </a:p>
                    <a:p>
                      <a:pPr algn="just">
                        <a:spcAft>
                          <a:spcPts val="0"/>
                        </a:spcAft>
                      </a:pPr>
                      <a:r>
                        <a:rPr lang="en-IN" sz="1500">
                          <a:effectLst/>
                        </a:rPr>
                        <a:t>CPD Questions</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b="1" dirty="0" err="1">
                          <a:effectLst/>
                        </a:rPr>
                        <a:t>Mr.</a:t>
                      </a:r>
                      <a:r>
                        <a:rPr lang="en-IN" sz="1500" b="1" dirty="0">
                          <a:effectLst/>
                        </a:rPr>
                        <a:t> Ashwani Kumar Arora</a:t>
                      </a:r>
                      <a:r>
                        <a:rPr lang="en-IN" sz="1500" dirty="0">
                          <a:effectLst/>
                        </a:rPr>
                        <a:t>,</a:t>
                      </a:r>
                    </a:p>
                    <a:p>
                      <a:pPr algn="just">
                        <a:spcAft>
                          <a:spcPts val="0"/>
                        </a:spcAft>
                      </a:pPr>
                      <a:r>
                        <a:rPr lang="en-IN" sz="1500" dirty="0">
                          <a:effectLst/>
                        </a:rPr>
                        <a:t>Member, AGGI, IAI</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4"/>
                  </a:ext>
                </a:extLst>
              </a:tr>
              <a:tr h="572979">
                <a:tc>
                  <a:txBody>
                    <a:bodyPr/>
                    <a:lstStyle/>
                    <a:p>
                      <a:pPr algn="ctr">
                        <a:spcAft>
                          <a:spcPts val="0"/>
                        </a:spcAft>
                      </a:pPr>
                      <a:r>
                        <a:rPr lang="en-IN" sz="1500" dirty="0">
                          <a:effectLst/>
                        </a:rPr>
                        <a:t>5</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05-55 PM to 06-00 PM</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a:effectLst/>
                        </a:rPr>
                        <a:t>Closing Remarks</a:t>
                      </a:r>
                      <a:endParaRPr lang="en-IN" sz="1500">
                        <a:effectLst/>
                        <a:latin typeface="Times New Roman" panose="02020603050405020304" pitchFamily="18" charset="0"/>
                        <a:ea typeface="Times New Roman" panose="02020603050405020304" pitchFamily="18" charset="0"/>
                      </a:endParaRPr>
                    </a:p>
                  </a:txBody>
                  <a:tcPr marL="6287" marR="6287" marT="873" marB="0" anchor="ctr"/>
                </a:tc>
                <a:tc>
                  <a:txBody>
                    <a:bodyPr/>
                    <a:lstStyle/>
                    <a:p>
                      <a:pPr algn="just">
                        <a:spcAft>
                          <a:spcPts val="0"/>
                        </a:spcAft>
                      </a:pPr>
                      <a:r>
                        <a:rPr lang="en-IN" sz="1500" b="1" dirty="0" err="1">
                          <a:effectLst/>
                        </a:rPr>
                        <a:t>Mr.</a:t>
                      </a:r>
                      <a:r>
                        <a:rPr lang="en-IN" sz="1500" b="1" dirty="0">
                          <a:effectLst/>
                        </a:rPr>
                        <a:t> </a:t>
                      </a:r>
                      <a:r>
                        <a:rPr lang="en-IN" sz="1500" b="1" dirty="0" err="1">
                          <a:effectLst/>
                        </a:rPr>
                        <a:t>Sourav</a:t>
                      </a:r>
                      <a:r>
                        <a:rPr lang="en-IN" sz="1500" b="1" dirty="0">
                          <a:effectLst/>
                        </a:rPr>
                        <a:t> Roy, </a:t>
                      </a:r>
                    </a:p>
                    <a:p>
                      <a:pPr algn="just">
                        <a:spcAft>
                          <a:spcPts val="0"/>
                        </a:spcAft>
                      </a:pPr>
                      <a:r>
                        <a:rPr lang="en-IN" sz="1500" dirty="0">
                          <a:effectLst/>
                        </a:rPr>
                        <a:t>Secretary, AGGI, IAI </a:t>
                      </a:r>
                      <a:endParaRPr lang="en-IN" sz="1500" dirty="0">
                        <a:effectLst/>
                        <a:latin typeface="Times New Roman" panose="02020603050405020304" pitchFamily="18" charset="0"/>
                        <a:ea typeface="Times New Roman" panose="02020603050405020304" pitchFamily="18" charset="0"/>
                      </a:endParaRPr>
                    </a:p>
                  </a:txBody>
                  <a:tcPr marL="6287" marR="6287" marT="873" marB="0" anchor="ctr"/>
                </a:tc>
                <a:extLst>
                  <a:ext uri="{0D108BD9-81ED-4DB2-BD59-A6C34878D82A}">
                    <a16:rowId xmlns:a16="http://schemas.microsoft.com/office/drawing/2014/main" xmlns="" val="10005"/>
                  </a:ext>
                </a:extLst>
              </a:tr>
            </a:tbl>
          </a:graphicData>
        </a:graphic>
      </p:graphicFrame>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54441" y="174639"/>
            <a:ext cx="1085347" cy="1093347"/>
          </a:xfrm>
          <a:prstGeom prst="rect">
            <a:avLst/>
          </a:prstGeom>
          <a:blipFill dpi="0" rotWithShape="1">
            <a:blip r:embed="rId3" cstate="print"/>
            <a:srcRect/>
            <a:stretch>
              <a:fillRect/>
            </a:stretch>
          </a:blipFill>
        </p:spPr>
      </p:pic>
      <p:sp>
        <p:nvSpPr>
          <p:cNvPr id="6" name="Footer Placeholder 4"/>
          <p:cNvSpPr txBox="1">
            <a:spLocks/>
          </p:cNvSpPr>
          <p:nvPr/>
        </p:nvSpPr>
        <p:spPr>
          <a:xfrm>
            <a:off x="9601200" y="6324600"/>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www.actuariesindia.org</a:t>
            </a:r>
          </a:p>
        </p:txBody>
      </p:sp>
      <p:sp>
        <p:nvSpPr>
          <p:cNvPr id="7" name="Rectangle 2"/>
          <p:cNvSpPr txBox="1">
            <a:spLocks noChangeArrowheads="1"/>
          </p:cNvSpPr>
          <p:nvPr/>
        </p:nvSpPr>
        <p:spPr>
          <a:xfrm>
            <a:off x="1905000" y="296687"/>
            <a:ext cx="8077200" cy="1039811"/>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C00000"/>
                </a:solidFill>
                <a:effectLst/>
                <a:uLnTx/>
                <a:uFillTx/>
                <a:latin typeface="Calibri"/>
                <a:ea typeface="+mj-ea"/>
                <a:cs typeface="+mj-cs"/>
              </a:rPr>
              <a:t>Program Schedul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800" b="1" i="0" u="none" strike="noStrike" kern="0" cap="none" spc="0" normalizeH="0" baseline="0" noProof="0" dirty="0">
                <a:ln>
                  <a:noFill/>
                </a:ln>
                <a:solidFill>
                  <a:srgbClr val="C00000"/>
                </a:solidFill>
                <a:effectLst/>
                <a:uLnTx/>
                <a:uFillTx/>
                <a:latin typeface="Calibri"/>
                <a:ea typeface="+mj-ea"/>
                <a:cs typeface="+mj-cs"/>
              </a:rPr>
              <a:t>26 August 2021</a:t>
            </a:r>
            <a:endParaRPr kumimoji="0" lang="en-US" altLang="en-US" sz="1800" b="1" i="0" u="none" strike="noStrike" kern="0" cap="none" spc="0" normalizeH="0" baseline="0" noProof="0" dirty="0">
              <a:ln>
                <a:noFill/>
              </a:ln>
              <a:solidFill>
                <a:srgbClr val="C00000"/>
              </a:solidFill>
              <a:effectLst/>
              <a:uLnTx/>
              <a:uFillTx/>
              <a:latin typeface="Calibri"/>
              <a:ea typeface="+mj-ea"/>
              <a:cs typeface="+mj-cs"/>
            </a:endParaRPr>
          </a:p>
        </p:txBody>
      </p:sp>
    </p:spTree>
    <p:extLst>
      <p:ext uri="{BB962C8B-B14F-4D97-AF65-F5344CB8AC3E}">
        <p14:creationId xmlns:p14="http://schemas.microsoft.com/office/powerpoint/2010/main" val="26037883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A2FEE4C-4919-444E-9140-BD762414F7B5}"/>
              </a:ext>
            </a:extLst>
          </p:cNvPr>
          <p:cNvSpPr>
            <a:spLocks noGrp="1"/>
          </p:cNvSpPr>
          <p:nvPr>
            <p:ph type="title"/>
          </p:nvPr>
        </p:nvSpPr>
        <p:spPr>
          <a:xfrm>
            <a:off x="681896" y="223407"/>
            <a:ext cx="10655299" cy="692647"/>
          </a:xfrm>
        </p:spPr>
        <p:txBody>
          <a:bodyPr/>
          <a:lstStyle/>
          <a:p>
            <a:r>
              <a:rPr lang="en-GB" dirty="0">
                <a:solidFill>
                  <a:srgbClr val="0B4CB5"/>
                </a:solidFill>
              </a:rPr>
              <a:t>Fire 3 Years </a:t>
            </a:r>
            <a:r>
              <a:rPr lang="en-GB" dirty="0" err="1">
                <a:solidFill>
                  <a:srgbClr val="0B4CB5"/>
                </a:solidFill>
              </a:rPr>
              <a:t>XoL</a:t>
            </a:r>
            <a:r>
              <a:rPr lang="en-GB" dirty="0">
                <a:solidFill>
                  <a:srgbClr val="0B4CB5"/>
                </a:solidFill>
              </a:rPr>
              <a:t>… what happens really to the PC?</a:t>
            </a:r>
            <a:br>
              <a:rPr lang="en-GB" dirty="0">
                <a:solidFill>
                  <a:srgbClr val="0B4CB5"/>
                </a:solidFill>
              </a:rPr>
            </a:br>
            <a:r>
              <a:rPr lang="en-GB" sz="1800" i="1" dirty="0">
                <a:solidFill>
                  <a:srgbClr val="0B4CB5"/>
                </a:solidFill>
              </a:rPr>
              <a:t>Premium 1000, Gross LR @40%, </a:t>
            </a:r>
            <a:r>
              <a:rPr lang="en-GB" sz="1800" i="1" dirty="0" err="1">
                <a:solidFill>
                  <a:srgbClr val="0B4CB5"/>
                </a:solidFill>
              </a:rPr>
              <a:t>XoL</a:t>
            </a:r>
            <a:r>
              <a:rPr lang="en-GB" sz="1800" i="1" dirty="0">
                <a:solidFill>
                  <a:srgbClr val="0B4CB5"/>
                </a:solidFill>
              </a:rPr>
              <a:t>: 200xs100 at 50% </a:t>
            </a:r>
            <a:r>
              <a:rPr lang="en-GB" sz="1800" i="1" dirty="0" err="1">
                <a:solidFill>
                  <a:srgbClr val="0B4CB5"/>
                </a:solidFill>
              </a:rPr>
              <a:t>RoL</a:t>
            </a:r>
            <a:r>
              <a:rPr lang="en-GB" sz="1800" i="1" dirty="0">
                <a:solidFill>
                  <a:srgbClr val="0B4CB5"/>
                </a:solidFill>
              </a:rPr>
              <a:t> for 4 year return period</a:t>
            </a:r>
            <a:endParaRPr lang="en-GB" dirty="0">
              <a:solidFill>
                <a:srgbClr val="0B4CB5"/>
              </a:solidFill>
            </a:endParaRPr>
          </a:p>
        </p:txBody>
      </p:sp>
      <p:sp>
        <p:nvSpPr>
          <p:cNvPr id="2" name="Content Placeholder 1">
            <a:extLst>
              <a:ext uri="{FF2B5EF4-FFF2-40B4-BE49-F238E27FC236}">
                <a16:creationId xmlns:a16="http://schemas.microsoft.com/office/drawing/2014/main" xmlns="" id="{8B7729FD-6B47-44EE-8D3C-D0E0889AD38B}"/>
              </a:ext>
            </a:extLst>
          </p:cNvPr>
          <p:cNvSpPr>
            <a:spLocks noGrp="1"/>
          </p:cNvSpPr>
          <p:nvPr>
            <p:ph idx="1"/>
          </p:nvPr>
        </p:nvSpPr>
        <p:spPr>
          <a:xfrm>
            <a:off x="5464701" y="1383793"/>
            <a:ext cx="5919356" cy="4640262"/>
          </a:xfrm>
        </p:spPr>
        <p:txBody>
          <a:bodyPr/>
          <a:lstStyle/>
          <a:p>
            <a:pPr marL="0" indent="0">
              <a:buNone/>
            </a:pPr>
            <a:r>
              <a:rPr lang="en-GB" sz="1200" dirty="0"/>
              <a:t>Initial view: all numbers are “planned”</a:t>
            </a:r>
          </a:p>
          <a:p>
            <a:pPr marL="0" indent="0">
              <a:buNone/>
            </a:pPr>
            <a:endParaRPr lang="en-GB" sz="1200" dirty="0"/>
          </a:p>
          <a:p>
            <a:pPr marL="0" indent="0">
              <a:buNone/>
            </a:pPr>
            <a:endParaRPr lang="en-GB" sz="800" dirty="0"/>
          </a:p>
          <a:p>
            <a:pPr marL="0" indent="0">
              <a:buNone/>
            </a:pPr>
            <a:endParaRPr lang="en-GB" sz="800" dirty="0"/>
          </a:p>
          <a:p>
            <a:pPr marL="0" indent="0">
              <a:buNone/>
            </a:pPr>
            <a:endParaRPr lang="en-GB" sz="800" dirty="0"/>
          </a:p>
          <a:p>
            <a:pPr marL="0" indent="0">
              <a:buNone/>
            </a:pPr>
            <a:endParaRPr lang="en-GB" sz="800" dirty="0"/>
          </a:p>
          <a:p>
            <a:pPr marL="0" indent="0">
              <a:buNone/>
            </a:pPr>
            <a:r>
              <a:rPr lang="en-GB" sz="1200" dirty="0"/>
              <a:t>End of Year 1: no claims in Y1, rest is still with planned numbers</a:t>
            </a:r>
          </a:p>
          <a:p>
            <a:pPr marL="0" indent="0">
              <a:buNone/>
            </a:pPr>
            <a:endParaRPr lang="en-GB" sz="1050" dirty="0"/>
          </a:p>
          <a:p>
            <a:pPr marL="0" indent="0">
              <a:buNone/>
            </a:pPr>
            <a:endParaRPr lang="en-GB" sz="1050" dirty="0"/>
          </a:p>
          <a:p>
            <a:pPr marL="0" indent="0">
              <a:buNone/>
            </a:pPr>
            <a:endParaRPr lang="en-GB" sz="700" dirty="0"/>
          </a:p>
          <a:p>
            <a:pPr marL="0" indent="0">
              <a:buNone/>
            </a:pPr>
            <a:endParaRPr lang="en-GB" sz="700" dirty="0"/>
          </a:p>
          <a:p>
            <a:pPr marL="0" indent="0">
              <a:buNone/>
            </a:pPr>
            <a:r>
              <a:rPr lang="en-GB" sz="1200" dirty="0"/>
              <a:t>End of Y2, the large claim occurred</a:t>
            </a:r>
          </a:p>
          <a:p>
            <a:pPr marL="2286000" lvl="5" indent="0">
              <a:buNone/>
            </a:pPr>
            <a:endParaRPr lang="en-GB" sz="1200" dirty="0"/>
          </a:p>
          <a:p>
            <a:pPr marL="2286000" lvl="5" indent="0">
              <a:buNone/>
            </a:pPr>
            <a:r>
              <a:rPr lang="en-GB" sz="1200" dirty="0"/>
              <a:t>   Year 3: Net UW result remains unchanged</a:t>
            </a:r>
          </a:p>
          <a:p>
            <a:pPr marL="0" indent="0">
              <a:buNone/>
            </a:pPr>
            <a:endParaRPr lang="en-GB" sz="1200" dirty="0"/>
          </a:p>
        </p:txBody>
      </p:sp>
      <p:pic>
        <p:nvPicPr>
          <p:cNvPr id="9" name="Picture 8">
            <a:extLst>
              <a:ext uri="{FF2B5EF4-FFF2-40B4-BE49-F238E27FC236}">
                <a16:creationId xmlns:a16="http://schemas.microsoft.com/office/drawing/2014/main" xmlns="" id="{D5230731-9AF4-4AC1-B810-ABA66D8D43A6}"/>
              </a:ext>
            </a:extLst>
          </p:cNvPr>
          <p:cNvPicPr>
            <a:picLocks noChangeAspect="1"/>
          </p:cNvPicPr>
          <p:nvPr/>
        </p:nvPicPr>
        <p:blipFill>
          <a:blip r:embed="rId2"/>
          <a:stretch>
            <a:fillRect/>
          </a:stretch>
        </p:blipFill>
        <p:spPr>
          <a:xfrm>
            <a:off x="5644342" y="1697610"/>
            <a:ext cx="2156921" cy="1212038"/>
          </a:xfrm>
          <a:prstGeom prst="rect">
            <a:avLst/>
          </a:prstGeom>
        </p:spPr>
      </p:pic>
      <p:pic>
        <p:nvPicPr>
          <p:cNvPr id="10" name="Picture 9">
            <a:extLst>
              <a:ext uri="{FF2B5EF4-FFF2-40B4-BE49-F238E27FC236}">
                <a16:creationId xmlns:a16="http://schemas.microsoft.com/office/drawing/2014/main" xmlns="" id="{FA0F390D-2455-4634-93FF-49211D7030A3}"/>
              </a:ext>
            </a:extLst>
          </p:cNvPr>
          <p:cNvPicPr>
            <a:picLocks noChangeAspect="1"/>
          </p:cNvPicPr>
          <p:nvPr/>
        </p:nvPicPr>
        <p:blipFill>
          <a:blip r:embed="rId3"/>
          <a:stretch>
            <a:fillRect/>
          </a:stretch>
        </p:blipFill>
        <p:spPr>
          <a:xfrm>
            <a:off x="5644341" y="3450111"/>
            <a:ext cx="2156921" cy="1214850"/>
          </a:xfrm>
          <a:prstGeom prst="rect">
            <a:avLst/>
          </a:prstGeom>
        </p:spPr>
      </p:pic>
      <p:sp>
        <p:nvSpPr>
          <p:cNvPr id="11" name="Content Placeholder 1">
            <a:extLst>
              <a:ext uri="{FF2B5EF4-FFF2-40B4-BE49-F238E27FC236}">
                <a16:creationId xmlns:a16="http://schemas.microsoft.com/office/drawing/2014/main" xmlns="" id="{3CC226B5-9B4B-4BAB-88C0-6AB6EC5F8C1B}"/>
              </a:ext>
            </a:extLst>
          </p:cNvPr>
          <p:cNvSpPr txBox="1">
            <a:spLocks/>
          </p:cNvSpPr>
          <p:nvPr/>
        </p:nvSpPr>
        <p:spPr bwMode="black">
          <a:xfrm>
            <a:off x="681896" y="1631542"/>
            <a:ext cx="4962446" cy="4392513"/>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dirty="0">
                <a:latin typeface="+mn-lt"/>
                <a:ea typeface="DengXian" panose="02010600030101010101" pitchFamily="2" charset="-122"/>
              </a:rPr>
              <a:t>Initial view: all numbers are “planned”</a:t>
            </a:r>
          </a:p>
          <a:p>
            <a:pPr lvl="1"/>
            <a:r>
              <a:rPr lang="en-GB" sz="1200" dirty="0">
                <a:latin typeface="+mn-lt"/>
                <a:ea typeface="DengXian" panose="02010600030101010101" pitchFamily="2" charset="-122"/>
              </a:rPr>
              <a:t>Ceded premium: 100 each year</a:t>
            </a:r>
          </a:p>
          <a:p>
            <a:pPr lvl="1"/>
            <a:r>
              <a:rPr lang="en-GB" sz="1200" dirty="0">
                <a:latin typeface="+mn-lt"/>
                <a:ea typeface="DengXian" panose="02010600030101010101" pitchFamily="2" charset="-122"/>
              </a:rPr>
              <a:t>Ceded claims: 50 each year</a:t>
            </a:r>
          </a:p>
          <a:p>
            <a:pPr lvl="1"/>
            <a:r>
              <a:rPr lang="en-GB" sz="1200" dirty="0">
                <a:latin typeface="+mn-lt"/>
                <a:ea typeface="DengXian" panose="02010600030101010101" pitchFamily="2" charset="-122"/>
              </a:rPr>
              <a:t>Reinstatement premium: 25 each year</a:t>
            </a:r>
          </a:p>
          <a:p>
            <a:pPr lvl="1"/>
            <a:r>
              <a:rPr lang="en-GB" sz="1200" dirty="0">
                <a:latin typeface="+mn-lt"/>
                <a:ea typeface="DengXian" panose="02010600030101010101" pitchFamily="2" charset="-122"/>
              </a:rPr>
              <a:t>PC: 50% of upfront premium + </a:t>
            </a:r>
            <a:r>
              <a:rPr lang="en-GB" sz="1200" dirty="0" err="1">
                <a:latin typeface="+mn-lt"/>
                <a:ea typeface="DengXian" panose="02010600030101010101" pitchFamily="2" charset="-122"/>
              </a:rPr>
              <a:t>reinst</a:t>
            </a:r>
            <a:r>
              <a:rPr lang="en-GB" sz="1200" dirty="0">
                <a:latin typeface="+mn-lt"/>
                <a:ea typeface="DengXian" panose="02010600030101010101" pitchFamily="2" charset="-122"/>
              </a:rPr>
              <a:t> prem – claims = 75</a:t>
            </a:r>
          </a:p>
          <a:p>
            <a:pPr marL="0" indent="0">
              <a:buNone/>
            </a:pPr>
            <a:endParaRPr lang="en-GB" sz="1400" dirty="0">
              <a:latin typeface="+mn-lt"/>
              <a:ea typeface="DengXian" panose="02010600030101010101" pitchFamily="2" charset="-122"/>
            </a:endParaRPr>
          </a:p>
          <a:p>
            <a:r>
              <a:rPr lang="en-GB" sz="1400" b="1" dirty="0">
                <a:solidFill>
                  <a:schemeClr val="tx2"/>
                </a:solidFill>
                <a:latin typeface="+mn-lt"/>
                <a:ea typeface="DengXian" panose="02010600030101010101" pitchFamily="2" charset="-122"/>
              </a:rPr>
              <a:t>Large claims:</a:t>
            </a:r>
          </a:p>
          <a:p>
            <a:pPr lvl="1"/>
            <a:r>
              <a:rPr lang="en-GB" sz="1200" dirty="0">
                <a:latin typeface="+mn-lt"/>
                <a:ea typeface="DengXian" panose="02010600030101010101" pitchFamily="2" charset="-122"/>
              </a:rPr>
              <a:t>No claim in Y1 =&gt; PC accumulates more than planned</a:t>
            </a:r>
          </a:p>
          <a:p>
            <a:pPr lvl="1"/>
            <a:r>
              <a:rPr lang="en-GB" sz="1200" b="1" dirty="0">
                <a:solidFill>
                  <a:schemeClr val="tx2"/>
                </a:solidFill>
                <a:latin typeface="+mn-lt"/>
                <a:ea typeface="DengXian" panose="02010600030101010101" pitchFamily="2" charset="-122"/>
              </a:rPr>
              <a:t>Large claim in Y2: 150 ; 75 </a:t>
            </a:r>
            <a:r>
              <a:rPr lang="en-GB" sz="1200" b="1" dirty="0" err="1">
                <a:solidFill>
                  <a:schemeClr val="tx2"/>
                </a:solidFill>
                <a:latin typeface="+mn-lt"/>
                <a:ea typeface="DengXian" panose="02010600030101010101" pitchFamily="2" charset="-122"/>
              </a:rPr>
              <a:t>reinst</a:t>
            </a:r>
            <a:r>
              <a:rPr lang="en-GB" sz="1200" b="1" dirty="0">
                <a:solidFill>
                  <a:schemeClr val="tx2"/>
                </a:solidFill>
                <a:latin typeface="+mn-lt"/>
                <a:ea typeface="DengXian" panose="02010600030101010101" pitchFamily="2" charset="-122"/>
              </a:rPr>
              <a:t> prem</a:t>
            </a:r>
          </a:p>
          <a:p>
            <a:pPr lvl="1"/>
            <a:r>
              <a:rPr lang="en-GB" sz="1200" dirty="0">
                <a:latin typeface="+mn-lt"/>
                <a:ea typeface="DengXian" panose="02010600030101010101" pitchFamily="2" charset="-122"/>
              </a:rPr>
              <a:t>No claim in Y3</a:t>
            </a:r>
          </a:p>
        </p:txBody>
      </p:sp>
      <p:pic>
        <p:nvPicPr>
          <p:cNvPr id="13" name="Picture 12">
            <a:extLst>
              <a:ext uri="{FF2B5EF4-FFF2-40B4-BE49-F238E27FC236}">
                <a16:creationId xmlns:a16="http://schemas.microsoft.com/office/drawing/2014/main" xmlns="" id="{AF4E20A1-4777-46DB-B364-5711942C341E}"/>
              </a:ext>
            </a:extLst>
          </p:cNvPr>
          <p:cNvPicPr>
            <a:picLocks noChangeAspect="1"/>
          </p:cNvPicPr>
          <p:nvPr/>
        </p:nvPicPr>
        <p:blipFill>
          <a:blip r:embed="rId4"/>
          <a:stretch>
            <a:fillRect/>
          </a:stretch>
        </p:blipFill>
        <p:spPr>
          <a:xfrm>
            <a:off x="5644340" y="4887038"/>
            <a:ext cx="2156921" cy="1203085"/>
          </a:xfrm>
          <a:prstGeom prst="rect">
            <a:avLst/>
          </a:prstGeom>
        </p:spPr>
      </p:pic>
      <p:sp>
        <p:nvSpPr>
          <p:cNvPr id="12" name="Content Placeholder 1">
            <a:extLst>
              <a:ext uri="{FF2B5EF4-FFF2-40B4-BE49-F238E27FC236}">
                <a16:creationId xmlns:a16="http://schemas.microsoft.com/office/drawing/2014/main" xmlns="" id="{A490F4E3-DC1A-460A-8A29-93D33D333041}"/>
              </a:ext>
            </a:extLst>
          </p:cNvPr>
          <p:cNvSpPr txBox="1">
            <a:spLocks/>
          </p:cNvSpPr>
          <p:nvPr/>
        </p:nvSpPr>
        <p:spPr bwMode="black">
          <a:xfrm>
            <a:off x="5854383" y="1134464"/>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t>Current IFRS</a:t>
            </a:r>
          </a:p>
          <a:p>
            <a:pPr marL="0" indent="0">
              <a:buNone/>
            </a:pPr>
            <a:endParaRPr lang="en-GB" sz="900" dirty="0"/>
          </a:p>
          <a:p>
            <a:pPr marL="0" indent="0">
              <a:buNone/>
            </a:pPr>
            <a:endParaRPr lang="en-GB" sz="900" dirty="0"/>
          </a:p>
          <a:p>
            <a:pPr marL="0" indent="0">
              <a:buNone/>
            </a:pPr>
            <a:endParaRPr lang="en-GB" sz="1400" dirty="0"/>
          </a:p>
          <a:p>
            <a:pPr marL="0" indent="0">
              <a:buNone/>
            </a:pPr>
            <a:endParaRPr lang="en-GB" sz="1400" dirty="0"/>
          </a:p>
        </p:txBody>
      </p:sp>
      <p:pic>
        <p:nvPicPr>
          <p:cNvPr id="14" name="Picture 13">
            <a:extLst>
              <a:ext uri="{FF2B5EF4-FFF2-40B4-BE49-F238E27FC236}">
                <a16:creationId xmlns:a16="http://schemas.microsoft.com/office/drawing/2014/main" xmlns="" id="{9AAFD247-E9C3-421C-861A-03D74EF2693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510834" y="6110194"/>
            <a:ext cx="634884" cy="639563"/>
          </a:xfrm>
          <a:prstGeom prst="rect">
            <a:avLst/>
          </a:prstGeom>
        </p:spPr>
      </p:pic>
    </p:spTree>
    <p:extLst>
      <p:ext uri="{BB962C8B-B14F-4D97-AF65-F5344CB8AC3E}">
        <p14:creationId xmlns:p14="http://schemas.microsoft.com/office/powerpoint/2010/main" val="598834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10A481A-598B-42C7-BB76-30CD8097E7D0}"/>
              </a:ext>
            </a:extLst>
          </p:cNvPr>
          <p:cNvSpPr>
            <a:spLocks noGrp="1"/>
          </p:cNvSpPr>
          <p:nvPr>
            <p:ph type="title"/>
          </p:nvPr>
        </p:nvSpPr>
        <p:spPr>
          <a:xfrm>
            <a:off x="568326" y="248636"/>
            <a:ext cx="11055348" cy="1143000"/>
          </a:xfrm>
        </p:spPr>
        <p:txBody>
          <a:bodyPr/>
          <a:lstStyle/>
          <a:p>
            <a:r>
              <a:rPr lang="en-GB" sz="2000" i="1" dirty="0">
                <a:solidFill>
                  <a:srgbClr val="0B4CB5"/>
                </a:solidFill>
              </a:rPr>
              <a:t>MYML with PC and adverse claims</a:t>
            </a:r>
            <a:r>
              <a:rPr lang="en-GB" dirty="0">
                <a:solidFill>
                  <a:srgbClr val="0B4CB5"/>
                </a:solidFill>
              </a:rPr>
              <a:t/>
            </a:r>
            <a:br>
              <a:rPr lang="en-GB" dirty="0">
                <a:solidFill>
                  <a:srgbClr val="0B4CB5"/>
                </a:solidFill>
              </a:rPr>
            </a:br>
            <a:r>
              <a:rPr lang="en-GB" dirty="0">
                <a:solidFill>
                  <a:srgbClr val="0B4CB5"/>
                </a:solidFill>
              </a:rPr>
              <a:t>Initial</a:t>
            </a:r>
          </a:p>
        </p:txBody>
      </p:sp>
      <p:pic>
        <p:nvPicPr>
          <p:cNvPr id="5" name="Picture 4">
            <a:extLst>
              <a:ext uri="{FF2B5EF4-FFF2-40B4-BE49-F238E27FC236}">
                <a16:creationId xmlns:a16="http://schemas.microsoft.com/office/drawing/2014/main" xmlns="" id="{D1B72F2C-4A5E-418D-9634-713A5E94C747}"/>
              </a:ext>
            </a:extLst>
          </p:cNvPr>
          <p:cNvPicPr>
            <a:picLocks noChangeAspect="1"/>
          </p:cNvPicPr>
          <p:nvPr/>
        </p:nvPicPr>
        <p:blipFill>
          <a:blip r:embed="rId2"/>
          <a:stretch>
            <a:fillRect/>
          </a:stretch>
        </p:blipFill>
        <p:spPr>
          <a:xfrm>
            <a:off x="7200957" y="782081"/>
            <a:ext cx="4293065" cy="4765434"/>
          </a:xfrm>
          <a:prstGeom prst="rect">
            <a:avLst/>
          </a:prstGeom>
        </p:spPr>
      </p:pic>
      <p:sp>
        <p:nvSpPr>
          <p:cNvPr id="8" name="Rectangle: Rounded Corners 7">
            <a:extLst>
              <a:ext uri="{FF2B5EF4-FFF2-40B4-BE49-F238E27FC236}">
                <a16:creationId xmlns:a16="http://schemas.microsoft.com/office/drawing/2014/main" xmlns="" id="{25219D13-84F7-4F09-BA3D-2268B78B4F02}"/>
              </a:ext>
            </a:extLst>
          </p:cNvPr>
          <p:cNvSpPr/>
          <p:nvPr/>
        </p:nvSpPr>
        <p:spPr>
          <a:xfrm>
            <a:off x="8098271" y="437758"/>
            <a:ext cx="1774768" cy="5147893"/>
          </a:xfrm>
          <a:prstGeom prst="roundRect">
            <a:avLst>
              <a:gd name="adj" fmla="val 4637"/>
            </a:avLst>
          </a:prstGeom>
          <a:solidFill>
            <a:srgbClr val="D1DCD6">
              <a:alpha val="20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400">
                <a:solidFill>
                  <a:schemeClr val="tx1"/>
                </a:solidFill>
                <a:latin typeface="SwissReSans Light" panose="020B0504020202020204" pitchFamily="34" charset="0"/>
              </a:rPr>
              <a:t>Expected</a:t>
            </a:r>
          </a:p>
        </p:txBody>
      </p:sp>
      <p:sp>
        <p:nvSpPr>
          <p:cNvPr id="7" name="Content Placeholder 1">
            <a:extLst>
              <a:ext uri="{FF2B5EF4-FFF2-40B4-BE49-F238E27FC236}">
                <a16:creationId xmlns:a16="http://schemas.microsoft.com/office/drawing/2014/main" xmlns="" id="{E80FF343-A176-4AC7-9381-3C79A7312141}"/>
              </a:ext>
            </a:extLst>
          </p:cNvPr>
          <p:cNvSpPr txBox="1">
            <a:spLocks/>
          </p:cNvSpPr>
          <p:nvPr/>
        </p:nvSpPr>
        <p:spPr bwMode="black">
          <a:xfrm>
            <a:off x="775078" y="3933056"/>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Current IFRS</a:t>
            </a:r>
          </a:p>
          <a:p>
            <a:pPr marL="0" indent="0">
              <a:buNone/>
            </a:pPr>
            <a:endParaRPr lang="en-GB" sz="900" dirty="0">
              <a:latin typeface="+mn-lt"/>
            </a:endParaRPr>
          </a:p>
          <a:p>
            <a:pPr marL="0" indent="0">
              <a:buNone/>
            </a:pPr>
            <a:endParaRPr lang="en-GB" sz="900" dirty="0">
              <a:latin typeface="+mn-lt"/>
            </a:endParaRPr>
          </a:p>
          <a:p>
            <a:pPr marL="0" indent="0">
              <a:buNone/>
            </a:pPr>
            <a:endParaRPr lang="en-GB" sz="1400" dirty="0">
              <a:latin typeface="+mn-lt"/>
            </a:endParaRPr>
          </a:p>
          <a:p>
            <a:pPr marL="0" indent="0">
              <a:buNone/>
            </a:pPr>
            <a:endParaRPr lang="en-GB" sz="1400" dirty="0">
              <a:latin typeface="+mn-lt"/>
            </a:endParaRPr>
          </a:p>
        </p:txBody>
      </p:sp>
      <p:sp>
        <p:nvSpPr>
          <p:cNvPr id="11" name="Content Placeholder 1">
            <a:extLst>
              <a:ext uri="{FF2B5EF4-FFF2-40B4-BE49-F238E27FC236}">
                <a16:creationId xmlns:a16="http://schemas.microsoft.com/office/drawing/2014/main" xmlns="" id="{E88BCCC9-4197-4BCB-8E43-23339B459CF5}"/>
              </a:ext>
            </a:extLst>
          </p:cNvPr>
          <p:cNvSpPr txBox="1">
            <a:spLocks/>
          </p:cNvSpPr>
          <p:nvPr/>
        </p:nvSpPr>
        <p:spPr bwMode="black">
          <a:xfrm>
            <a:off x="688038" y="1268349"/>
            <a:ext cx="4962446" cy="359277"/>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All numbers are “planned”</a:t>
            </a:r>
          </a:p>
          <a:p>
            <a:pPr marL="0" indent="0">
              <a:buNone/>
            </a:pPr>
            <a:endParaRPr lang="en-GB" sz="1400" dirty="0">
              <a:latin typeface="+mn-lt"/>
            </a:endParaRPr>
          </a:p>
        </p:txBody>
      </p:sp>
      <p:graphicFrame>
        <p:nvGraphicFramePr>
          <p:cNvPr id="6" name="Table 12">
            <a:extLst>
              <a:ext uri="{FF2B5EF4-FFF2-40B4-BE49-F238E27FC236}">
                <a16:creationId xmlns:a16="http://schemas.microsoft.com/office/drawing/2014/main" xmlns="" id="{32862336-7488-4AA0-9915-B23B58A067CB}"/>
              </a:ext>
            </a:extLst>
          </p:cNvPr>
          <p:cNvGraphicFramePr>
            <a:graphicFrameLocks noGrp="1"/>
          </p:cNvGraphicFramePr>
          <p:nvPr/>
        </p:nvGraphicFramePr>
        <p:xfrm>
          <a:off x="688038" y="1563578"/>
          <a:ext cx="4778382" cy="2103781"/>
        </p:xfrm>
        <a:graphic>
          <a:graphicData uri="http://schemas.openxmlformats.org/drawingml/2006/table">
            <a:tbl>
              <a:tblPr firstRow="1" bandRow="1"/>
              <a:tblGrid>
                <a:gridCol w="3625949">
                  <a:extLst>
                    <a:ext uri="{9D8B030D-6E8A-4147-A177-3AD203B41FA5}">
                      <a16:colId xmlns:a16="http://schemas.microsoft.com/office/drawing/2014/main" xmlns="" val="413207125"/>
                    </a:ext>
                  </a:extLst>
                </a:gridCol>
                <a:gridCol w="1152433">
                  <a:extLst>
                    <a:ext uri="{9D8B030D-6E8A-4147-A177-3AD203B41FA5}">
                      <a16:colId xmlns:a16="http://schemas.microsoft.com/office/drawing/2014/main" xmlns="" val="2060198094"/>
                    </a:ext>
                  </a:extLst>
                </a:gridCol>
              </a:tblGrid>
              <a:tr h="230776">
                <a:tc>
                  <a:txBody>
                    <a:bodyPr/>
                    <a:lstStyle/>
                    <a:p>
                      <a:r>
                        <a:rPr lang="en-GB" sz="1100">
                          <a:latin typeface="+mn-lt"/>
                        </a:rPr>
                        <a:t>KPI</a:t>
                      </a:r>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tc>
                  <a:txBody>
                    <a:bodyPr/>
                    <a:lstStyle/>
                    <a:p>
                      <a:r>
                        <a:rPr lang="en-GB" sz="1100">
                          <a:latin typeface="+mn-lt"/>
                        </a:rPr>
                        <a:t>Each Year</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4083775192"/>
                  </a:ext>
                </a:extLst>
              </a:tr>
              <a:tr h="230776">
                <a:tc>
                  <a:txBody>
                    <a:bodyPr/>
                    <a:lstStyle/>
                    <a:p>
                      <a:r>
                        <a:rPr lang="en-GB" sz="1100" dirty="0">
                          <a:latin typeface="+mn-lt"/>
                        </a:rPr>
                        <a:t>Gross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10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1493429434"/>
                  </a:ext>
                </a:extLst>
              </a:tr>
              <a:tr h="230776">
                <a:tc>
                  <a:txBody>
                    <a:bodyPr/>
                    <a:lstStyle/>
                    <a:p>
                      <a:r>
                        <a:rPr lang="en-GB" sz="1100">
                          <a:latin typeface="+mn-lt"/>
                        </a:rPr>
                        <a:t>Gross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4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3887538142"/>
                  </a:ext>
                </a:extLst>
              </a:tr>
              <a:tr h="290221">
                <a:tc>
                  <a:txBody>
                    <a:bodyPr/>
                    <a:lstStyle/>
                    <a:p>
                      <a:r>
                        <a:rPr lang="en-GB" sz="1100">
                          <a:latin typeface="+mn-lt"/>
                        </a:rPr>
                        <a:t>Gross expense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4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924814871"/>
                  </a:ext>
                </a:extLst>
              </a:tr>
              <a:tr h="230776">
                <a:tc>
                  <a:txBody>
                    <a:bodyPr/>
                    <a:lstStyle/>
                    <a:p>
                      <a:r>
                        <a:rPr lang="en-GB" sz="1100">
                          <a:latin typeface="+mn-lt"/>
                        </a:rPr>
                        <a:t>Ceded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1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439580221"/>
                  </a:ext>
                </a:extLst>
              </a:tr>
              <a:tr h="230776">
                <a:tc>
                  <a:txBody>
                    <a:bodyPr/>
                    <a:lstStyle/>
                    <a:p>
                      <a:r>
                        <a:rPr lang="en-GB" sz="1100">
                          <a:latin typeface="+mn-lt"/>
                        </a:rPr>
                        <a:t>Ceded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56060864"/>
                  </a:ext>
                </a:extLst>
              </a:tr>
              <a:tr h="230776">
                <a:tc>
                  <a:txBody>
                    <a:bodyPr/>
                    <a:lstStyle/>
                    <a:p>
                      <a:r>
                        <a:rPr lang="en-GB" sz="1100">
                          <a:latin typeface="+mn-lt"/>
                        </a:rPr>
                        <a:t>Reinstatement premium </a:t>
                      </a:r>
                      <a:r>
                        <a:rPr lang="en-GB" sz="1100" kern="1200">
                          <a:solidFill>
                            <a:schemeClr val="tx1"/>
                          </a:solidFill>
                          <a:latin typeface="+mn-lt"/>
                          <a:ea typeface="+mn-ea"/>
                          <a:cs typeface="+mn-cs"/>
                        </a:rPr>
                        <a:t>(50% </a:t>
                      </a:r>
                      <a:r>
                        <a:rPr lang="en-GB" sz="1100" kern="1200" err="1">
                          <a:solidFill>
                            <a:schemeClr val="tx1"/>
                          </a:solidFill>
                          <a:latin typeface="+mn-lt"/>
                          <a:ea typeface="+mn-ea"/>
                          <a:cs typeface="+mn-cs"/>
                        </a:rPr>
                        <a:t>RoL</a:t>
                      </a:r>
                      <a:r>
                        <a:rPr lang="en-GB" sz="1100" kern="1200">
                          <a:solidFill>
                            <a:schemeClr val="tx1"/>
                          </a:solidFill>
                          <a:latin typeface="+mn-lt"/>
                          <a:ea typeface="+mn-ea"/>
                          <a:cs typeface="+mn-cs"/>
                        </a:rPr>
                        <a:t>)</a:t>
                      </a:r>
                      <a:endParaRPr lang="en-GB" sz="1100">
                        <a:latin typeface="+mn-lt"/>
                      </a:endParaRPr>
                    </a:p>
                  </a:txBody>
                  <a:tcPr>
                    <a:lnL w="12700" cap="flat" cmpd="sng" algn="ctr">
                      <a:solidFill>
                        <a:schemeClr val="bg1">
                          <a:lumMod val="65000"/>
                        </a:schemeClr>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n-lt"/>
                        </a:rPr>
                        <a:t>25</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4027452866"/>
                  </a:ext>
                </a:extLst>
              </a:tr>
              <a:tr h="236745">
                <a:tc>
                  <a:txBody>
                    <a:bodyPr/>
                    <a:lstStyle/>
                    <a:p>
                      <a:r>
                        <a:rPr lang="en-GB" sz="1100" dirty="0">
                          <a:latin typeface="+mn-lt"/>
                        </a:rPr>
                        <a:t>PC  [50% of upfront premium + </a:t>
                      </a:r>
                      <a:r>
                        <a:rPr lang="en-GB" sz="1100" dirty="0" err="1">
                          <a:latin typeface="+mn-lt"/>
                        </a:rPr>
                        <a:t>reinst</a:t>
                      </a:r>
                      <a:r>
                        <a:rPr lang="en-GB" sz="1100" dirty="0">
                          <a:latin typeface="+mn-lt"/>
                        </a:rPr>
                        <a:t> prem – claims] </a:t>
                      </a:r>
                    </a:p>
                  </a:txBody>
                  <a:tcP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tcPr>
                </a:tc>
                <a:tc>
                  <a:txBody>
                    <a:bodyPr/>
                    <a:lstStyle/>
                    <a:p>
                      <a:r>
                        <a:rPr lang="en-GB" sz="1100" dirty="0">
                          <a:latin typeface="+mn-lt"/>
                        </a:rPr>
                        <a:t>25</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95036298"/>
                  </a:ext>
                </a:extLst>
              </a:tr>
            </a:tbl>
          </a:graphicData>
        </a:graphic>
      </p:graphicFrame>
      <p:sp>
        <p:nvSpPr>
          <p:cNvPr id="14" name="Content Placeholder 1">
            <a:extLst>
              <a:ext uri="{FF2B5EF4-FFF2-40B4-BE49-F238E27FC236}">
                <a16:creationId xmlns:a16="http://schemas.microsoft.com/office/drawing/2014/main" xmlns="" id="{FDA188A1-D8C7-4081-BC55-5A6A9291ED11}"/>
              </a:ext>
            </a:extLst>
          </p:cNvPr>
          <p:cNvSpPr txBox="1">
            <a:spLocks/>
          </p:cNvSpPr>
          <p:nvPr/>
        </p:nvSpPr>
        <p:spPr bwMode="black">
          <a:xfrm>
            <a:off x="7303043" y="44624"/>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IFRS 17</a:t>
            </a:r>
          </a:p>
          <a:p>
            <a:pPr marL="0" indent="0">
              <a:buNone/>
            </a:pPr>
            <a:endParaRPr lang="en-GB" sz="900" dirty="0">
              <a:latin typeface="+mn-lt"/>
            </a:endParaRPr>
          </a:p>
          <a:p>
            <a:pPr marL="0" indent="0">
              <a:buNone/>
            </a:pPr>
            <a:endParaRPr lang="en-GB" sz="900" dirty="0">
              <a:latin typeface="+mn-lt"/>
            </a:endParaRPr>
          </a:p>
          <a:p>
            <a:pPr marL="0" indent="0">
              <a:buNone/>
            </a:pPr>
            <a:endParaRPr lang="en-GB" sz="1400" dirty="0">
              <a:latin typeface="+mn-lt"/>
            </a:endParaRPr>
          </a:p>
          <a:p>
            <a:pPr marL="0" indent="0">
              <a:buNone/>
            </a:pPr>
            <a:endParaRPr lang="en-GB" sz="1400" dirty="0">
              <a:latin typeface="+mn-lt"/>
            </a:endParaRPr>
          </a:p>
        </p:txBody>
      </p:sp>
      <p:sp>
        <p:nvSpPr>
          <p:cNvPr id="2" name="Arrow: Left-Right 1">
            <a:extLst>
              <a:ext uri="{FF2B5EF4-FFF2-40B4-BE49-F238E27FC236}">
                <a16:creationId xmlns:a16="http://schemas.microsoft.com/office/drawing/2014/main" xmlns="" id="{C370F7E3-03E7-422A-BC01-0AADCF4EFA7B}"/>
              </a:ext>
            </a:extLst>
          </p:cNvPr>
          <p:cNvSpPr/>
          <p:nvPr/>
        </p:nvSpPr>
        <p:spPr>
          <a:xfrm>
            <a:off x="3979249" y="4517350"/>
            <a:ext cx="3124863" cy="1045209"/>
          </a:xfrm>
          <a:prstGeom prst="leftRightArrow">
            <a:avLst>
              <a:gd name="adj1" fmla="val 71301"/>
              <a:gd name="adj2" fmla="val 50000"/>
            </a:avLst>
          </a:prstGeom>
          <a:solidFill>
            <a:srgbClr val="0B4C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Similar values </a:t>
            </a:r>
            <a:r>
              <a:rPr lang="en-GB" sz="1400" dirty="0"/>
              <a:t>between IFRS4 Net UW result  and IFRS17 Ins. service result</a:t>
            </a:r>
          </a:p>
        </p:txBody>
      </p:sp>
      <p:pic>
        <p:nvPicPr>
          <p:cNvPr id="12" name="Picture 11">
            <a:extLst>
              <a:ext uri="{FF2B5EF4-FFF2-40B4-BE49-F238E27FC236}">
                <a16:creationId xmlns:a16="http://schemas.microsoft.com/office/drawing/2014/main" xmlns="" id="{3EBC318E-8C81-40AF-BDA1-478158FE371E}"/>
              </a:ext>
            </a:extLst>
          </p:cNvPr>
          <p:cNvPicPr>
            <a:picLocks noChangeAspect="1"/>
          </p:cNvPicPr>
          <p:nvPr/>
        </p:nvPicPr>
        <p:blipFill>
          <a:blip r:embed="rId3"/>
          <a:stretch>
            <a:fillRect/>
          </a:stretch>
        </p:blipFill>
        <p:spPr>
          <a:xfrm>
            <a:off x="694016" y="4133848"/>
            <a:ext cx="2665680" cy="1599408"/>
          </a:xfrm>
          <a:prstGeom prst="rect">
            <a:avLst/>
          </a:prstGeom>
        </p:spPr>
      </p:pic>
      <p:pic>
        <p:nvPicPr>
          <p:cNvPr id="13" name="Picture 12">
            <a:extLst>
              <a:ext uri="{FF2B5EF4-FFF2-40B4-BE49-F238E27FC236}">
                <a16:creationId xmlns:a16="http://schemas.microsoft.com/office/drawing/2014/main" xmlns="" id="{19C07EF0-54FB-4A8A-9627-47A7385968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10834" y="6110194"/>
            <a:ext cx="634884" cy="639563"/>
          </a:xfrm>
          <a:prstGeom prst="rect">
            <a:avLst/>
          </a:prstGeom>
        </p:spPr>
      </p:pic>
    </p:spTree>
    <p:extLst>
      <p:ext uri="{BB962C8B-B14F-4D97-AF65-F5344CB8AC3E}">
        <p14:creationId xmlns:p14="http://schemas.microsoft.com/office/powerpoint/2010/main" val="46993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10A481A-598B-42C7-BB76-30CD8097E7D0}"/>
              </a:ext>
            </a:extLst>
          </p:cNvPr>
          <p:cNvSpPr>
            <a:spLocks noGrp="1"/>
          </p:cNvSpPr>
          <p:nvPr>
            <p:ph type="title"/>
          </p:nvPr>
        </p:nvSpPr>
        <p:spPr>
          <a:xfrm>
            <a:off x="668985" y="254540"/>
            <a:ext cx="10655299" cy="692647"/>
          </a:xfrm>
        </p:spPr>
        <p:txBody>
          <a:bodyPr/>
          <a:lstStyle/>
          <a:p>
            <a:r>
              <a:rPr lang="en-GB" sz="2000" i="1" dirty="0">
                <a:solidFill>
                  <a:srgbClr val="0B4CB5"/>
                </a:solidFill>
              </a:rPr>
              <a:t>MYML with PC and adverse claims</a:t>
            </a:r>
            <a:br>
              <a:rPr lang="en-GB" sz="2000" i="1" dirty="0">
                <a:solidFill>
                  <a:srgbClr val="0B4CB5"/>
                </a:solidFill>
              </a:rPr>
            </a:br>
            <a:r>
              <a:rPr lang="en-GB" dirty="0">
                <a:solidFill>
                  <a:srgbClr val="0B4CB5"/>
                </a:solidFill>
              </a:rPr>
              <a:t>At the end of Y1</a:t>
            </a:r>
          </a:p>
        </p:txBody>
      </p:sp>
      <p:sp>
        <p:nvSpPr>
          <p:cNvPr id="7" name="Content Placeholder 1">
            <a:extLst>
              <a:ext uri="{FF2B5EF4-FFF2-40B4-BE49-F238E27FC236}">
                <a16:creationId xmlns:a16="http://schemas.microsoft.com/office/drawing/2014/main" xmlns="" id="{E80FF343-A176-4AC7-9381-3C79A7312141}"/>
              </a:ext>
            </a:extLst>
          </p:cNvPr>
          <p:cNvSpPr txBox="1">
            <a:spLocks/>
          </p:cNvSpPr>
          <p:nvPr/>
        </p:nvSpPr>
        <p:spPr bwMode="black">
          <a:xfrm>
            <a:off x="668985" y="4149080"/>
            <a:ext cx="4315335"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Current IFRS, the “local way”, i.e. PC at end</a:t>
            </a:r>
          </a:p>
          <a:p>
            <a:pPr marL="0" indent="0">
              <a:buNone/>
            </a:pPr>
            <a:endParaRPr lang="en-GB" sz="900" dirty="0">
              <a:latin typeface="+mn-lt"/>
            </a:endParaRPr>
          </a:p>
          <a:p>
            <a:pPr marL="0" indent="0">
              <a:buNone/>
            </a:pPr>
            <a:endParaRPr lang="en-GB" sz="900" dirty="0">
              <a:latin typeface="+mn-lt"/>
            </a:endParaRPr>
          </a:p>
          <a:p>
            <a:pPr marL="0" indent="0">
              <a:buNone/>
            </a:pPr>
            <a:endParaRPr lang="en-GB" sz="1400" dirty="0">
              <a:latin typeface="+mn-lt"/>
            </a:endParaRPr>
          </a:p>
          <a:p>
            <a:pPr marL="0" indent="0">
              <a:buNone/>
            </a:pPr>
            <a:endParaRPr lang="en-GB" sz="1400" dirty="0">
              <a:latin typeface="+mn-lt"/>
            </a:endParaRPr>
          </a:p>
        </p:txBody>
      </p:sp>
      <p:sp>
        <p:nvSpPr>
          <p:cNvPr id="11" name="Content Placeholder 1">
            <a:extLst>
              <a:ext uri="{FF2B5EF4-FFF2-40B4-BE49-F238E27FC236}">
                <a16:creationId xmlns:a16="http://schemas.microsoft.com/office/drawing/2014/main" xmlns="" id="{E88BCCC9-4197-4BCB-8E43-23339B459CF5}"/>
              </a:ext>
            </a:extLst>
          </p:cNvPr>
          <p:cNvSpPr txBox="1">
            <a:spLocks/>
          </p:cNvSpPr>
          <p:nvPr/>
        </p:nvSpPr>
        <p:spPr bwMode="black">
          <a:xfrm>
            <a:off x="641202" y="1485547"/>
            <a:ext cx="4962446" cy="359277"/>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Only Y1 changed numbers are “planned”</a:t>
            </a:r>
          </a:p>
          <a:p>
            <a:pPr marL="0" indent="0">
              <a:buNone/>
            </a:pPr>
            <a:endParaRPr lang="en-GB" sz="1400" dirty="0">
              <a:latin typeface="+mn-lt"/>
            </a:endParaRPr>
          </a:p>
        </p:txBody>
      </p:sp>
      <p:graphicFrame>
        <p:nvGraphicFramePr>
          <p:cNvPr id="6" name="Table 12">
            <a:extLst>
              <a:ext uri="{FF2B5EF4-FFF2-40B4-BE49-F238E27FC236}">
                <a16:creationId xmlns:a16="http://schemas.microsoft.com/office/drawing/2014/main" xmlns="" id="{32862336-7488-4AA0-9915-B23B58A067CB}"/>
              </a:ext>
            </a:extLst>
          </p:cNvPr>
          <p:cNvGraphicFramePr>
            <a:graphicFrameLocks noGrp="1"/>
          </p:cNvGraphicFramePr>
          <p:nvPr/>
        </p:nvGraphicFramePr>
        <p:xfrm>
          <a:off x="635933" y="1772816"/>
          <a:ext cx="5285331" cy="2227709"/>
        </p:xfrm>
        <a:graphic>
          <a:graphicData uri="http://schemas.openxmlformats.org/drawingml/2006/table">
            <a:tbl>
              <a:tblPr firstRow="1" bandRow="1"/>
              <a:tblGrid>
                <a:gridCol w="3487315">
                  <a:extLst>
                    <a:ext uri="{9D8B030D-6E8A-4147-A177-3AD203B41FA5}">
                      <a16:colId xmlns:a16="http://schemas.microsoft.com/office/drawing/2014/main" xmlns="" val="413207125"/>
                    </a:ext>
                  </a:extLst>
                </a:gridCol>
                <a:gridCol w="986818">
                  <a:extLst>
                    <a:ext uri="{9D8B030D-6E8A-4147-A177-3AD203B41FA5}">
                      <a16:colId xmlns:a16="http://schemas.microsoft.com/office/drawing/2014/main" xmlns="" val="2060198094"/>
                    </a:ext>
                  </a:extLst>
                </a:gridCol>
                <a:gridCol w="811198">
                  <a:extLst>
                    <a:ext uri="{9D8B030D-6E8A-4147-A177-3AD203B41FA5}">
                      <a16:colId xmlns:a16="http://schemas.microsoft.com/office/drawing/2014/main" xmlns="" val="61309910"/>
                    </a:ext>
                  </a:extLst>
                </a:gridCol>
              </a:tblGrid>
              <a:tr h="270587">
                <a:tc>
                  <a:txBody>
                    <a:bodyPr/>
                    <a:lstStyle/>
                    <a:p>
                      <a:r>
                        <a:rPr lang="en-GB" sz="1100">
                          <a:latin typeface="+mn-lt"/>
                        </a:rPr>
                        <a:t>KPI</a:t>
                      </a:r>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tc>
                  <a:txBody>
                    <a:bodyPr/>
                    <a:lstStyle/>
                    <a:p>
                      <a:r>
                        <a:rPr lang="en-GB" sz="1100">
                          <a:latin typeface="+mn-lt"/>
                        </a:rPr>
                        <a:t>Y1</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100">
                          <a:latin typeface="+mn-lt"/>
                        </a:rPr>
                        <a:t>Y2 – Y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4083775192"/>
                  </a:ext>
                </a:extLst>
              </a:tr>
              <a:tr h="270587">
                <a:tc>
                  <a:txBody>
                    <a:bodyPr/>
                    <a:lstStyle/>
                    <a:p>
                      <a:r>
                        <a:rPr lang="en-GB" sz="1100">
                          <a:latin typeface="+mn-lt"/>
                        </a:rPr>
                        <a:t>Gross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1000</a:t>
                      </a:r>
                    </a:p>
                  </a:txBody>
                  <a:tcPr/>
                </a:tc>
                <a:tc>
                  <a:txBody>
                    <a:bodyPr/>
                    <a:lstStyle/>
                    <a:p>
                      <a:r>
                        <a:rPr lang="en-GB" sz="1100">
                          <a:latin typeface="+mn-lt"/>
                        </a:rPr>
                        <a:t>10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1493429434"/>
                  </a:ext>
                </a:extLst>
              </a:tr>
              <a:tr h="270587">
                <a:tc>
                  <a:txBody>
                    <a:bodyPr/>
                    <a:lstStyle/>
                    <a:p>
                      <a:r>
                        <a:rPr lang="en-GB" sz="1100">
                          <a:latin typeface="+mn-lt"/>
                        </a:rPr>
                        <a:t>Gross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400</a:t>
                      </a:r>
                    </a:p>
                  </a:txBody>
                  <a:tcPr/>
                </a:tc>
                <a:tc>
                  <a:txBody>
                    <a:bodyPr/>
                    <a:lstStyle/>
                    <a:p>
                      <a:r>
                        <a:rPr lang="en-GB" sz="1100">
                          <a:latin typeface="+mn-lt"/>
                        </a:rPr>
                        <a:t>4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3887538142"/>
                  </a:ext>
                </a:extLst>
              </a:tr>
              <a:tr h="270587">
                <a:tc>
                  <a:txBody>
                    <a:bodyPr/>
                    <a:lstStyle/>
                    <a:p>
                      <a:r>
                        <a:rPr lang="en-GB" sz="1100">
                          <a:latin typeface="+mn-lt"/>
                        </a:rPr>
                        <a:t>Gross expense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400</a:t>
                      </a:r>
                    </a:p>
                  </a:txBody>
                  <a:tcPr/>
                </a:tc>
                <a:tc>
                  <a:txBody>
                    <a:bodyPr/>
                    <a:lstStyle/>
                    <a:p>
                      <a:r>
                        <a:rPr lang="en-GB" sz="1100">
                          <a:latin typeface="+mn-lt"/>
                        </a:rPr>
                        <a:t>4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924814871"/>
                  </a:ext>
                </a:extLst>
              </a:tr>
              <a:tr h="270587">
                <a:tc>
                  <a:txBody>
                    <a:bodyPr/>
                    <a:lstStyle/>
                    <a:p>
                      <a:r>
                        <a:rPr lang="en-GB" sz="1100">
                          <a:latin typeface="+mn-lt"/>
                        </a:rPr>
                        <a:t>Ceded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100</a:t>
                      </a:r>
                    </a:p>
                  </a:txBody>
                  <a:tcPr/>
                </a:tc>
                <a:tc>
                  <a:txBody>
                    <a:bodyPr/>
                    <a:lstStyle/>
                    <a:p>
                      <a:r>
                        <a:rPr lang="en-GB" sz="1100">
                          <a:latin typeface="+mn-lt"/>
                        </a:rPr>
                        <a:t>1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439580221"/>
                  </a:ext>
                </a:extLst>
              </a:tr>
              <a:tr h="270587">
                <a:tc>
                  <a:txBody>
                    <a:bodyPr/>
                    <a:lstStyle/>
                    <a:p>
                      <a:r>
                        <a:rPr lang="en-GB" sz="1100" dirty="0">
                          <a:latin typeface="+mn-lt"/>
                        </a:rPr>
                        <a:t>Ceded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n-lt"/>
                        </a:rPr>
                        <a:t>0</a:t>
                      </a:r>
                    </a:p>
                  </a:txBody>
                  <a:tcPr/>
                </a:tc>
                <a:tc>
                  <a:txBody>
                    <a:bodyPr/>
                    <a:lstStyle/>
                    <a:p>
                      <a:r>
                        <a:rPr lang="en-GB" sz="1100">
                          <a:latin typeface="+mn-lt"/>
                        </a:rPr>
                        <a:t>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56060864"/>
                  </a:ext>
                </a:extLst>
              </a:tr>
              <a:tr h="270587">
                <a:tc>
                  <a:txBody>
                    <a:bodyPr/>
                    <a:lstStyle/>
                    <a:p>
                      <a:r>
                        <a:rPr lang="en-GB" sz="1100">
                          <a:latin typeface="+mn-lt"/>
                        </a:rPr>
                        <a:t>Reinstatement premium </a:t>
                      </a:r>
                      <a:r>
                        <a:rPr lang="en-GB" sz="1100" kern="1200">
                          <a:solidFill>
                            <a:schemeClr val="tx1"/>
                          </a:solidFill>
                          <a:latin typeface="+mn-lt"/>
                          <a:ea typeface="+mn-ea"/>
                          <a:cs typeface="+mn-cs"/>
                        </a:rPr>
                        <a:t>(50% </a:t>
                      </a:r>
                      <a:r>
                        <a:rPr lang="en-GB" sz="1100" kern="1200" err="1">
                          <a:solidFill>
                            <a:schemeClr val="tx1"/>
                          </a:solidFill>
                          <a:latin typeface="+mn-lt"/>
                          <a:ea typeface="+mn-ea"/>
                          <a:cs typeface="+mn-cs"/>
                        </a:rPr>
                        <a:t>RoL</a:t>
                      </a:r>
                      <a:r>
                        <a:rPr lang="en-GB" sz="1100" kern="1200">
                          <a:solidFill>
                            <a:schemeClr val="tx1"/>
                          </a:solidFill>
                          <a:latin typeface="+mn-lt"/>
                          <a:ea typeface="+mn-ea"/>
                          <a:cs typeface="+mn-cs"/>
                        </a:rPr>
                        <a:t>)</a:t>
                      </a:r>
                      <a:endParaRPr lang="en-GB" sz="1100">
                        <a:latin typeface="+mn-lt"/>
                      </a:endParaRPr>
                    </a:p>
                  </a:txBody>
                  <a:tcPr>
                    <a:lnL w="12700" cap="flat" cmpd="sng" algn="ctr">
                      <a:solidFill>
                        <a:schemeClr val="bg1">
                          <a:lumMod val="65000"/>
                        </a:schemeClr>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n-lt"/>
                        </a:rPr>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n-lt"/>
                        </a:rPr>
                        <a:t>25</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4027452866"/>
                  </a:ext>
                </a:extLst>
              </a:tr>
              <a:tr h="333600">
                <a:tc>
                  <a:txBody>
                    <a:bodyPr/>
                    <a:lstStyle/>
                    <a:p>
                      <a:r>
                        <a:rPr lang="en-GB" sz="1100" dirty="0">
                          <a:latin typeface="+mn-lt"/>
                        </a:rPr>
                        <a:t>PC  [50% of upfront premium + </a:t>
                      </a:r>
                      <a:r>
                        <a:rPr lang="en-GB" sz="1100" dirty="0" err="1">
                          <a:latin typeface="+mn-lt"/>
                        </a:rPr>
                        <a:t>reinst</a:t>
                      </a:r>
                      <a:r>
                        <a:rPr lang="en-GB" sz="1100" dirty="0">
                          <a:latin typeface="+mn-lt"/>
                        </a:rPr>
                        <a:t> prem – claims] </a:t>
                      </a:r>
                    </a:p>
                  </a:txBody>
                  <a:tcP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tcPr>
                </a:tc>
                <a:tc>
                  <a:txBody>
                    <a:bodyPr/>
                    <a:lstStyle/>
                    <a:p>
                      <a:r>
                        <a:rPr lang="en-GB" sz="1100">
                          <a:latin typeface="+mn-lt"/>
                        </a:rPr>
                        <a:t>50</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100" dirty="0">
                          <a:latin typeface="+mn-lt"/>
                        </a:rPr>
                        <a:t>25</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95036298"/>
                  </a:ext>
                </a:extLst>
              </a:tr>
            </a:tbl>
          </a:graphicData>
        </a:graphic>
      </p:graphicFrame>
      <p:sp>
        <p:nvSpPr>
          <p:cNvPr id="14" name="Content Placeholder 1">
            <a:extLst>
              <a:ext uri="{FF2B5EF4-FFF2-40B4-BE49-F238E27FC236}">
                <a16:creationId xmlns:a16="http://schemas.microsoft.com/office/drawing/2014/main" xmlns="" id="{FDA188A1-D8C7-4081-BC55-5A6A9291ED11}"/>
              </a:ext>
            </a:extLst>
          </p:cNvPr>
          <p:cNvSpPr txBox="1">
            <a:spLocks/>
          </p:cNvSpPr>
          <p:nvPr/>
        </p:nvSpPr>
        <p:spPr bwMode="black">
          <a:xfrm>
            <a:off x="7303043" y="188640"/>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a:latin typeface="+mn-lt"/>
              </a:rPr>
              <a:t>IFRS 17</a:t>
            </a:r>
          </a:p>
          <a:p>
            <a:pPr marL="0" indent="0">
              <a:buNone/>
            </a:pPr>
            <a:endParaRPr lang="en-GB" sz="900">
              <a:latin typeface="+mn-lt"/>
            </a:endParaRPr>
          </a:p>
          <a:p>
            <a:pPr marL="0" indent="0">
              <a:buNone/>
            </a:pPr>
            <a:endParaRPr lang="en-GB" sz="900">
              <a:latin typeface="+mn-lt"/>
            </a:endParaRPr>
          </a:p>
          <a:p>
            <a:pPr marL="0" indent="0">
              <a:buNone/>
            </a:pPr>
            <a:endParaRPr lang="en-GB" sz="1400">
              <a:latin typeface="+mn-lt"/>
            </a:endParaRPr>
          </a:p>
          <a:p>
            <a:pPr marL="0" indent="0">
              <a:buNone/>
            </a:pPr>
            <a:endParaRPr lang="en-GB" sz="1400">
              <a:latin typeface="+mn-lt"/>
            </a:endParaRPr>
          </a:p>
        </p:txBody>
      </p:sp>
      <p:pic>
        <p:nvPicPr>
          <p:cNvPr id="13" name="Picture 12">
            <a:extLst>
              <a:ext uri="{FF2B5EF4-FFF2-40B4-BE49-F238E27FC236}">
                <a16:creationId xmlns:a16="http://schemas.microsoft.com/office/drawing/2014/main" xmlns="" id="{5531E0B6-18A0-49AC-AA88-AECB587C0091}"/>
              </a:ext>
            </a:extLst>
          </p:cNvPr>
          <p:cNvPicPr>
            <a:picLocks noChangeAspect="1"/>
          </p:cNvPicPr>
          <p:nvPr/>
        </p:nvPicPr>
        <p:blipFill rotWithShape="1">
          <a:blip r:embed="rId2"/>
          <a:srcRect r="23267"/>
          <a:stretch/>
        </p:blipFill>
        <p:spPr>
          <a:xfrm>
            <a:off x="7303043" y="704716"/>
            <a:ext cx="3584875" cy="4943568"/>
          </a:xfrm>
          <a:prstGeom prst="rect">
            <a:avLst/>
          </a:prstGeom>
        </p:spPr>
      </p:pic>
      <p:sp>
        <p:nvSpPr>
          <p:cNvPr id="15" name="Rectangle: Rounded Corners 14">
            <a:extLst>
              <a:ext uri="{FF2B5EF4-FFF2-40B4-BE49-F238E27FC236}">
                <a16:creationId xmlns:a16="http://schemas.microsoft.com/office/drawing/2014/main" xmlns="" id="{DE662E15-09D4-4A79-9D4E-0581AADA2B86}"/>
              </a:ext>
            </a:extLst>
          </p:cNvPr>
          <p:cNvSpPr/>
          <p:nvPr/>
        </p:nvSpPr>
        <p:spPr>
          <a:xfrm>
            <a:off x="9264352" y="357991"/>
            <a:ext cx="1554479" cy="5079072"/>
          </a:xfrm>
          <a:prstGeom prst="roundRect">
            <a:avLst>
              <a:gd name="adj" fmla="val 4637"/>
            </a:avLst>
          </a:prstGeom>
          <a:solidFill>
            <a:srgbClr val="D1DCD6">
              <a:alpha val="20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dirty="0">
                <a:solidFill>
                  <a:schemeClr val="tx1"/>
                </a:solidFill>
              </a:rPr>
              <a:t>Expected</a:t>
            </a:r>
          </a:p>
        </p:txBody>
      </p:sp>
      <p:sp>
        <p:nvSpPr>
          <p:cNvPr id="16" name="Arrow: Left-Right 15">
            <a:extLst>
              <a:ext uri="{FF2B5EF4-FFF2-40B4-BE49-F238E27FC236}">
                <a16:creationId xmlns:a16="http://schemas.microsoft.com/office/drawing/2014/main" xmlns="" id="{3F105EEF-4A76-443F-970D-B9F2F7BE456D}"/>
              </a:ext>
            </a:extLst>
          </p:cNvPr>
          <p:cNvSpPr/>
          <p:nvPr/>
        </p:nvSpPr>
        <p:spPr>
          <a:xfrm>
            <a:off x="3763225" y="4780938"/>
            <a:ext cx="3124863" cy="1045209"/>
          </a:xfrm>
          <a:prstGeom prst="leftRightArrow">
            <a:avLst>
              <a:gd name="adj1" fmla="val 71301"/>
              <a:gd name="adj2" fmla="val 50000"/>
            </a:avLst>
          </a:prstGeom>
          <a:solidFill>
            <a:srgbClr val="0B4C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IFRS17 recognizes the good performance in Y1 </a:t>
            </a:r>
            <a:r>
              <a:rPr lang="en-GB" sz="1400" dirty="0"/>
              <a:t>(PC linear); not IFRS4</a:t>
            </a:r>
          </a:p>
        </p:txBody>
      </p:sp>
      <p:pic>
        <p:nvPicPr>
          <p:cNvPr id="2" name="Picture 1">
            <a:extLst>
              <a:ext uri="{FF2B5EF4-FFF2-40B4-BE49-F238E27FC236}">
                <a16:creationId xmlns:a16="http://schemas.microsoft.com/office/drawing/2014/main" xmlns="" id="{A6432337-594B-4BAE-B2AA-52AB30E25EC8}"/>
              </a:ext>
            </a:extLst>
          </p:cNvPr>
          <p:cNvPicPr>
            <a:picLocks noChangeAspect="1"/>
          </p:cNvPicPr>
          <p:nvPr/>
        </p:nvPicPr>
        <p:blipFill>
          <a:blip r:embed="rId3"/>
          <a:stretch>
            <a:fillRect/>
          </a:stretch>
        </p:blipFill>
        <p:spPr>
          <a:xfrm>
            <a:off x="623392" y="4385442"/>
            <a:ext cx="2810424" cy="1548601"/>
          </a:xfrm>
          <a:prstGeom prst="rect">
            <a:avLst/>
          </a:prstGeom>
        </p:spPr>
      </p:pic>
      <p:pic>
        <p:nvPicPr>
          <p:cNvPr id="12" name="Picture 11">
            <a:extLst>
              <a:ext uri="{FF2B5EF4-FFF2-40B4-BE49-F238E27FC236}">
                <a16:creationId xmlns:a16="http://schemas.microsoft.com/office/drawing/2014/main" xmlns="" id="{605569C2-13AF-4483-BEC1-19E8BC32DA3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10834" y="6110194"/>
            <a:ext cx="634884" cy="639563"/>
          </a:xfrm>
          <a:prstGeom prst="rect">
            <a:avLst/>
          </a:prstGeom>
        </p:spPr>
      </p:pic>
    </p:spTree>
    <p:extLst>
      <p:ext uri="{BB962C8B-B14F-4D97-AF65-F5344CB8AC3E}">
        <p14:creationId xmlns:p14="http://schemas.microsoft.com/office/powerpoint/2010/main" val="2933158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10A481A-598B-42C7-BB76-30CD8097E7D0}"/>
              </a:ext>
            </a:extLst>
          </p:cNvPr>
          <p:cNvSpPr>
            <a:spLocks noGrp="1"/>
          </p:cNvSpPr>
          <p:nvPr>
            <p:ph type="title"/>
          </p:nvPr>
        </p:nvSpPr>
        <p:spPr>
          <a:xfrm>
            <a:off x="656444" y="345124"/>
            <a:ext cx="10655299" cy="692647"/>
          </a:xfrm>
        </p:spPr>
        <p:txBody>
          <a:bodyPr/>
          <a:lstStyle/>
          <a:p>
            <a:r>
              <a:rPr lang="en-GB" sz="2000" i="1" dirty="0">
                <a:solidFill>
                  <a:srgbClr val="0B4CB5"/>
                </a:solidFill>
              </a:rPr>
              <a:t>MYML with PC and adverse claims </a:t>
            </a:r>
            <a:r>
              <a:rPr lang="en-GB" i="1" dirty="0">
                <a:solidFill>
                  <a:srgbClr val="0B4CB5"/>
                </a:solidFill>
              </a:rPr>
              <a:t/>
            </a:r>
            <a:br>
              <a:rPr lang="en-GB" i="1" dirty="0">
                <a:solidFill>
                  <a:srgbClr val="0B4CB5"/>
                </a:solidFill>
              </a:rPr>
            </a:br>
            <a:r>
              <a:rPr lang="en-GB" dirty="0">
                <a:solidFill>
                  <a:srgbClr val="0B4CB5"/>
                </a:solidFill>
              </a:rPr>
              <a:t>At the end of Y2</a:t>
            </a:r>
          </a:p>
        </p:txBody>
      </p:sp>
      <p:sp>
        <p:nvSpPr>
          <p:cNvPr id="4" name="Slide Number Placeholder 3">
            <a:extLst>
              <a:ext uri="{FF2B5EF4-FFF2-40B4-BE49-F238E27FC236}">
                <a16:creationId xmlns:a16="http://schemas.microsoft.com/office/drawing/2014/main" xmlns="" id="{49C0C6FB-CF34-47FA-9058-27FEC36A8107}"/>
              </a:ext>
            </a:extLst>
          </p:cNvPr>
          <p:cNvSpPr>
            <a:spLocks noGrp="1"/>
          </p:cNvSpPr>
          <p:nvPr>
            <p:ph type="sldNum" sz="quarter" idx="4294967295"/>
          </p:nvPr>
        </p:nvSpPr>
        <p:spPr bwMode="auto">
          <a:xfrm>
            <a:off x="0" y="6402388"/>
            <a:ext cx="415925"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GB"/>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fld id="{FE8DA6AF-1811-4E27-A96F-54109F1D0275}" type="slidenum">
              <a:rPr lang="en-GB" smtClean="0"/>
              <a:pPr/>
              <a:t>53</a:t>
            </a:fld>
            <a:endParaRPr lang="en-GB"/>
          </a:p>
        </p:txBody>
      </p:sp>
      <p:sp>
        <p:nvSpPr>
          <p:cNvPr id="11" name="Content Placeholder 1">
            <a:extLst>
              <a:ext uri="{FF2B5EF4-FFF2-40B4-BE49-F238E27FC236}">
                <a16:creationId xmlns:a16="http://schemas.microsoft.com/office/drawing/2014/main" xmlns="" id="{E88BCCC9-4197-4BCB-8E43-23339B459CF5}"/>
              </a:ext>
            </a:extLst>
          </p:cNvPr>
          <p:cNvSpPr txBox="1">
            <a:spLocks/>
          </p:cNvSpPr>
          <p:nvPr/>
        </p:nvSpPr>
        <p:spPr bwMode="black">
          <a:xfrm>
            <a:off x="623392" y="1485547"/>
            <a:ext cx="4962446" cy="359277"/>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Only Y3 remains unchanged, numbers are “planned”</a:t>
            </a:r>
          </a:p>
          <a:p>
            <a:pPr marL="0" indent="0">
              <a:buNone/>
            </a:pPr>
            <a:endParaRPr lang="en-GB" sz="1400" dirty="0">
              <a:latin typeface="+mn-lt"/>
            </a:endParaRPr>
          </a:p>
        </p:txBody>
      </p:sp>
      <p:graphicFrame>
        <p:nvGraphicFramePr>
          <p:cNvPr id="6" name="Table 12">
            <a:extLst>
              <a:ext uri="{FF2B5EF4-FFF2-40B4-BE49-F238E27FC236}">
                <a16:creationId xmlns:a16="http://schemas.microsoft.com/office/drawing/2014/main" xmlns="" id="{32862336-7488-4AA0-9915-B23B58A067CB}"/>
              </a:ext>
            </a:extLst>
          </p:cNvPr>
          <p:cNvGraphicFramePr>
            <a:graphicFrameLocks noGrp="1"/>
          </p:cNvGraphicFramePr>
          <p:nvPr/>
        </p:nvGraphicFramePr>
        <p:xfrm>
          <a:off x="623393" y="1736273"/>
          <a:ext cx="5472607" cy="2276095"/>
        </p:xfrm>
        <a:graphic>
          <a:graphicData uri="http://schemas.openxmlformats.org/drawingml/2006/table">
            <a:tbl>
              <a:tblPr firstRow="1" bandRow="1"/>
              <a:tblGrid>
                <a:gridCol w="3576245">
                  <a:extLst>
                    <a:ext uri="{9D8B030D-6E8A-4147-A177-3AD203B41FA5}">
                      <a16:colId xmlns:a16="http://schemas.microsoft.com/office/drawing/2014/main" xmlns="" val="413207125"/>
                    </a:ext>
                  </a:extLst>
                </a:gridCol>
                <a:gridCol w="614803">
                  <a:extLst>
                    <a:ext uri="{9D8B030D-6E8A-4147-A177-3AD203B41FA5}">
                      <a16:colId xmlns:a16="http://schemas.microsoft.com/office/drawing/2014/main" xmlns="" val="2060198094"/>
                    </a:ext>
                  </a:extLst>
                </a:gridCol>
                <a:gridCol w="666757">
                  <a:extLst>
                    <a:ext uri="{9D8B030D-6E8A-4147-A177-3AD203B41FA5}">
                      <a16:colId xmlns:a16="http://schemas.microsoft.com/office/drawing/2014/main" xmlns="" val="741693419"/>
                    </a:ext>
                  </a:extLst>
                </a:gridCol>
                <a:gridCol w="614802">
                  <a:extLst>
                    <a:ext uri="{9D8B030D-6E8A-4147-A177-3AD203B41FA5}">
                      <a16:colId xmlns:a16="http://schemas.microsoft.com/office/drawing/2014/main" xmlns="" val="61309910"/>
                    </a:ext>
                  </a:extLst>
                </a:gridCol>
              </a:tblGrid>
              <a:tr h="288145">
                <a:tc>
                  <a:txBody>
                    <a:bodyPr/>
                    <a:lstStyle/>
                    <a:p>
                      <a:r>
                        <a:rPr lang="en-GB" sz="1100"/>
                        <a:t>KPI</a:t>
                      </a:r>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tc>
                  <a:txBody>
                    <a:bodyPr/>
                    <a:lstStyle/>
                    <a:p>
                      <a:r>
                        <a:rPr lang="en-GB" sz="1100"/>
                        <a:t>Y1</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100"/>
                        <a:t>Y2</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100"/>
                        <a:t>Y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4083775192"/>
                  </a:ext>
                </a:extLst>
              </a:tr>
              <a:tr h="288145">
                <a:tc>
                  <a:txBody>
                    <a:bodyPr/>
                    <a:lstStyle/>
                    <a:p>
                      <a:r>
                        <a:rPr lang="en-GB" sz="1100">
                          <a:latin typeface="+mj-lt"/>
                        </a:rPr>
                        <a:t>Gross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j-lt"/>
                        </a:rPr>
                        <a:t>1000</a:t>
                      </a:r>
                    </a:p>
                  </a:txBody>
                  <a:tcPr/>
                </a:tc>
                <a:tc>
                  <a:txBody>
                    <a:bodyPr/>
                    <a:lstStyle/>
                    <a:p>
                      <a:r>
                        <a:rPr lang="en-GB" sz="1100">
                          <a:latin typeface="+mj-lt"/>
                        </a:rPr>
                        <a:t>1000</a:t>
                      </a:r>
                    </a:p>
                  </a:txBody>
                  <a:tcPr/>
                </a:tc>
                <a:tc>
                  <a:txBody>
                    <a:bodyPr/>
                    <a:lstStyle/>
                    <a:p>
                      <a:r>
                        <a:rPr lang="en-GB" sz="1100">
                          <a:latin typeface="+mj-lt"/>
                        </a:rPr>
                        <a:t>10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1493429434"/>
                  </a:ext>
                </a:extLst>
              </a:tr>
              <a:tr h="288145">
                <a:tc>
                  <a:txBody>
                    <a:bodyPr/>
                    <a:lstStyle/>
                    <a:p>
                      <a:r>
                        <a:rPr lang="en-GB" sz="1100">
                          <a:latin typeface="+mj-lt"/>
                        </a:rPr>
                        <a:t>Gross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j-lt"/>
                        </a:rPr>
                        <a:t>400</a:t>
                      </a:r>
                    </a:p>
                  </a:txBody>
                  <a:tcPr/>
                </a:tc>
                <a:tc>
                  <a:txBody>
                    <a:bodyPr/>
                    <a:lstStyle/>
                    <a:p>
                      <a:r>
                        <a:rPr lang="en-GB" sz="1100">
                          <a:latin typeface="+mj-lt"/>
                        </a:rPr>
                        <a:t>550</a:t>
                      </a:r>
                    </a:p>
                  </a:txBody>
                  <a:tcPr/>
                </a:tc>
                <a:tc>
                  <a:txBody>
                    <a:bodyPr/>
                    <a:lstStyle/>
                    <a:p>
                      <a:r>
                        <a:rPr lang="en-GB" sz="1100">
                          <a:latin typeface="+mj-lt"/>
                        </a:rPr>
                        <a:t>4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3887538142"/>
                  </a:ext>
                </a:extLst>
              </a:tr>
              <a:tr h="288145">
                <a:tc>
                  <a:txBody>
                    <a:bodyPr/>
                    <a:lstStyle/>
                    <a:p>
                      <a:r>
                        <a:rPr lang="en-GB" sz="1100">
                          <a:latin typeface="+mj-lt"/>
                        </a:rPr>
                        <a:t>Gross expense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j-lt"/>
                        </a:rPr>
                        <a:t>400</a:t>
                      </a:r>
                    </a:p>
                  </a:txBody>
                  <a:tcPr/>
                </a:tc>
                <a:tc>
                  <a:txBody>
                    <a:bodyPr/>
                    <a:lstStyle/>
                    <a:p>
                      <a:r>
                        <a:rPr lang="en-GB" sz="1100">
                          <a:latin typeface="+mj-lt"/>
                        </a:rPr>
                        <a:t>400</a:t>
                      </a:r>
                    </a:p>
                  </a:txBody>
                  <a:tcPr/>
                </a:tc>
                <a:tc>
                  <a:txBody>
                    <a:bodyPr/>
                    <a:lstStyle/>
                    <a:p>
                      <a:r>
                        <a:rPr lang="en-GB" sz="1100">
                          <a:latin typeface="+mj-lt"/>
                        </a:rPr>
                        <a:t>4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924814871"/>
                  </a:ext>
                </a:extLst>
              </a:tr>
              <a:tr h="288145">
                <a:tc>
                  <a:txBody>
                    <a:bodyPr/>
                    <a:lstStyle/>
                    <a:p>
                      <a:r>
                        <a:rPr lang="en-GB" sz="1100">
                          <a:latin typeface="+mj-lt"/>
                        </a:rPr>
                        <a:t>Ceded premium</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j-lt"/>
                        </a:rPr>
                        <a:t>100</a:t>
                      </a:r>
                    </a:p>
                  </a:txBody>
                  <a:tcPr/>
                </a:tc>
                <a:tc>
                  <a:txBody>
                    <a:bodyPr/>
                    <a:lstStyle/>
                    <a:p>
                      <a:r>
                        <a:rPr lang="en-GB" sz="1100">
                          <a:latin typeface="+mj-lt"/>
                        </a:rPr>
                        <a:t>100</a:t>
                      </a:r>
                    </a:p>
                  </a:txBody>
                  <a:tcPr/>
                </a:tc>
                <a:tc>
                  <a:txBody>
                    <a:bodyPr/>
                    <a:lstStyle/>
                    <a:p>
                      <a:r>
                        <a:rPr lang="en-GB" sz="1100">
                          <a:latin typeface="+mj-lt"/>
                        </a:rPr>
                        <a:t>1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439580221"/>
                  </a:ext>
                </a:extLst>
              </a:tr>
              <a:tr h="288145">
                <a:tc>
                  <a:txBody>
                    <a:bodyPr/>
                    <a:lstStyle/>
                    <a:p>
                      <a:r>
                        <a:rPr lang="en-GB" sz="1100">
                          <a:latin typeface="+mj-lt"/>
                        </a:rPr>
                        <a:t>Ceded claims</a:t>
                      </a:r>
                    </a:p>
                  </a:txBody>
                  <a:tcPr>
                    <a:lnL w="12700" cap="flat" cmpd="sng" algn="ctr">
                      <a:solidFill>
                        <a:schemeClr val="bg1">
                          <a:lumMod val="65000"/>
                        </a:schemeClr>
                      </a:solidFill>
                      <a:prstDash val="solid"/>
                      <a:round/>
                      <a:headEnd type="none" w="med" len="med"/>
                      <a:tailEnd type="none" w="med" len="med"/>
                    </a:lnL>
                  </a:tcPr>
                </a:tc>
                <a:tc>
                  <a:txBody>
                    <a:bodyPr/>
                    <a:lstStyle/>
                    <a:p>
                      <a:r>
                        <a:rPr lang="en-GB" sz="1100">
                          <a:latin typeface="+mj-lt"/>
                        </a:rPr>
                        <a:t>0</a:t>
                      </a:r>
                    </a:p>
                  </a:txBody>
                  <a:tcPr/>
                </a:tc>
                <a:tc>
                  <a:txBody>
                    <a:bodyPr/>
                    <a:lstStyle/>
                    <a:p>
                      <a:r>
                        <a:rPr lang="en-GB" sz="1100">
                          <a:latin typeface="+mj-lt"/>
                        </a:rPr>
                        <a:t>150</a:t>
                      </a:r>
                    </a:p>
                  </a:txBody>
                  <a:tcPr/>
                </a:tc>
                <a:tc>
                  <a:txBody>
                    <a:bodyPr/>
                    <a:lstStyle/>
                    <a:p>
                      <a:r>
                        <a:rPr lang="en-GB" sz="1100">
                          <a:latin typeface="+mj-lt"/>
                        </a:rPr>
                        <a:t>5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56060864"/>
                  </a:ext>
                </a:extLst>
              </a:tr>
              <a:tr h="288145">
                <a:tc>
                  <a:txBody>
                    <a:bodyPr/>
                    <a:lstStyle/>
                    <a:p>
                      <a:r>
                        <a:rPr lang="en-GB" sz="1100">
                          <a:latin typeface="+mj-lt"/>
                        </a:rPr>
                        <a:t>Reinstatement premium </a:t>
                      </a:r>
                      <a:r>
                        <a:rPr lang="en-GB" sz="1100" kern="1200">
                          <a:solidFill>
                            <a:schemeClr val="tx1"/>
                          </a:solidFill>
                          <a:latin typeface="+mj-lt"/>
                          <a:ea typeface="+mn-ea"/>
                          <a:cs typeface="+mn-cs"/>
                        </a:rPr>
                        <a:t>(50% </a:t>
                      </a:r>
                      <a:r>
                        <a:rPr lang="en-GB" sz="1100" kern="1200" err="1">
                          <a:solidFill>
                            <a:schemeClr val="tx1"/>
                          </a:solidFill>
                          <a:latin typeface="+mj-lt"/>
                          <a:ea typeface="+mn-ea"/>
                          <a:cs typeface="+mn-cs"/>
                        </a:rPr>
                        <a:t>RoL</a:t>
                      </a:r>
                      <a:r>
                        <a:rPr lang="en-GB" sz="1100" kern="1200">
                          <a:solidFill>
                            <a:schemeClr val="tx1"/>
                          </a:solidFill>
                          <a:latin typeface="+mj-lt"/>
                          <a:ea typeface="+mn-ea"/>
                          <a:cs typeface="+mn-cs"/>
                        </a:rPr>
                        <a:t>)</a:t>
                      </a:r>
                      <a:endParaRPr lang="en-GB" sz="1100">
                        <a:latin typeface="+mj-lt"/>
                      </a:endParaRPr>
                    </a:p>
                  </a:txBody>
                  <a:tcPr>
                    <a:lnL w="12700" cap="flat" cmpd="sng" algn="ctr">
                      <a:solidFill>
                        <a:schemeClr val="bg1">
                          <a:lumMod val="65000"/>
                        </a:schemeClr>
                      </a:solidFill>
                      <a:prstDash val="solid"/>
                      <a:round/>
                      <a:headEnd type="none" w="med" len="med"/>
                      <a:tailEnd type="none" w="med" len="med"/>
                    </a:ln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j-lt"/>
                        </a:rPr>
                        <a:t>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j-lt"/>
                        </a:rPr>
                        <a:t>7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latin typeface="+mj-lt"/>
                        </a:rPr>
                        <a:t>25</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4027452866"/>
                  </a:ext>
                </a:extLst>
              </a:tr>
              <a:tr h="251776">
                <a:tc>
                  <a:txBody>
                    <a:bodyPr/>
                    <a:lstStyle/>
                    <a:p>
                      <a:r>
                        <a:rPr lang="en-GB" sz="1100" dirty="0">
                          <a:latin typeface="+mj-lt"/>
                        </a:rPr>
                        <a:t>PC [50% of upfront premium + </a:t>
                      </a:r>
                      <a:r>
                        <a:rPr lang="en-GB" sz="1100" dirty="0" err="1">
                          <a:latin typeface="+mj-lt"/>
                        </a:rPr>
                        <a:t>reinst</a:t>
                      </a:r>
                      <a:r>
                        <a:rPr lang="en-GB" sz="1100" dirty="0">
                          <a:latin typeface="+mj-lt"/>
                        </a:rPr>
                        <a:t> prem – claims] </a:t>
                      </a:r>
                    </a:p>
                  </a:txBody>
                  <a:tcP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tcPr>
                </a:tc>
                <a:tc>
                  <a:txBody>
                    <a:bodyPr/>
                    <a:lstStyle/>
                    <a:p>
                      <a:r>
                        <a:rPr lang="en-GB" sz="1100">
                          <a:latin typeface="+mj-lt"/>
                        </a:rPr>
                        <a:t>50</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100">
                          <a:latin typeface="+mj-lt"/>
                        </a:rPr>
                        <a:t>-25</a:t>
                      </a:r>
                    </a:p>
                  </a:txBody>
                  <a:tcPr>
                    <a:lnB w="12700" cap="flat" cmpd="sng" algn="ctr">
                      <a:solidFill>
                        <a:schemeClr val="bg1">
                          <a:lumMod val="65000"/>
                        </a:schemeClr>
                      </a:solidFill>
                      <a:prstDash val="solid"/>
                      <a:round/>
                      <a:headEnd type="none" w="med" len="med"/>
                      <a:tailEnd type="none" w="med" len="med"/>
                    </a:lnB>
                  </a:tcPr>
                </a:tc>
                <a:tc>
                  <a:txBody>
                    <a:bodyPr/>
                    <a:lstStyle/>
                    <a:p>
                      <a:r>
                        <a:rPr lang="en-GB" sz="1100" dirty="0">
                          <a:latin typeface="+mj-lt"/>
                        </a:rPr>
                        <a:t>25</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95036298"/>
                  </a:ext>
                </a:extLst>
              </a:tr>
            </a:tbl>
          </a:graphicData>
        </a:graphic>
      </p:graphicFrame>
      <p:sp>
        <p:nvSpPr>
          <p:cNvPr id="14" name="Content Placeholder 1">
            <a:extLst>
              <a:ext uri="{FF2B5EF4-FFF2-40B4-BE49-F238E27FC236}">
                <a16:creationId xmlns:a16="http://schemas.microsoft.com/office/drawing/2014/main" xmlns="" id="{FDA188A1-D8C7-4081-BC55-5A6A9291ED11}"/>
              </a:ext>
            </a:extLst>
          </p:cNvPr>
          <p:cNvSpPr txBox="1">
            <a:spLocks/>
          </p:cNvSpPr>
          <p:nvPr/>
        </p:nvSpPr>
        <p:spPr bwMode="black">
          <a:xfrm>
            <a:off x="7303043" y="260648"/>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a:latin typeface="+mn-lt"/>
              </a:rPr>
              <a:t>IFRS 17</a:t>
            </a:r>
          </a:p>
          <a:p>
            <a:pPr marL="0" indent="0">
              <a:buNone/>
            </a:pPr>
            <a:endParaRPr lang="en-GB" sz="900">
              <a:latin typeface="+mn-lt"/>
            </a:endParaRPr>
          </a:p>
          <a:p>
            <a:pPr marL="0" indent="0">
              <a:buNone/>
            </a:pPr>
            <a:endParaRPr lang="en-GB" sz="900">
              <a:latin typeface="+mn-lt"/>
            </a:endParaRPr>
          </a:p>
          <a:p>
            <a:pPr marL="0" indent="0">
              <a:buNone/>
            </a:pPr>
            <a:endParaRPr lang="en-GB" sz="1400">
              <a:latin typeface="+mn-lt"/>
            </a:endParaRPr>
          </a:p>
          <a:p>
            <a:pPr marL="0" indent="0">
              <a:buNone/>
            </a:pPr>
            <a:endParaRPr lang="en-GB" sz="1400">
              <a:latin typeface="+mn-lt"/>
            </a:endParaRPr>
          </a:p>
        </p:txBody>
      </p:sp>
      <p:pic>
        <p:nvPicPr>
          <p:cNvPr id="17" name="Picture 16">
            <a:extLst>
              <a:ext uri="{FF2B5EF4-FFF2-40B4-BE49-F238E27FC236}">
                <a16:creationId xmlns:a16="http://schemas.microsoft.com/office/drawing/2014/main" xmlns="" id="{18762E24-B279-44F1-B28F-B2B577B1D237}"/>
              </a:ext>
            </a:extLst>
          </p:cNvPr>
          <p:cNvPicPr>
            <a:picLocks noChangeAspect="1"/>
          </p:cNvPicPr>
          <p:nvPr/>
        </p:nvPicPr>
        <p:blipFill rotWithShape="1">
          <a:blip r:embed="rId2"/>
          <a:srcRect r="24363"/>
          <a:stretch/>
        </p:blipFill>
        <p:spPr>
          <a:xfrm>
            <a:off x="7303043" y="660275"/>
            <a:ext cx="3234112" cy="4893193"/>
          </a:xfrm>
          <a:prstGeom prst="rect">
            <a:avLst/>
          </a:prstGeom>
        </p:spPr>
      </p:pic>
      <p:sp>
        <p:nvSpPr>
          <p:cNvPr id="18" name="Rectangle: Rounded Corners 17">
            <a:extLst>
              <a:ext uri="{FF2B5EF4-FFF2-40B4-BE49-F238E27FC236}">
                <a16:creationId xmlns:a16="http://schemas.microsoft.com/office/drawing/2014/main" xmlns="" id="{899E217B-2656-4A6A-8969-5CEF6C8D2A1C}"/>
              </a:ext>
            </a:extLst>
          </p:cNvPr>
          <p:cNvSpPr/>
          <p:nvPr/>
        </p:nvSpPr>
        <p:spPr>
          <a:xfrm>
            <a:off x="9884132" y="423721"/>
            <a:ext cx="846841" cy="4948578"/>
          </a:xfrm>
          <a:prstGeom prst="roundRect">
            <a:avLst>
              <a:gd name="adj" fmla="val 4637"/>
            </a:avLst>
          </a:prstGeom>
          <a:solidFill>
            <a:srgbClr val="D1DCD6">
              <a:alpha val="20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100">
                <a:solidFill>
                  <a:schemeClr val="tx1"/>
                </a:solidFill>
              </a:rPr>
              <a:t>Expected</a:t>
            </a:r>
          </a:p>
        </p:txBody>
      </p:sp>
      <p:sp>
        <p:nvSpPr>
          <p:cNvPr id="13" name="Content Placeholder 1">
            <a:extLst>
              <a:ext uri="{FF2B5EF4-FFF2-40B4-BE49-F238E27FC236}">
                <a16:creationId xmlns:a16="http://schemas.microsoft.com/office/drawing/2014/main" xmlns="" id="{2BFDB845-C729-4A9A-AB8A-E4AFD5AECCD7}"/>
              </a:ext>
            </a:extLst>
          </p:cNvPr>
          <p:cNvSpPr txBox="1">
            <a:spLocks/>
          </p:cNvSpPr>
          <p:nvPr/>
        </p:nvSpPr>
        <p:spPr bwMode="black">
          <a:xfrm>
            <a:off x="656444" y="4101025"/>
            <a:ext cx="4315335"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Current IFRS, the “local way”, i.e. PC at end</a:t>
            </a:r>
          </a:p>
          <a:p>
            <a:pPr marL="0" indent="0">
              <a:buNone/>
            </a:pPr>
            <a:endParaRPr lang="en-GB" sz="900" dirty="0">
              <a:latin typeface="+mn-lt"/>
            </a:endParaRPr>
          </a:p>
          <a:p>
            <a:pPr marL="0" indent="0">
              <a:buNone/>
            </a:pPr>
            <a:endParaRPr lang="en-GB" sz="900" dirty="0">
              <a:latin typeface="+mn-lt"/>
            </a:endParaRPr>
          </a:p>
          <a:p>
            <a:pPr marL="0" indent="0">
              <a:buNone/>
            </a:pPr>
            <a:endParaRPr lang="en-GB" sz="1400" dirty="0">
              <a:latin typeface="+mn-lt"/>
            </a:endParaRPr>
          </a:p>
          <a:p>
            <a:pPr marL="0" indent="0">
              <a:buNone/>
            </a:pPr>
            <a:endParaRPr lang="en-GB" sz="1400" dirty="0">
              <a:latin typeface="+mn-lt"/>
            </a:endParaRPr>
          </a:p>
        </p:txBody>
      </p:sp>
      <p:sp>
        <p:nvSpPr>
          <p:cNvPr id="15" name="Arrow: Left-Right 14">
            <a:extLst>
              <a:ext uri="{FF2B5EF4-FFF2-40B4-BE49-F238E27FC236}">
                <a16:creationId xmlns:a16="http://schemas.microsoft.com/office/drawing/2014/main" xmlns="" id="{77C52615-8D99-446F-B8AD-1C8DAE1823F4}"/>
              </a:ext>
            </a:extLst>
          </p:cNvPr>
          <p:cNvSpPr/>
          <p:nvPr/>
        </p:nvSpPr>
        <p:spPr>
          <a:xfrm>
            <a:off x="3926379" y="4581128"/>
            <a:ext cx="3124863" cy="1132673"/>
          </a:xfrm>
          <a:prstGeom prst="leftRightArrow">
            <a:avLst>
              <a:gd name="adj1" fmla="val 79725"/>
              <a:gd name="adj2" fmla="val 50000"/>
            </a:avLst>
          </a:prstGeom>
          <a:solidFill>
            <a:srgbClr val="0B4C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Increased volatility because of large claim in Y2 </a:t>
            </a:r>
            <a:r>
              <a:rPr lang="en-GB" sz="1400" dirty="0"/>
              <a:t>(PC adjusted); less impact in IFRS4</a:t>
            </a:r>
          </a:p>
        </p:txBody>
      </p:sp>
      <p:pic>
        <p:nvPicPr>
          <p:cNvPr id="8" name="Picture 7">
            <a:extLst>
              <a:ext uri="{FF2B5EF4-FFF2-40B4-BE49-F238E27FC236}">
                <a16:creationId xmlns:a16="http://schemas.microsoft.com/office/drawing/2014/main" xmlns="" id="{20859666-E258-43FE-A8C9-87564D4A4987}"/>
              </a:ext>
            </a:extLst>
          </p:cNvPr>
          <p:cNvPicPr>
            <a:picLocks noChangeAspect="1"/>
          </p:cNvPicPr>
          <p:nvPr/>
        </p:nvPicPr>
        <p:blipFill>
          <a:blip r:embed="rId3"/>
          <a:stretch>
            <a:fillRect/>
          </a:stretch>
        </p:blipFill>
        <p:spPr>
          <a:xfrm>
            <a:off x="623392" y="4478585"/>
            <a:ext cx="2799720" cy="1542703"/>
          </a:xfrm>
          <a:prstGeom prst="rect">
            <a:avLst/>
          </a:prstGeom>
        </p:spPr>
      </p:pic>
      <p:pic>
        <p:nvPicPr>
          <p:cNvPr id="12" name="Picture 11">
            <a:extLst>
              <a:ext uri="{FF2B5EF4-FFF2-40B4-BE49-F238E27FC236}">
                <a16:creationId xmlns:a16="http://schemas.microsoft.com/office/drawing/2014/main" xmlns="" id="{0752D891-4E1E-4189-B944-9359FC17A2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10834" y="6110194"/>
            <a:ext cx="634884" cy="639563"/>
          </a:xfrm>
          <a:prstGeom prst="rect">
            <a:avLst/>
          </a:prstGeom>
        </p:spPr>
      </p:pic>
    </p:spTree>
    <p:extLst>
      <p:ext uri="{BB962C8B-B14F-4D97-AF65-F5344CB8AC3E}">
        <p14:creationId xmlns:p14="http://schemas.microsoft.com/office/powerpoint/2010/main" val="258866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10A481A-598B-42C7-BB76-30CD8097E7D0}"/>
              </a:ext>
            </a:extLst>
          </p:cNvPr>
          <p:cNvSpPr>
            <a:spLocks noGrp="1"/>
          </p:cNvSpPr>
          <p:nvPr>
            <p:ph type="title"/>
          </p:nvPr>
        </p:nvSpPr>
        <p:spPr>
          <a:xfrm>
            <a:off x="608021" y="260648"/>
            <a:ext cx="10655299" cy="692647"/>
          </a:xfrm>
        </p:spPr>
        <p:txBody>
          <a:bodyPr/>
          <a:lstStyle/>
          <a:p>
            <a:r>
              <a:rPr lang="en-GB" sz="2000" i="1" dirty="0">
                <a:solidFill>
                  <a:srgbClr val="0B4CB5"/>
                </a:solidFill>
              </a:rPr>
              <a:t>Illustration 6 – MYML with PC and adverse claims</a:t>
            </a:r>
            <a:br>
              <a:rPr lang="en-GB" sz="2000" i="1" dirty="0">
                <a:solidFill>
                  <a:srgbClr val="0B4CB5"/>
                </a:solidFill>
              </a:rPr>
            </a:br>
            <a:r>
              <a:rPr lang="en-GB" dirty="0">
                <a:solidFill>
                  <a:srgbClr val="0B4CB5"/>
                </a:solidFill>
              </a:rPr>
              <a:t>At the end of Y3</a:t>
            </a:r>
          </a:p>
        </p:txBody>
      </p:sp>
      <p:sp>
        <p:nvSpPr>
          <p:cNvPr id="11" name="Content Placeholder 1">
            <a:extLst>
              <a:ext uri="{FF2B5EF4-FFF2-40B4-BE49-F238E27FC236}">
                <a16:creationId xmlns:a16="http://schemas.microsoft.com/office/drawing/2014/main" xmlns="" id="{E88BCCC9-4197-4BCB-8E43-23339B459CF5}"/>
              </a:ext>
            </a:extLst>
          </p:cNvPr>
          <p:cNvSpPr txBox="1">
            <a:spLocks/>
          </p:cNvSpPr>
          <p:nvPr/>
        </p:nvSpPr>
        <p:spPr bwMode="black">
          <a:xfrm>
            <a:off x="608021" y="1459621"/>
            <a:ext cx="4962446" cy="359277"/>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All years are known</a:t>
            </a:r>
          </a:p>
        </p:txBody>
      </p:sp>
      <p:graphicFrame>
        <p:nvGraphicFramePr>
          <p:cNvPr id="6" name="Table 12">
            <a:extLst>
              <a:ext uri="{FF2B5EF4-FFF2-40B4-BE49-F238E27FC236}">
                <a16:creationId xmlns:a16="http://schemas.microsoft.com/office/drawing/2014/main" xmlns="" id="{32862336-7488-4AA0-9915-B23B58A067CB}"/>
              </a:ext>
            </a:extLst>
          </p:cNvPr>
          <p:cNvGraphicFramePr>
            <a:graphicFrameLocks noGrp="1"/>
          </p:cNvGraphicFramePr>
          <p:nvPr/>
        </p:nvGraphicFramePr>
        <p:xfrm>
          <a:off x="619407" y="1730706"/>
          <a:ext cx="6052657" cy="2130342"/>
        </p:xfrm>
        <a:graphic>
          <a:graphicData uri="http://schemas.openxmlformats.org/drawingml/2006/table">
            <a:tbl>
              <a:tblPr firstRow="1" bandRow="1"/>
              <a:tblGrid>
                <a:gridCol w="3955297">
                  <a:extLst>
                    <a:ext uri="{9D8B030D-6E8A-4147-A177-3AD203B41FA5}">
                      <a16:colId xmlns:a16="http://schemas.microsoft.com/office/drawing/2014/main" xmlns="" val="413207125"/>
                    </a:ext>
                  </a:extLst>
                </a:gridCol>
                <a:gridCol w="679967">
                  <a:extLst>
                    <a:ext uri="{9D8B030D-6E8A-4147-A177-3AD203B41FA5}">
                      <a16:colId xmlns:a16="http://schemas.microsoft.com/office/drawing/2014/main" xmlns="" val="2060198094"/>
                    </a:ext>
                  </a:extLst>
                </a:gridCol>
                <a:gridCol w="737428">
                  <a:extLst>
                    <a:ext uri="{9D8B030D-6E8A-4147-A177-3AD203B41FA5}">
                      <a16:colId xmlns:a16="http://schemas.microsoft.com/office/drawing/2014/main" xmlns="" val="741693419"/>
                    </a:ext>
                  </a:extLst>
                </a:gridCol>
                <a:gridCol w="679965">
                  <a:extLst>
                    <a:ext uri="{9D8B030D-6E8A-4147-A177-3AD203B41FA5}">
                      <a16:colId xmlns:a16="http://schemas.microsoft.com/office/drawing/2014/main" xmlns="" val="61309910"/>
                    </a:ext>
                  </a:extLst>
                </a:gridCol>
              </a:tblGrid>
              <a:tr h="256945">
                <a:tc>
                  <a:txBody>
                    <a:bodyPr/>
                    <a:lstStyle/>
                    <a:p>
                      <a:r>
                        <a:rPr lang="en-GB" sz="1100"/>
                        <a:t>KPI</a:t>
                      </a:r>
                    </a:p>
                  </a:txBody>
                  <a:tcPr>
                    <a:lnL w="12700" cap="flat" cmpd="sng" algn="ctr">
                      <a:solidFill>
                        <a:schemeClr val="bg1">
                          <a:lumMod val="65000"/>
                        </a:schemeClr>
                      </a:solidFill>
                      <a:prstDash val="solid"/>
                      <a:round/>
                      <a:headEnd type="none" w="med" len="med"/>
                      <a:tailEnd type="none" w="med" len="med"/>
                    </a:lnL>
                    <a:lnT w="12700" cap="flat" cmpd="sng" algn="ctr">
                      <a:solidFill>
                        <a:schemeClr val="bg1">
                          <a:lumMod val="65000"/>
                        </a:schemeClr>
                      </a:solidFill>
                      <a:prstDash val="solid"/>
                      <a:round/>
                      <a:headEnd type="none" w="med" len="med"/>
                      <a:tailEnd type="none" w="med" len="med"/>
                    </a:lnT>
                  </a:tcPr>
                </a:tc>
                <a:tc>
                  <a:txBody>
                    <a:bodyPr/>
                    <a:lstStyle/>
                    <a:p>
                      <a:r>
                        <a:rPr lang="en-GB" sz="1100"/>
                        <a:t>Y1</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100"/>
                        <a:t>Y2</a:t>
                      </a:r>
                    </a:p>
                  </a:txBody>
                  <a:tcPr>
                    <a:lnT w="12700" cap="flat" cmpd="sng" algn="ctr">
                      <a:solidFill>
                        <a:schemeClr val="bg1">
                          <a:lumMod val="65000"/>
                        </a:schemeClr>
                      </a:solidFill>
                      <a:prstDash val="solid"/>
                      <a:round/>
                      <a:headEnd type="none" w="med" len="med"/>
                      <a:tailEnd type="none" w="med" len="med"/>
                    </a:lnT>
                  </a:tcPr>
                </a:tc>
                <a:tc>
                  <a:txBody>
                    <a:bodyPr/>
                    <a:lstStyle/>
                    <a:p>
                      <a:r>
                        <a:rPr lang="en-GB" sz="1100"/>
                        <a:t>Y3</a:t>
                      </a:r>
                    </a:p>
                  </a:txBody>
                  <a:tcPr>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xmlns="" val="4083775192"/>
                  </a:ext>
                </a:extLst>
              </a:tr>
              <a:tr h="256945">
                <a:tc>
                  <a:txBody>
                    <a:bodyPr/>
                    <a:lstStyle/>
                    <a:p>
                      <a:r>
                        <a:rPr lang="en-GB" sz="1100">
                          <a:latin typeface="+mj-lt"/>
                        </a:rPr>
                        <a:t>Gross premium</a:t>
                      </a:r>
                    </a:p>
                  </a:txBody>
                  <a:tcPr>
                    <a:lnL w="12700" cap="flat" cmpd="sng" algn="ctr">
                      <a:solidFill>
                        <a:schemeClr val="bg1">
                          <a:lumMod val="65000"/>
                        </a:schemeClr>
                      </a:solidFill>
                      <a:prstDash val="solid"/>
                      <a:round/>
                      <a:headEnd type="none" w="med" len="med"/>
                      <a:tailEnd type="none" w="med" len="med"/>
                    </a:lnL>
                  </a:tcPr>
                </a:tc>
                <a:tc>
                  <a:txBody>
                    <a:bodyPr/>
                    <a:lstStyle/>
                    <a:p>
                      <a:pPr algn="r"/>
                      <a:r>
                        <a:rPr lang="en-GB" sz="1100">
                          <a:latin typeface="+mj-lt"/>
                        </a:rPr>
                        <a:t>1000</a:t>
                      </a:r>
                    </a:p>
                  </a:txBody>
                  <a:tcPr/>
                </a:tc>
                <a:tc>
                  <a:txBody>
                    <a:bodyPr/>
                    <a:lstStyle/>
                    <a:p>
                      <a:pPr algn="r"/>
                      <a:r>
                        <a:rPr lang="en-GB" sz="1100">
                          <a:latin typeface="+mj-lt"/>
                        </a:rPr>
                        <a:t>1000</a:t>
                      </a:r>
                    </a:p>
                  </a:txBody>
                  <a:tcPr/>
                </a:tc>
                <a:tc>
                  <a:txBody>
                    <a:bodyPr/>
                    <a:lstStyle/>
                    <a:p>
                      <a:pPr algn="r"/>
                      <a:r>
                        <a:rPr lang="en-GB" sz="1100">
                          <a:latin typeface="+mj-lt"/>
                        </a:rPr>
                        <a:t>10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1493429434"/>
                  </a:ext>
                </a:extLst>
              </a:tr>
              <a:tr h="256945">
                <a:tc>
                  <a:txBody>
                    <a:bodyPr/>
                    <a:lstStyle/>
                    <a:p>
                      <a:r>
                        <a:rPr lang="en-GB" sz="1100">
                          <a:latin typeface="+mj-lt"/>
                        </a:rPr>
                        <a:t>Gross claims</a:t>
                      </a:r>
                    </a:p>
                  </a:txBody>
                  <a:tcPr>
                    <a:lnL w="12700" cap="flat" cmpd="sng" algn="ctr">
                      <a:solidFill>
                        <a:schemeClr val="bg1">
                          <a:lumMod val="65000"/>
                        </a:schemeClr>
                      </a:solidFill>
                      <a:prstDash val="solid"/>
                      <a:round/>
                      <a:headEnd type="none" w="med" len="med"/>
                      <a:tailEnd type="none" w="med" len="med"/>
                    </a:lnL>
                  </a:tcPr>
                </a:tc>
                <a:tc>
                  <a:txBody>
                    <a:bodyPr/>
                    <a:lstStyle/>
                    <a:p>
                      <a:pPr algn="r"/>
                      <a:r>
                        <a:rPr lang="en-GB" sz="1100">
                          <a:latin typeface="+mj-lt"/>
                        </a:rPr>
                        <a:t>400</a:t>
                      </a:r>
                    </a:p>
                  </a:txBody>
                  <a:tcPr/>
                </a:tc>
                <a:tc>
                  <a:txBody>
                    <a:bodyPr/>
                    <a:lstStyle/>
                    <a:p>
                      <a:pPr algn="r"/>
                      <a:r>
                        <a:rPr lang="en-GB" sz="1100">
                          <a:latin typeface="+mj-lt"/>
                        </a:rPr>
                        <a:t>550</a:t>
                      </a:r>
                    </a:p>
                  </a:txBody>
                  <a:tcPr/>
                </a:tc>
                <a:tc>
                  <a:txBody>
                    <a:bodyPr/>
                    <a:lstStyle/>
                    <a:p>
                      <a:pPr algn="r"/>
                      <a:r>
                        <a:rPr lang="en-GB" sz="1100">
                          <a:latin typeface="+mj-lt"/>
                        </a:rPr>
                        <a:t>4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3887538142"/>
                  </a:ext>
                </a:extLst>
              </a:tr>
              <a:tr h="256945">
                <a:tc>
                  <a:txBody>
                    <a:bodyPr/>
                    <a:lstStyle/>
                    <a:p>
                      <a:r>
                        <a:rPr lang="en-GB" sz="1100" dirty="0">
                          <a:latin typeface="+mj-lt"/>
                        </a:rPr>
                        <a:t>Gross expenses</a:t>
                      </a:r>
                    </a:p>
                  </a:txBody>
                  <a:tcPr>
                    <a:lnL w="12700" cap="flat" cmpd="sng" algn="ctr">
                      <a:solidFill>
                        <a:schemeClr val="bg1">
                          <a:lumMod val="65000"/>
                        </a:schemeClr>
                      </a:solidFill>
                      <a:prstDash val="solid"/>
                      <a:round/>
                      <a:headEnd type="none" w="med" len="med"/>
                      <a:tailEnd type="none" w="med" len="med"/>
                    </a:lnL>
                  </a:tcPr>
                </a:tc>
                <a:tc>
                  <a:txBody>
                    <a:bodyPr/>
                    <a:lstStyle/>
                    <a:p>
                      <a:pPr algn="r"/>
                      <a:r>
                        <a:rPr lang="en-GB" sz="1100">
                          <a:latin typeface="+mj-lt"/>
                        </a:rPr>
                        <a:t>400</a:t>
                      </a:r>
                    </a:p>
                  </a:txBody>
                  <a:tcPr/>
                </a:tc>
                <a:tc>
                  <a:txBody>
                    <a:bodyPr/>
                    <a:lstStyle/>
                    <a:p>
                      <a:pPr algn="r"/>
                      <a:r>
                        <a:rPr lang="en-GB" sz="1100">
                          <a:latin typeface="+mj-lt"/>
                        </a:rPr>
                        <a:t>400</a:t>
                      </a:r>
                    </a:p>
                  </a:txBody>
                  <a:tcPr/>
                </a:tc>
                <a:tc>
                  <a:txBody>
                    <a:bodyPr/>
                    <a:lstStyle/>
                    <a:p>
                      <a:pPr algn="r"/>
                      <a:r>
                        <a:rPr lang="en-GB" sz="1100">
                          <a:latin typeface="+mj-lt"/>
                        </a:rPr>
                        <a:t>4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924814871"/>
                  </a:ext>
                </a:extLst>
              </a:tr>
              <a:tr h="256945">
                <a:tc>
                  <a:txBody>
                    <a:bodyPr/>
                    <a:lstStyle/>
                    <a:p>
                      <a:r>
                        <a:rPr lang="en-GB" sz="1100">
                          <a:latin typeface="+mj-lt"/>
                        </a:rPr>
                        <a:t>Ceded premium</a:t>
                      </a:r>
                    </a:p>
                  </a:txBody>
                  <a:tcPr>
                    <a:lnL w="12700" cap="flat" cmpd="sng" algn="ctr">
                      <a:solidFill>
                        <a:schemeClr val="bg1">
                          <a:lumMod val="65000"/>
                        </a:schemeClr>
                      </a:solidFill>
                      <a:prstDash val="solid"/>
                      <a:round/>
                      <a:headEnd type="none" w="med" len="med"/>
                      <a:tailEnd type="none" w="med" len="med"/>
                    </a:lnL>
                  </a:tcPr>
                </a:tc>
                <a:tc>
                  <a:txBody>
                    <a:bodyPr/>
                    <a:lstStyle/>
                    <a:p>
                      <a:pPr algn="r"/>
                      <a:r>
                        <a:rPr lang="en-GB" sz="1100">
                          <a:latin typeface="+mj-lt"/>
                        </a:rPr>
                        <a:t>100</a:t>
                      </a:r>
                    </a:p>
                  </a:txBody>
                  <a:tcPr/>
                </a:tc>
                <a:tc>
                  <a:txBody>
                    <a:bodyPr/>
                    <a:lstStyle/>
                    <a:p>
                      <a:pPr algn="r"/>
                      <a:r>
                        <a:rPr lang="en-GB" sz="1100">
                          <a:latin typeface="+mj-lt"/>
                        </a:rPr>
                        <a:t>100</a:t>
                      </a:r>
                    </a:p>
                  </a:txBody>
                  <a:tcPr/>
                </a:tc>
                <a:tc>
                  <a:txBody>
                    <a:bodyPr/>
                    <a:lstStyle/>
                    <a:p>
                      <a:pPr algn="r"/>
                      <a:r>
                        <a:rPr lang="en-GB" sz="1100">
                          <a:latin typeface="+mj-lt"/>
                        </a:rPr>
                        <a:t>10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439580221"/>
                  </a:ext>
                </a:extLst>
              </a:tr>
              <a:tr h="256945">
                <a:tc>
                  <a:txBody>
                    <a:bodyPr/>
                    <a:lstStyle/>
                    <a:p>
                      <a:r>
                        <a:rPr lang="en-GB" sz="1100">
                          <a:latin typeface="+mj-lt"/>
                        </a:rPr>
                        <a:t>Ceded claims</a:t>
                      </a:r>
                    </a:p>
                  </a:txBody>
                  <a:tcPr>
                    <a:lnL w="12700" cap="flat" cmpd="sng" algn="ctr">
                      <a:solidFill>
                        <a:schemeClr val="bg1">
                          <a:lumMod val="65000"/>
                        </a:schemeClr>
                      </a:solidFill>
                      <a:prstDash val="solid"/>
                      <a:round/>
                      <a:headEnd type="none" w="med" len="med"/>
                      <a:tailEnd type="none" w="med" len="med"/>
                    </a:lnL>
                  </a:tcPr>
                </a:tc>
                <a:tc>
                  <a:txBody>
                    <a:bodyPr/>
                    <a:lstStyle/>
                    <a:p>
                      <a:pPr algn="r"/>
                      <a:r>
                        <a:rPr lang="en-GB" sz="1100">
                          <a:latin typeface="+mj-lt"/>
                        </a:rPr>
                        <a:t>0</a:t>
                      </a:r>
                    </a:p>
                  </a:txBody>
                  <a:tcPr/>
                </a:tc>
                <a:tc>
                  <a:txBody>
                    <a:bodyPr/>
                    <a:lstStyle/>
                    <a:p>
                      <a:pPr algn="r"/>
                      <a:r>
                        <a:rPr lang="en-GB" sz="1100">
                          <a:latin typeface="+mj-lt"/>
                        </a:rPr>
                        <a:t>150</a:t>
                      </a:r>
                    </a:p>
                  </a:txBody>
                  <a:tcPr/>
                </a:tc>
                <a:tc>
                  <a:txBody>
                    <a:bodyPr/>
                    <a:lstStyle/>
                    <a:p>
                      <a:pPr algn="r"/>
                      <a:r>
                        <a:rPr lang="en-GB" sz="1100">
                          <a:latin typeface="+mj-lt"/>
                        </a:rPr>
                        <a:t>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256060864"/>
                  </a:ext>
                </a:extLst>
              </a:tr>
              <a:tr h="256945">
                <a:tc>
                  <a:txBody>
                    <a:bodyPr/>
                    <a:lstStyle/>
                    <a:p>
                      <a:r>
                        <a:rPr lang="en-GB" sz="1100">
                          <a:latin typeface="+mj-lt"/>
                        </a:rPr>
                        <a:t>Reinstatement premium </a:t>
                      </a:r>
                      <a:r>
                        <a:rPr lang="en-GB" sz="1100" kern="1200">
                          <a:solidFill>
                            <a:schemeClr val="tx1"/>
                          </a:solidFill>
                          <a:latin typeface="+mj-lt"/>
                          <a:ea typeface="+mn-ea"/>
                          <a:cs typeface="+mn-cs"/>
                        </a:rPr>
                        <a:t>(50% </a:t>
                      </a:r>
                      <a:r>
                        <a:rPr lang="en-GB" sz="1100" kern="1200" err="1">
                          <a:solidFill>
                            <a:schemeClr val="tx1"/>
                          </a:solidFill>
                          <a:latin typeface="+mj-lt"/>
                          <a:ea typeface="+mn-ea"/>
                          <a:cs typeface="+mn-cs"/>
                        </a:rPr>
                        <a:t>RoL</a:t>
                      </a:r>
                      <a:r>
                        <a:rPr lang="en-GB" sz="1100" kern="1200">
                          <a:solidFill>
                            <a:schemeClr val="tx1"/>
                          </a:solidFill>
                          <a:latin typeface="+mj-lt"/>
                          <a:ea typeface="+mn-ea"/>
                          <a:cs typeface="+mn-cs"/>
                        </a:rPr>
                        <a:t>)</a:t>
                      </a:r>
                      <a:endParaRPr lang="en-GB" sz="1100">
                        <a:latin typeface="+mj-lt"/>
                      </a:endParaRPr>
                    </a:p>
                  </a:txBody>
                  <a:tcPr>
                    <a:lnL w="12700" cap="flat" cmpd="sng" algn="ctr">
                      <a:solidFill>
                        <a:schemeClr val="bg1">
                          <a:lumMod val="65000"/>
                        </a:schemeClr>
                      </a:solidFill>
                      <a:prstDash val="solid"/>
                      <a:round/>
                      <a:headEnd type="none" w="med" len="med"/>
                      <a:tailEnd type="none" w="med" len="med"/>
                    </a:ln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a:latin typeface="+mj-lt"/>
                        </a:rPr>
                        <a:t>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a:latin typeface="+mj-lt"/>
                        </a:rPr>
                        <a:t>75</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a:latin typeface="+mj-lt"/>
                        </a:rPr>
                        <a:t>0</a:t>
                      </a:r>
                    </a:p>
                  </a:txBody>
                  <a:tcPr>
                    <a:lnR w="12700" cap="flat" cmpd="sng" algn="ctr">
                      <a:solidFill>
                        <a:schemeClr val="bg1">
                          <a:lumMod val="65000"/>
                        </a:schemeClr>
                      </a:solidFill>
                      <a:prstDash val="solid"/>
                      <a:round/>
                      <a:headEnd type="none" w="med" len="med"/>
                      <a:tailEnd type="none" w="med" len="med"/>
                    </a:lnR>
                  </a:tcPr>
                </a:tc>
                <a:extLst>
                  <a:ext uri="{0D108BD9-81ED-4DB2-BD59-A6C34878D82A}">
                    <a16:rowId xmlns:a16="http://schemas.microsoft.com/office/drawing/2014/main" xmlns="" val="4027452866"/>
                  </a:ext>
                </a:extLst>
              </a:tr>
              <a:tr h="316782">
                <a:tc>
                  <a:txBody>
                    <a:bodyPr/>
                    <a:lstStyle/>
                    <a:p>
                      <a:r>
                        <a:rPr lang="en-GB" sz="1100" dirty="0">
                          <a:latin typeface="+mj-lt"/>
                        </a:rPr>
                        <a:t>PC [50% of upfront premium + </a:t>
                      </a:r>
                      <a:r>
                        <a:rPr lang="en-GB" sz="1100" dirty="0" err="1">
                          <a:latin typeface="+mj-lt"/>
                        </a:rPr>
                        <a:t>reinst</a:t>
                      </a:r>
                      <a:r>
                        <a:rPr lang="en-GB" sz="1100" dirty="0">
                          <a:latin typeface="+mj-lt"/>
                        </a:rPr>
                        <a:t> prem – claims] </a:t>
                      </a:r>
                    </a:p>
                  </a:txBody>
                  <a:tcPr>
                    <a:lnL w="12700" cap="flat" cmpd="sng" algn="ctr">
                      <a:solidFill>
                        <a:schemeClr val="bg1">
                          <a:lumMod val="65000"/>
                        </a:schemeClr>
                      </a:solidFill>
                      <a:prstDash val="solid"/>
                      <a:round/>
                      <a:headEnd type="none" w="med" len="med"/>
                      <a:tailEnd type="none" w="med" len="med"/>
                    </a:lnL>
                    <a:lnB w="12700" cap="flat" cmpd="sng" algn="ctr">
                      <a:solidFill>
                        <a:schemeClr val="bg1">
                          <a:lumMod val="65000"/>
                        </a:schemeClr>
                      </a:solidFill>
                      <a:prstDash val="solid"/>
                      <a:round/>
                      <a:headEnd type="none" w="med" len="med"/>
                      <a:tailEnd type="none" w="med" len="med"/>
                    </a:lnB>
                  </a:tcPr>
                </a:tc>
                <a:tc>
                  <a:txBody>
                    <a:bodyPr/>
                    <a:lstStyle/>
                    <a:p>
                      <a:pPr algn="r"/>
                      <a:r>
                        <a:rPr lang="en-GB" sz="1100">
                          <a:latin typeface="+mj-lt"/>
                        </a:rPr>
                        <a:t>50</a:t>
                      </a:r>
                    </a:p>
                  </a:txBody>
                  <a:tcPr>
                    <a:lnB w="12700" cap="flat" cmpd="sng" algn="ctr">
                      <a:solidFill>
                        <a:schemeClr val="bg1">
                          <a:lumMod val="65000"/>
                        </a:schemeClr>
                      </a:solidFill>
                      <a:prstDash val="solid"/>
                      <a:round/>
                      <a:headEnd type="none" w="med" len="med"/>
                      <a:tailEnd type="none" w="med" len="med"/>
                    </a:lnB>
                  </a:tcPr>
                </a:tc>
                <a:tc>
                  <a:txBody>
                    <a:bodyPr/>
                    <a:lstStyle/>
                    <a:p>
                      <a:pPr algn="r"/>
                      <a:r>
                        <a:rPr lang="en-GB" sz="1100">
                          <a:latin typeface="+mj-lt"/>
                        </a:rPr>
                        <a:t>-25</a:t>
                      </a:r>
                    </a:p>
                  </a:txBody>
                  <a:tcPr>
                    <a:lnB w="12700" cap="flat" cmpd="sng" algn="ctr">
                      <a:solidFill>
                        <a:schemeClr val="bg1">
                          <a:lumMod val="65000"/>
                        </a:schemeClr>
                      </a:solidFill>
                      <a:prstDash val="solid"/>
                      <a:round/>
                      <a:headEnd type="none" w="med" len="med"/>
                      <a:tailEnd type="none" w="med" len="med"/>
                    </a:lnB>
                  </a:tcPr>
                </a:tc>
                <a:tc>
                  <a:txBody>
                    <a:bodyPr/>
                    <a:lstStyle/>
                    <a:p>
                      <a:pPr algn="r"/>
                      <a:r>
                        <a:rPr lang="en-GB" sz="1100" dirty="0">
                          <a:latin typeface="+mj-lt"/>
                        </a:rPr>
                        <a:t>50</a:t>
                      </a:r>
                    </a:p>
                  </a:txBody>
                  <a:tcPr>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2995036298"/>
                  </a:ext>
                </a:extLst>
              </a:tr>
            </a:tbl>
          </a:graphicData>
        </a:graphic>
      </p:graphicFrame>
      <p:sp>
        <p:nvSpPr>
          <p:cNvPr id="14" name="Content Placeholder 1">
            <a:extLst>
              <a:ext uri="{FF2B5EF4-FFF2-40B4-BE49-F238E27FC236}">
                <a16:creationId xmlns:a16="http://schemas.microsoft.com/office/drawing/2014/main" xmlns="" id="{FDA188A1-D8C7-4081-BC55-5A6A9291ED11}"/>
              </a:ext>
            </a:extLst>
          </p:cNvPr>
          <p:cNvSpPr txBox="1">
            <a:spLocks/>
          </p:cNvSpPr>
          <p:nvPr/>
        </p:nvSpPr>
        <p:spPr bwMode="black">
          <a:xfrm>
            <a:off x="7303043" y="260648"/>
            <a:ext cx="2569996"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a:latin typeface="+mn-lt"/>
              </a:rPr>
              <a:t>IFRS 17</a:t>
            </a:r>
          </a:p>
          <a:p>
            <a:pPr marL="0" indent="0">
              <a:buNone/>
            </a:pPr>
            <a:endParaRPr lang="en-GB" sz="900">
              <a:latin typeface="+mn-lt"/>
            </a:endParaRPr>
          </a:p>
          <a:p>
            <a:pPr marL="0" indent="0">
              <a:buNone/>
            </a:pPr>
            <a:endParaRPr lang="en-GB" sz="900">
              <a:latin typeface="+mn-lt"/>
            </a:endParaRPr>
          </a:p>
          <a:p>
            <a:pPr marL="0" indent="0">
              <a:buNone/>
            </a:pPr>
            <a:endParaRPr lang="en-GB" sz="1400">
              <a:latin typeface="+mn-lt"/>
            </a:endParaRPr>
          </a:p>
          <a:p>
            <a:pPr marL="0" indent="0">
              <a:buNone/>
            </a:pPr>
            <a:endParaRPr lang="en-GB" sz="1400">
              <a:latin typeface="+mn-lt"/>
            </a:endParaRPr>
          </a:p>
        </p:txBody>
      </p:sp>
      <p:pic>
        <p:nvPicPr>
          <p:cNvPr id="2" name="Picture 1">
            <a:extLst>
              <a:ext uri="{FF2B5EF4-FFF2-40B4-BE49-F238E27FC236}">
                <a16:creationId xmlns:a16="http://schemas.microsoft.com/office/drawing/2014/main" xmlns="" id="{782AAB58-2876-45A5-BDA6-140847A611BE}"/>
              </a:ext>
            </a:extLst>
          </p:cNvPr>
          <p:cNvPicPr>
            <a:picLocks noChangeAspect="1"/>
          </p:cNvPicPr>
          <p:nvPr/>
        </p:nvPicPr>
        <p:blipFill>
          <a:blip r:embed="rId2"/>
          <a:stretch>
            <a:fillRect/>
          </a:stretch>
        </p:blipFill>
        <p:spPr>
          <a:xfrm>
            <a:off x="7303043" y="515507"/>
            <a:ext cx="4398727" cy="5033849"/>
          </a:xfrm>
          <a:prstGeom prst="rect">
            <a:avLst/>
          </a:prstGeom>
        </p:spPr>
      </p:pic>
      <p:pic>
        <p:nvPicPr>
          <p:cNvPr id="9" name="Picture 8">
            <a:extLst>
              <a:ext uri="{FF2B5EF4-FFF2-40B4-BE49-F238E27FC236}">
                <a16:creationId xmlns:a16="http://schemas.microsoft.com/office/drawing/2014/main" xmlns="" id="{A4753401-D46E-4128-B043-0DA23C25209D}"/>
              </a:ext>
            </a:extLst>
          </p:cNvPr>
          <p:cNvPicPr>
            <a:picLocks noChangeAspect="1"/>
          </p:cNvPicPr>
          <p:nvPr/>
        </p:nvPicPr>
        <p:blipFill>
          <a:blip r:embed="rId3"/>
          <a:stretch>
            <a:fillRect/>
          </a:stretch>
        </p:blipFill>
        <p:spPr>
          <a:xfrm>
            <a:off x="623392" y="4308673"/>
            <a:ext cx="2966568" cy="1632557"/>
          </a:xfrm>
          <a:prstGeom prst="rect">
            <a:avLst/>
          </a:prstGeom>
        </p:spPr>
      </p:pic>
      <p:sp>
        <p:nvSpPr>
          <p:cNvPr id="15" name="Content Placeholder 1">
            <a:extLst>
              <a:ext uri="{FF2B5EF4-FFF2-40B4-BE49-F238E27FC236}">
                <a16:creationId xmlns:a16="http://schemas.microsoft.com/office/drawing/2014/main" xmlns="" id="{BC23E31E-627E-4BA6-9A47-290C62B8A2B4}"/>
              </a:ext>
            </a:extLst>
          </p:cNvPr>
          <p:cNvSpPr txBox="1">
            <a:spLocks/>
          </p:cNvSpPr>
          <p:nvPr/>
        </p:nvSpPr>
        <p:spPr bwMode="black">
          <a:xfrm>
            <a:off x="629229" y="4005064"/>
            <a:ext cx="4315335" cy="308370"/>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400" dirty="0">
                <a:latin typeface="+mn-lt"/>
              </a:rPr>
              <a:t>Current IFRS, the “local way”, i.e. PC at end</a:t>
            </a:r>
          </a:p>
          <a:p>
            <a:pPr marL="0" indent="0">
              <a:buNone/>
            </a:pPr>
            <a:endParaRPr lang="en-GB" sz="900" dirty="0">
              <a:latin typeface="+mn-lt"/>
            </a:endParaRPr>
          </a:p>
          <a:p>
            <a:pPr marL="0" indent="0">
              <a:buNone/>
            </a:pPr>
            <a:endParaRPr lang="en-GB" sz="900" dirty="0">
              <a:latin typeface="+mn-lt"/>
            </a:endParaRPr>
          </a:p>
          <a:p>
            <a:pPr marL="0" indent="0">
              <a:buNone/>
            </a:pPr>
            <a:endParaRPr lang="en-GB" sz="1400" dirty="0">
              <a:latin typeface="+mn-lt"/>
            </a:endParaRPr>
          </a:p>
          <a:p>
            <a:pPr marL="0" indent="0">
              <a:buNone/>
            </a:pPr>
            <a:endParaRPr lang="en-GB" sz="1400" dirty="0">
              <a:latin typeface="+mn-lt"/>
            </a:endParaRPr>
          </a:p>
        </p:txBody>
      </p:sp>
      <p:sp>
        <p:nvSpPr>
          <p:cNvPr id="17" name="Arrow: Left-Right 16">
            <a:extLst>
              <a:ext uri="{FF2B5EF4-FFF2-40B4-BE49-F238E27FC236}">
                <a16:creationId xmlns:a16="http://schemas.microsoft.com/office/drawing/2014/main" xmlns="" id="{A069816F-5177-4899-AB17-3F4D61BDF0CA}"/>
              </a:ext>
            </a:extLst>
          </p:cNvPr>
          <p:cNvSpPr/>
          <p:nvPr/>
        </p:nvSpPr>
        <p:spPr>
          <a:xfrm>
            <a:off x="3939047" y="4308672"/>
            <a:ext cx="3093057" cy="1465429"/>
          </a:xfrm>
          <a:prstGeom prst="leftRightArrow">
            <a:avLst>
              <a:gd name="adj1" fmla="val 90991"/>
              <a:gd name="adj2" fmla="val 36122"/>
            </a:avLst>
          </a:prstGeom>
          <a:solidFill>
            <a:srgbClr val="0B4CB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IFRS17 recognizes the good performance in Y3 </a:t>
            </a:r>
            <a:r>
              <a:rPr lang="en-GB" sz="1400" dirty="0"/>
              <a:t>IFRS4 gets PC coming form nowhere, adding “pleasant” volatility</a:t>
            </a:r>
          </a:p>
        </p:txBody>
      </p:sp>
      <p:pic>
        <p:nvPicPr>
          <p:cNvPr id="12" name="Picture 11">
            <a:extLst>
              <a:ext uri="{FF2B5EF4-FFF2-40B4-BE49-F238E27FC236}">
                <a16:creationId xmlns:a16="http://schemas.microsoft.com/office/drawing/2014/main" xmlns="" id="{4D4D0390-E09F-4B97-831F-8ADA4DBDA90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510834" y="6110194"/>
            <a:ext cx="634884" cy="639563"/>
          </a:xfrm>
          <a:prstGeom prst="rect">
            <a:avLst/>
          </a:prstGeom>
        </p:spPr>
      </p:pic>
    </p:spTree>
    <p:extLst>
      <p:ext uri="{BB962C8B-B14F-4D97-AF65-F5344CB8AC3E}">
        <p14:creationId xmlns:p14="http://schemas.microsoft.com/office/powerpoint/2010/main" val="390184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4474771-0EAB-4EDA-95B2-5E86F6CD8F24}"/>
              </a:ext>
            </a:extLst>
          </p:cNvPr>
          <p:cNvSpPr>
            <a:spLocks noGrp="1"/>
          </p:cNvSpPr>
          <p:nvPr>
            <p:ph type="title"/>
          </p:nvPr>
        </p:nvSpPr>
        <p:spPr/>
        <p:txBody>
          <a:bodyPr/>
          <a:lstStyle/>
          <a:p>
            <a:r>
              <a:rPr lang="en-GB"/>
              <a:t>Structured Reinsurance may prevent the automatic PAA eligibility, thus more work for your accounting and actuarial teams to account for such treaties</a:t>
            </a:r>
          </a:p>
        </p:txBody>
      </p:sp>
      <p:sp>
        <p:nvSpPr>
          <p:cNvPr id="3" name="Slide Number Placeholder 2">
            <a:extLst>
              <a:ext uri="{FF2B5EF4-FFF2-40B4-BE49-F238E27FC236}">
                <a16:creationId xmlns:a16="http://schemas.microsoft.com/office/drawing/2014/main" xmlns="" id="{0E2FCA4D-19D6-4121-8A18-9859582274C2}"/>
              </a:ext>
            </a:extLst>
          </p:cNvPr>
          <p:cNvSpPr>
            <a:spLocks noGrp="1"/>
          </p:cNvSpPr>
          <p:nvPr>
            <p:ph type="sldNum" sz="quarter" idx="12"/>
          </p:nvPr>
        </p:nvSpPr>
        <p:spPr/>
        <p:txBody>
          <a:bodyPr/>
          <a:lstStyle/>
          <a:p>
            <a:fld id="{5E4D2043-7E31-4A53-BD33-72A88E682172}" type="slidenum">
              <a:rPr lang="en-GB" smtClean="0"/>
              <a:pPr/>
              <a:t>55</a:t>
            </a:fld>
            <a:endParaRPr lang="en-GB"/>
          </a:p>
        </p:txBody>
      </p:sp>
      <p:sp>
        <p:nvSpPr>
          <p:cNvPr id="4" name="Text Placeholder 3">
            <a:extLst>
              <a:ext uri="{FF2B5EF4-FFF2-40B4-BE49-F238E27FC236}">
                <a16:creationId xmlns:a16="http://schemas.microsoft.com/office/drawing/2014/main" xmlns="" id="{EA9A58DF-26C6-4D86-96FB-A0A9139D37EE}"/>
              </a:ext>
            </a:extLst>
          </p:cNvPr>
          <p:cNvSpPr>
            <a:spLocks noGrp="1"/>
          </p:cNvSpPr>
          <p:nvPr>
            <p:ph type="body" sz="quarter" idx="15"/>
          </p:nvPr>
        </p:nvSpPr>
        <p:spPr>
          <a:solidFill>
            <a:schemeClr val="accent4"/>
          </a:solidFill>
        </p:spPr>
        <p:txBody>
          <a:bodyPr/>
          <a:lstStyle/>
          <a:p>
            <a:r>
              <a:rPr lang="en-GB"/>
              <a:t>Time for reassessing the cost / return of such structures, not to forget about them</a:t>
            </a:r>
          </a:p>
        </p:txBody>
      </p:sp>
      <p:pic>
        <p:nvPicPr>
          <p:cNvPr id="17" name="Picture Placeholder 16">
            <a:extLst>
              <a:ext uri="{FF2B5EF4-FFF2-40B4-BE49-F238E27FC236}">
                <a16:creationId xmlns:a16="http://schemas.microsoft.com/office/drawing/2014/main" xmlns="" id="{64028015-2F43-49EF-AA8F-F32126DFF292}"/>
              </a:ext>
            </a:extLst>
          </p:cNvPr>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36" r="36"/>
          <a:stretch/>
        </p:blipFill>
        <p:spPr/>
      </p:pic>
      <p:sp>
        <p:nvSpPr>
          <p:cNvPr id="6" name="Text Placeholder 5">
            <a:extLst>
              <a:ext uri="{FF2B5EF4-FFF2-40B4-BE49-F238E27FC236}">
                <a16:creationId xmlns:a16="http://schemas.microsoft.com/office/drawing/2014/main" xmlns="" id="{3C1C2609-3430-4554-873C-734076B12F0D}"/>
              </a:ext>
            </a:extLst>
          </p:cNvPr>
          <p:cNvSpPr>
            <a:spLocks noGrp="1"/>
          </p:cNvSpPr>
          <p:nvPr>
            <p:ph type="body" sz="quarter" idx="17"/>
          </p:nvPr>
        </p:nvSpPr>
        <p:spPr/>
        <p:txBody>
          <a:bodyPr/>
          <a:lstStyle/>
          <a:p>
            <a:pPr>
              <a:spcBef>
                <a:spcPts val="1200"/>
              </a:spcBef>
            </a:pPr>
            <a:r>
              <a:rPr lang="en-US"/>
              <a:t>Difficult </a:t>
            </a:r>
            <a:r>
              <a:rPr lang="en-US" b="1">
                <a:solidFill>
                  <a:schemeClr val="tx2"/>
                </a:solidFill>
              </a:rPr>
              <a:t>upfront recognition</a:t>
            </a:r>
            <a:r>
              <a:rPr lang="en-US">
                <a:solidFill>
                  <a:schemeClr val="tx1"/>
                </a:solidFill>
              </a:rPr>
              <a:t> in case of</a:t>
            </a:r>
            <a:r>
              <a:rPr lang="en-GB"/>
              <a:t> </a:t>
            </a:r>
            <a:r>
              <a:rPr lang="en-GB" b="1">
                <a:solidFill>
                  <a:schemeClr val="tx2"/>
                </a:solidFill>
              </a:rPr>
              <a:t>onerous business</a:t>
            </a:r>
            <a:endParaRPr lang="en-US"/>
          </a:p>
          <a:p>
            <a:pPr>
              <a:spcBef>
                <a:spcPts val="1200"/>
              </a:spcBef>
            </a:pPr>
            <a:r>
              <a:rPr lang="en-US" b="1">
                <a:solidFill>
                  <a:schemeClr val="tx2"/>
                </a:solidFill>
              </a:rPr>
              <a:t>Expected recoveries and IBNR </a:t>
            </a:r>
            <a:r>
              <a:rPr lang="en-US"/>
              <a:t>complex to assess</a:t>
            </a:r>
            <a:endParaRPr lang="en-GB"/>
          </a:p>
          <a:p>
            <a:pPr>
              <a:spcBef>
                <a:spcPts val="1200"/>
              </a:spcBef>
            </a:pPr>
            <a:r>
              <a:rPr lang="en-US" b="1">
                <a:solidFill>
                  <a:schemeClr val="tx2"/>
                </a:solidFill>
              </a:rPr>
              <a:t>Help reduce volatility</a:t>
            </a:r>
          </a:p>
        </p:txBody>
      </p:sp>
      <p:sp>
        <p:nvSpPr>
          <p:cNvPr id="8" name="Text Placeholder 7">
            <a:extLst>
              <a:ext uri="{FF2B5EF4-FFF2-40B4-BE49-F238E27FC236}">
                <a16:creationId xmlns:a16="http://schemas.microsoft.com/office/drawing/2014/main" xmlns="" id="{A7216BBE-2C1C-42D9-958A-185EEEF1A6D2}"/>
              </a:ext>
            </a:extLst>
          </p:cNvPr>
          <p:cNvSpPr>
            <a:spLocks noGrp="1"/>
          </p:cNvSpPr>
          <p:nvPr>
            <p:ph type="body" sz="quarter" idx="18"/>
          </p:nvPr>
        </p:nvSpPr>
        <p:spPr/>
        <p:txBody>
          <a:bodyPr/>
          <a:lstStyle/>
          <a:p>
            <a:pPr>
              <a:spcBef>
                <a:spcPts val="600"/>
              </a:spcBef>
            </a:pPr>
            <a:r>
              <a:rPr lang="en-GB"/>
              <a:t>PC to be </a:t>
            </a:r>
            <a:r>
              <a:rPr lang="en-GB" b="1">
                <a:solidFill>
                  <a:schemeClr val="tx2"/>
                </a:solidFill>
              </a:rPr>
              <a:t>recognized linearly</a:t>
            </a:r>
            <a:endParaRPr lang="en-GB"/>
          </a:p>
          <a:p>
            <a:pPr>
              <a:spcBef>
                <a:spcPts val="600"/>
              </a:spcBef>
            </a:pPr>
            <a:r>
              <a:rPr lang="en-GB" b="1">
                <a:solidFill>
                  <a:schemeClr val="tx2"/>
                </a:solidFill>
              </a:rPr>
              <a:t>Yearly adjustments </a:t>
            </a:r>
            <a:r>
              <a:rPr lang="en-GB"/>
              <a:t>to expected PC </a:t>
            </a:r>
            <a:r>
              <a:rPr lang="en-GB" b="1">
                <a:solidFill>
                  <a:schemeClr val="tx2"/>
                </a:solidFill>
              </a:rPr>
              <a:t>add volatility</a:t>
            </a:r>
            <a:endParaRPr lang="en-GB"/>
          </a:p>
          <a:p>
            <a:pPr>
              <a:spcBef>
                <a:spcPts val="600"/>
              </a:spcBef>
            </a:pPr>
            <a:r>
              <a:rPr lang="en-GB"/>
              <a:t>Combine the Term years together: </a:t>
            </a:r>
            <a:r>
              <a:rPr lang="en-GB" b="1">
                <a:solidFill>
                  <a:schemeClr val="tx2"/>
                </a:solidFill>
              </a:rPr>
              <a:t>no automatic PAA eligibility*</a:t>
            </a:r>
            <a:endParaRPr lang="en-GB"/>
          </a:p>
        </p:txBody>
      </p:sp>
      <p:sp>
        <p:nvSpPr>
          <p:cNvPr id="9" name="Text Placeholder 8">
            <a:extLst>
              <a:ext uri="{FF2B5EF4-FFF2-40B4-BE49-F238E27FC236}">
                <a16:creationId xmlns:a16="http://schemas.microsoft.com/office/drawing/2014/main" xmlns="" id="{2E6DF504-0D48-4C85-BEFA-A67E87AA4108}"/>
              </a:ext>
            </a:extLst>
          </p:cNvPr>
          <p:cNvSpPr>
            <a:spLocks noGrp="1"/>
          </p:cNvSpPr>
          <p:nvPr>
            <p:ph type="body" sz="quarter" idx="19"/>
          </p:nvPr>
        </p:nvSpPr>
        <p:spPr/>
        <p:txBody>
          <a:bodyPr/>
          <a:lstStyle/>
          <a:p>
            <a:r>
              <a:rPr lang="en-GB" dirty="0"/>
              <a:t>Multi-line (ML) treaties may help reduce volatility</a:t>
            </a:r>
          </a:p>
        </p:txBody>
      </p:sp>
      <p:sp>
        <p:nvSpPr>
          <p:cNvPr id="11" name="Text Placeholder 10">
            <a:extLst>
              <a:ext uri="{FF2B5EF4-FFF2-40B4-BE49-F238E27FC236}">
                <a16:creationId xmlns:a16="http://schemas.microsoft.com/office/drawing/2014/main" xmlns="" id="{E88B630E-D067-47BC-AD5E-B24883353E07}"/>
              </a:ext>
            </a:extLst>
          </p:cNvPr>
          <p:cNvSpPr>
            <a:spLocks noGrp="1"/>
          </p:cNvSpPr>
          <p:nvPr>
            <p:ph type="body" sz="quarter" idx="20"/>
          </p:nvPr>
        </p:nvSpPr>
        <p:spPr/>
        <p:txBody>
          <a:bodyPr/>
          <a:lstStyle/>
          <a:p>
            <a:pPr lvl="0"/>
            <a:r>
              <a:rPr lang="en-GB"/>
              <a:t>Profit Commission (PC) may increase volatility</a:t>
            </a:r>
          </a:p>
        </p:txBody>
      </p:sp>
      <p:sp>
        <p:nvSpPr>
          <p:cNvPr id="13" name="Title 3">
            <a:extLst>
              <a:ext uri="{FF2B5EF4-FFF2-40B4-BE49-F238E27FC236}">
                <a16:creationId xmlns:a16="http://schemas.microsoft.com/office/drawing/2014/main" xmlns="" id="{CC2C3FFB-D5E0-4723-B2F5-CF9DDBE6F986}"/>
              </a:ext>
            </a:extLst>
          </p:cNvPr>
          <p:cNvSpPr txBox="1">
            <a:spLocks/>
          </p:cNvSpPr>
          <p:nvPr/>
        </p:nvSpPr>
        <p:spPr bwMode="black">
          <a:xfrm>
            <a:off x="9296769" y="4260503"/>
            <a:ext cx="2232248" cy="882907"/>
          </a:xfrm>
          <a:prstGeom prst="rect">
            <a:avLst/>
          </a:prstGeom>
          <a:solidFill>
            <a:schemeClr val="tx2"/>
          </a:solidFill>
        </p:spPr>
        <p:txBody>
          <a:bodyPr vert="horz" lIns="108000" tIns="108000" rIns="108000" bIns="108000" rtlCol="0" anchor="t" anchorCtr="0">
            <a:sp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GB" sz="1600">
                <a:solidFill>
                  <a:schemeClr val="bg1"/>
                </a:solidFill>
                <a:latin typeface="+mn-lt"/>
              </a:rPr>
              <a:t>The economic benefits of such structures remain</a:t>
            </a:r>
          </a:p>
        </p:txBody>
      </p:sp>
      <p:sp>
        <p:nvSpPr>
          <p:cNvPr id="5" name="Rectangle 4">
            <a:extLst>
              <a:ext uri="{FF2B5EF4-FFF2-40B4-BE49-F238E27FC236}">
                <a16:creationId xmlns:a16="http://schemas.microsoft.com/office/drawing/2014/main" xmlns="" id="{2C4BA7F7-34F3-41E4-B768-AF2C82A991E9}"/>
              </a:ext>
            </a:extLst>
          </p:cNvPr>
          <p:cNvSpPr/>
          <p:nvPr/>
        </p:nvSpPr>
        <p:spPr>
          <a:xfrm>
            <a:off x="594914" y="6027032"/>
            <a:ext cx="5428024" cy="276999"/>
          </a:xfrm>
          <a:prstGeom prst="rect">
            <a:avLst/>
          </a:prstGeom>
        </p:spPr>
        <p:txBody>
          <a:bodyPr wrap="none">
            <a:spAutoFit/>
          </a:bodyPr>
          <a:lstStyle/>
          <a:p>
            <a:r>
              <a:rPr lang="en-GB" sz="1200" b="1">
                <a:solidFill>
                  <a:schemeClr val="tx2"/>
                </a:solidFill>
                <a:latin typeface="+mj-lt"/>
              </a:rPr>
              <a:t>*PAA: </a:t>
            </a:r>
            <a:r>
              <a:rPr lang="en-GB" sz="1200">
                <a:latin typeface="+mj-lt"/>
              </a:rPr>
              <a:t>Premium Allocation Approach</a:t>
            </a:r>
            <a:r>
              <a:rPr lang="en-GB" sz="1200" b="1">
                <a:solidFill>
                  <a:schemeClr val="tx2"/>
                </a:solidFill>
                <a:latin typeface="+mj-lt"/>
              </a:rPr>
              <a:t>: </a:t>
            </a:r>
            <a:r>
              <a:rPr lang="en-GB" sz="1200">
                <a:latin typeface="+mj-lt"/>
              </a:rPr>
              <a:t>its eligibility would have to be demonstrated</a:t>
            </a:r>
          </a:p>
        </p:txBody>
      </p:sp>
      <p:sp>
        <p:nvSpPr>
          <p:cNvPr id="14" name="Text Placeholder 6">
            <a:extLst>
              <a:ext uri="{FF2B5EF4-FFF2-40B4-BE49-F238E27FC236}">
                <a16:creationId xmlns:a16="http://schemas.microsoft.com/office/drawing/2014/main" xmlns="" id="{68A991FB-C084-4D16-BD32-032CA6A5D853}"/>
              </a:ext>
            </a:extLst>
          </p:cNvPr>
          <p:cNvSpPr txBox="1">
            <a:spLocks/>
          </p:cNvSpPr>
          <p:nvPr/>
        </p:nvSpPr>
        <p:spPr bwMode="black">
          <a:xfrm>
            <a:off x="3497729" y="2564904"/>
            <a:ext cx="2601694" cy="2705186"/>
          </a:xfrm>
          <a:prstGeom prst="rect">
            <a:avLst/>
          </a:prstGeom>
          <a:solidFill>
            <a:schemeClr val="accent4">
              <a:lumMod val="20000"/>
              <a:lumOff val="80000"/>
            </a:schemeClr>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a:t>Treaty boundary more than 1 year: </a:t>
            </a:r>
            <a:r>
              <a:rPr lang="en-US" b="1">
                <a:solidFill>
                  <a:schemeClr val="tx2"/>
                </a:solidFill>
              </a:rPr>
              <a:t>no automatic PAA* eligibility</a:t>
            </a:r>
          </a:p>
          <a:p>
            <a:pPr>
              <a:spcBef>
                <a:spcPts val="1200"/>
              </a:spcBef>
            </a:pPr>
            <a:r>
              <a:rPr lang="en-US">
                <a:solidFill>
                  <a:schemeClr val="tx1"/>
                </a:solidFill>
              </a:rPr>
              <a:t>Capacity and rate guaranteed over the Term help </a:t>
            </a:r>
            <a:r>
              <a:rPr lang="en-US" b="1">
                <a:solidFill>
                  <a:schemeClr val="tx2"/>
                </a:solidFill>
              </a:rPr>
              <a:t>reduce volatility</a:t>
            </a:r>
          </a:p>
          <a:p>
            <a:pPr>
              <a:spcBef>
                <a:spcPts val="1200"/>
              </a:spcBef>
            </a:pPr>
            <a:r>
              <a:rPr lang="en-US" b="1">
                <a:solidFill>
                  <a:schemeClr val="tx2"/>
                </a:solidFill>
              </a:rPr>
              <a:t>Actual vs planned</a:t>
            </a:r>
            <a:r>
              <a:rPr lang="en-US">
                <a:solidFill>
                  <a:schemeClr val="tx1"/>
                </a:solidFill>
              </a:rPr>
              <a:t> estimations generate complexity</a:t>
            </a:r>
          </a:p>
        </p:txBody>
      </p:sp>
      <p:sp>
        <p:nvSpPr>
          <p:cNvPr id="15" name="Text Placeholder 9">
            <a:extLst>
              <a:ext uri="{FF2B5EF4-FFF2-40B4-BE49-F238E27FC236}">
                <a16:creationId xmlns:a16="http://schemas.microsoft.com/office/drawing/2014/main" xmlns="" id="{746C5B7D-649F-4551-BB11-611A64FB9DA6}"/>
              </a:ext>
            </a:extLst>
          </p:cNvPr>
          <p:cNvSpPr txBox="1">
            <a:spLocks/>
          </p:cNvSpPr>
          <p:nvPr/>
        </p:nvSpPr>
        <p:spPr bwMode="black">
          <a:xfrm>
            <a:off x="3506143" y="1628774"/>
            <a:ext cx="2613600" cy="1296169"/>
          </a:xfrm>
          <a:prstGeom prst="flowChartOffpageConnector">
            <a:avLst/>
          </a:prstGeom>
          <a:solidFill>
            <a:schemeClr val="tx2"/>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a:t>Multi-Year treaties  help reduce volatility over time</a:t>
            </a:r>
          </a:p>
        </p:txBody>
      </p:sp>
      <p:pic>
        <p:nvPicPr>
          <p:cNvPr id="16" name="Picture 15">
            <a:extLst>
              <a:ext uri="{FF2B5EF4-FFF2-40B4-BE49-F238E27FC236}">
                <a16:creationId xmlns:a16="http://schemas.microsoft.com/office/drawing/2014/main" xmlns="" id="{101970B6-36CB-45A4-9592-FB020CCDF08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00790" y="202926"/>
            <a:ext cx="699075" cy="704228"/>
          </a:xfrm>
          <a:prstGeom prst="rect">
            <a:avLst/>
          </a:prstGeom>
        </p:spPr>
      </p:pic>
      <p:pic>
        <p:nvPicPr>
          <p:cNvPr id="7" name="Picture 6">
            <a:extLst>
              <a:ext uri="{FF2B5EF4-FFF2-40B4-BE49-F238E27FC236}">
                <a16:creationId xmlns:a16="http://schemas.microsoft.com/office/drawing/2014/main" xmlns="" id="{F0126D7A-AB77-43F0-912C-3790C56734F5}"/>
              </a:ext>
            </a:extLst>
          </p:cNvPr>
          <p:cNvPicPr>
            <a:picLocks noChangeAspect="1"/>
          </p:cNvPicPr>
          <p:nvPr/>
        </p:nvPicPr>
        <p:blipFill>
          <a:blip r:embed="rId5"/>
          <a:stretch>
            <a:fillRect/>
          </a:stretch>
        </p:blipFill>
        <p:spPr>
          <a:xfrm>
            <a:off x="6316960" y="1628774"/>
            <a:ext cx="2615411" cy="1298561"/>
          </a:xfrm>
          <a:prstGeom prst="rect">
            <a:avLst/>
          </a:prstGeom>
        </p:spPr>
      </p:pic>
    </p:spTree>
    <p:extLst>
      <p:ext uri="{BB962C8B-B14F-4D97-AF65-F5344CB8AC3E}">
        <p14:creationId xmlns:p14="http://schemas.microsoft.com/office/powerpoint/2010/main" val="12697042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15A115C1-1A5C-4414-AA06-0573940CEA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7"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xmlns="" id="{15A115C1-1A5C-4414-AA06-0573940CEA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83FEA86A-85BF-46B5-AC7C-EE3031FC424F}"/>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en-GB" sz="4000" u="none" strike="noStrike" kern="1200" cap="none" spc="0" normalizeH="0" noProof="0">
              <a:ln>
                <a:noFill/>
              </a:ln>
              <a:solidFill>
                <a:prstClr val="white"/>
              </a:solidFill>
              <a:effectLst/>
              <a:uLnTx/>
              <a:uFillTx/>
              <a:latin typeface="SwissReSans" panose="020B0604020202020204" pitchFamily="34" charset="0"/>
              <a:ea typeface="+mj-ea"/>
              <a:cs typeface="+mj-cs"/>
              <a:sym typeface="SwissReSans" panose="020B0604020202020204" pitchFamily="34" charset="0"/>
            </a:endParaRPr>
          </a:p>
        </p:txBody>
      </p:sp>
      <p:sp>
        <p:nvSpPr>
          <p:cNvPr id="2" name="Title 1">
            <a:extLst>
              <a:ext uri="{FF2B5EF4-FFF2-40B4-BE49-F238E27FC236}">
                <a16:creationId xmlns:a16="http://schemas.microsoft.com/office/drawing/2014/main" xmlns="" id="{9F184823-8665-429A-9C1C-1CF44516467A}"/>
              </a:ext>
            </a:extLst>
          </p:cNvPr>
          <p:cNvSpPr>
            <a:spLocks noGrp="1"/>
          </p:cNvSpPr>
          <p:nvPr>
            <p:ph type="title"/>
          </p:nvPr>
        </p:nvSpPr>
        <p:spPr/>
        <p:txBody>
          <a:bodyPr/>
          <a:lstStyle/>
          <a:p>
            <a:r>
              <a:rPr lang="en-GB" sz="4000" dirty="0"/>
              <a:t>Conclusion</a:t>
            </a:r>
            <a:endParaRPr lang="en-GB" sz="4000" dirty="0">
              <a:latin typeface="+mj-lt"/>
            </a:endParaRPr>
          </a:p>
        </p:txBody>
      </p:sp>
      <p:sp>
        <p:nvSpPr>
          <p:cNvPr id="3" name="Text Placeholder 2">
            <a:extLst>
              <a:ext uri="{FF2B5EF4-FFF2-40B4-BE49-F238E27FC236}">
                <a16:creationId xmlns:a16="http://schemas.microsoft.com/office/drawing/2014/main" xmlns="" id="{2586E0FD-2F41-4B42-B187-BC20BFC74D8E}"/>
              </a:ext>
            </a:extLst>
          </p:cNvPr>
          <p:cNvSpPr>
            <a:spLocks noGrp="1"/>
          </p:cNvSpPr>
          <p:nvPr>
            <p:ph type="body" sz="quarter" idx="12"/>
          </p:nvPr>
        </p:nvSpPr>
        <p:spPr/>
        <p:txBody>
          <a:bodyPr/>
          <a:lstStyle/>
          <a:p>
            <a:r>
              <a:rPr lang="en-GB" dirty="0"/>
              <a:t>06</a:t>
            </a:r>
          </a:p>
        </p:txBody>
      </p:sp>
      <p:pic>
        <p:nvPicPr>
          <p:cNvPr id="6" name="Picture 5">
            <a:extLst>
              <a:ext uri="{FF2B5EF4-FFF2-40B4-BE49-F238E27FC236}">
                <a16:creationId xmlns:a16="http://schemas.microsoft.com/office/drawing/2014/main" xmlns="" id="{D2F88D1D-C6E2-428A-9206-6E08760732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11339" y="5750907"/>
            <a:ext cx="823814" cy="829886"/>
          </a:xfrm>
          <a:prstGeom prst="rect">
            <a:avLst/>
          </a:prstGeom>
        </p:spPr>
      </p:pic>
    </p:spTree>
    <p:extLst>
      <p:ext uri="{BB962C8B-B14F-4D97-AF65-F5344CB8AC3E}">
        <p14:creationId xmlns:p14="http://schemas.microsoft.com/office/powerpoint/2010/main" val="317237262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xmlns="" id="{170FED50-C79E-422B-B736-6670932E20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10" name="think-cell Slide" r:id="rId4" imgW="395" imgH="396" progId="TCLayout.ActiveDocument.1">
                  <p:embed/>
                </p:oleObj>
              </mc:Choice>
              <mc:Fallback>
                <p:oleObj name="think-cell Slide" r:id="rId4" imgW="395" imgH="396" progId="TCLayout.ActiveDocument.1">
                  <p:embed/>
                  <p:pic>
                    <p:nvPicPr>
                      <p:cNvPr id="12" name="Object 11" hidden="1">
                        <a:extLst>
                          <a:ext uri="{FF2B5EF4-FFF2-40B4-BE49-F238E27FC236}">
                            <a16:creationId xmlns:a16="http://schemas.microsoft.com/office/drawing/2014/main" xmlns="" id="{170FED50-C79E-422B-B736-6670932E20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94474771-0EAB-4EDA-95B2-5E86F6CD8F24}"/>
              </a:ext>
            </a:extLst>
          </p:cNvPr>
          <p:cNvSpPr>
            <a:spLocks noGrp="1"/>
          </p:cNvSpPr>
          <p:nvPr>
            <p:ph type="title"/>
          </p:nvPr>
        </p:nvSpPr>
        <p:spPr/>
        <p:txBody>
          <a:bodyPr vert="horz"/>
          <a:lstStyle/>
          <a:p>
            <a:r>
              <a:rPr lang="en-GB" dirty="0"/>
              <a:t>Increase of volatility in the accounts because of IFRS 17</a:t>
            </a:r>
          </a:p>
        </p:txBody>
      </p:sp>
      <p:sp>
        <p:nvSpPr>
          <p:cNvPr id="3" name="Slide Number Placeholder 2">
            <a:extLst>
              <a:ext uri="{FF2B5EF4-FFF2-40B4-BE49-F238E27FC236}">
                <a16:creationId xmlns:a16="http://schemas.microsoft.com/office/drawing/2014/main" xmlns="" id="{0E2FCA4D-19D6-4121-8A18-9859582274C2}"/>
              </a:ext>
            </a:extLst>
          </p:cNvPr>
          <p:cNvSpPr>
            <a:spLocks noGrp="1"/>
          </p:cNvSpPr>
          <p:nvPr>
            <p:ph type="sldNum" sz="quarter" idx="12"/>
          </p:nvPr>
        </p:nvSpPr>
        <p:spPr/>
        <p:txBody>
          <a:bodyPr/>
          <a:lstStyle/>
          <a:p>
            <a:fld id="{5E4D2043-7E31-4A53-BD33-72A88E682172}" type="slidenum">
              <a:rPr lang="en-GB" smtClean="0"/>
              <a:pPr/>
              <a:t>57</a:t>
            </a:fld>
            <a:endParaRPr lang="en-GB"/>
          </a:p>
        </p:txBody>
      </p:sp>
      <p:sp>
        <p:nvSpPr>
          <p:cNvPr id="4" name="Text Placeholder 3">
            <a:extLst>
              <a:ext uri="{FF2B5EF4-FFF2-40B4-BE49-F238E27FC236}">
                <a16:creationId xmlns:a16="http://schemas.microsoft.com/office/drawing/2014/main" xmlns="" id="{EA9A58DF-26C6-4D86-96FB-A0A9139D37EE}"/>
              </a:ext>
            </a:extLst>
          </p:cNvPr>
          <p:cNvSpPr>
            <a:spLocks noGrp="1"/>
          </p:cNvSpPr>
          <p:nvPr>
            <p:ph type="body" sz="quarter" idx="15"/>
          </p:nvPr>
        </p:nvSpPr>
        <p:spPr>
          <a:solidFill>
            <a:schemeClr val="accent4"/>
          </a:solidFill>
        </p:spPr>
        <p:txBody>
          <a:bodyPr/>
          <a:lstStyle/>
          <a:p>
            <a:r>
              <a:rPr lang="en-GB" dirty="0">
                <a:solidFill>
                  <a:schemeClr val="bg1"/>
                </a:solidFill>
              </a:rPr>
              <a:t>Reinsurers can help clients to reduce the volatility of underlying portfolio &amp; protect ROE decline</a:t>
            </a:r>
          </a:p>
        </p:txBody>
      </p:sp>
      <p:pic>
        <p:nvPicPr>
          <p:cNvPr id="22" name="Picture Placeholder 16" descr="A blurry photo of a fire&#10;&#10;Description automatically generated">
            <a:extLst>
              <a:ext uri="{FF2B5EF4-FFF2-40B4-BE49-F238E27FC236}">
                <a16:creationId xmlns:a16="http://schemas.microsoft.com/office/drawing/2014/main" xmlns="" id="{FA4460E4-25AE-4C40-A7CD-A6CEE483EB1D}"/>
              </a:ext>
            </a:extLst>
          </p:cNvPr>
          <p:cNvPicPr>
            <a:picLocks noGrp="1" noChangeAspect="1"/>
          </p:cNvPicPr>
          <p:nvPr>
            <p:ph type="pic" sz="quarter" idx="16"/>
          </p:nvPr>
        </p:nvPicPr>
        <p:blipFill rotWithShape="1">
          <a:blip r:embed="rId6" cstate="print">
            <a:extLst>
              <a:ext uri="{28A0092B-C50C-407E-A947-70E740481C1C}">
                <a14:useLocalDpi xmlns:a14="http://schemas.microsoft.com/office/drawing/2010/main" val="0"/>
              </a:ext>
            </a:extLst>
          </a:blip>
          <a:srcRect l="29818" r="29818"/>
          <a:stretch/>
        </p:blipFill>
        <p:spPr/>
      </p:pic>
      <p:sp>
        <p:nvSpPr>
          <p:cNvPr id="6" name="Text Placeholder 5">
            <a:extLst>
              <a:ext uri="{FF2B5EF4-FFF2-40B4-BE49-F238E27FC236}">
                <a16:creationId xmlns:a16="http://schemas.microsoft.com/office/drawing/2014/main" xmlns="" id="{3C1C2609-3430-4554-873C-734076B12F0D}"/>
              </a:ext>
            </a:extLst>
          </p:cNvPr>
          <p:cNvSpPr>
            <a:spLocks noGrp="1"/>
          </p:cNvSpPr>
          <p:nvPr>
            <p:ph type="body" sz="quarter" idx="17"/>
          </p:nvPr>
        </p:nvSpPr>
        <p:spPr/>
        <p:txBody>
          <a:bodyPr/>
          <a:lstStyle/>
          <a:p>
            <a:pPr marL="171450" indent="-171450">
              <a:spcBef>
                <a:spcPts val="600"/>
              </a:spcBef>
              <a:buFont typeface="Arial" panose="020B0604020202020204" pitchFamily="34" charset="0"/>
              <a:buChar char="•"/>
            </a:pPr>
            <a:r>
              <a:rPr lang="en-GB" dirty="0"/>
              <a:t>At transition, excess reserves will be released straight into Equity</a:t>
            </a:r>
          </a:p>
          <a:p>
            <a:pPr marL="171450" indent="-171450">
              <a:spcBef>
                <a:spcPts val="600"/>
              </a:spcBef>
              <a:buFont typeface="Arial" panose="020B0604020202020204" pitchFamily="34" charset="0"/>
              <a:buChar char="•"/>
            </a:pPr>
            <a:r>
              <a:rPr lang="en-GB" dirty="0"/>
              <a:t>After transition, auditors will have their means of calculating prudency margins</a:t>
            </a:r>
          </a:p>
          <a:p>
            <a:pPr marL="171450" indent="-171450">
              <a:spcBef>
                <a:spcPts val="600"/>
              </a:spcBef>
              <a:buFont typeface="Arial" panose="020B0604020202020204" pitchFamily="34" charset="0"/>
              <a:buChar char="•"/>
            </a:pPr>
            <a:r>
              <a:rPr lang="en-GB" dirty="0"/>
              <a:t>Cedants may not have excessive margins or reserves with disclosure in auditor’s report or notes to FS</a:t>
            </a:r>
          </a:p>
        </p:txBody>
      </p:sp>
      <p:sp>
        <p:nvSpPr>
          <p:cNvPr id="7" name="Text Placeholder 6">
            <a:extLst>
              <a:ext uri="{FF2B5EF4-FFF2-40B4-BE49-F238E27FC236}">
                <a16:creationId xmlns:a16="http://schemas.microsoft.com/office/drawing/2014/main" xmlns="" id="{CFEEDC8E-ED63-46C2-8F09-BCE42647F235}"/>
              </a:ext>
            </a:extLst>
          </p:cNvPr>
          <p:cNvSpPr>
            <a:spLocks noGrp="1"/>
          </p:cNvSpPr>
          <p:nvPr>
            <p:ph type="body" sz="quarter" idx="18"/>
          </p:nvPr>
        </p:nvSpPr>
        <p:spPr/>
        <p:txBody>
          <a:bodyPr/>
          <a:lstStyle/>
          <a:p>
            <a:pPr marL="171450" indent="-171450">
              <a:spcBef>
                <a:spcPts val="600"/>
              </a:spcBef>
              <a:buFont typeface="Arial" panose="020B0604020202020204" pitchFamily="34" charset="0"/>
              <a:buChar char="•"/>
            </a:pPr>
            <a:r>
              <a:rPr lang="en-GB"/>
              <a:t>IFRS-17 requires upfront recognition of onerous contracts, including in-force contracts that have turned onerous during policy lifetime</a:t>
            </a:r>
          </a:p>
          <a:p>
            <a:pPr marL="171450" indent="-171450">
              <a:spcBef>
                <a:spcPts val="600"/>
              </a:spcBef>
              <a:buFont typeface="Arial" panose="020B0604020202020204" pitchFamily="34" charset="0"/>
              <a:buChar char="•"/>
            </a:pPr>
            <a:r>
              <a:rPr lang="en-GB"/>
              <a:t>Upfront recognition might generate P&amp;L volatility</a:t>
            </a:r>
          </a:p>
        </p:txBody>
      </p:sp>
      <p:sp>
        <p:nvSpPr>
          <p:cNvPr id="9" name="Text Placeholder 8">
            <a:extLst>
              <a:ext uri="{FF2B5EF4-FFF2-40B4-BE49-F238E27FC236}">
                <a16:creationId xmlns:a16="http://schemas.microsoft.com/office/drawing/2014/main" xmlns="" id="{2E6DF504-0D48-4C85-BEFA-A67E87AA4108}"/>
              </a:ext>
            </a:extLst>
          </p:cNvPr>
          <p:cNvSpPr>
            <a:spLocks noGrp="1"/>
          </p:cNvSpPr>
          <p:nvPr>
            <p:ph type="body" sz="quarter" idx="19"/>
          </p:nvPr>
        </p:nvSpPr>
        <p:spPr/>
        <p:txBody>
          <a:bodyPr/>
          <a:lstStyle/>
          <a:p>
            <a:r>
              <a:rPr lang="en-GB" sz="4400" b="1">
                <a:latin typeface="+mj-lt"/>
              </a:rPr>
              <a:t>01</a:t>
            </a:r>
          </a:p>
          <a:p>
            <a:r>
              <a:rPr lang="en-GB"/>
              <a:t>Margin / reserves</a:t>
            </a:r>
          </a:p>
        </p:txBody>
      </p:sp>
      <p:sp>
        <p:nvSpPr>
          <p:cNvPr id="10" name="Text Placeholder 9">
            <a:extLst>
              <a:ext uri="{FF2B5EF4-FFF2-40B4-BE49-F238E27FC236}">
                <a16:creationId xmlns:a16="http://schemas.microsoft.com/office/drawing/2014/main" xmlns="" id="{B4F5559E-013A-4AE1-9326-71E7BFEE3427}"/>
              </a:ext>
            </a:extLst>
          </p:cNvPr>
          <p:cNvSpPr>
            <a:spLocks noGrp="1"/>
          </p:cNvSpPr>
          <p:nvPr>
            <p:ph type="body" sz="quarter" idx="20"/>
          </p:nvPr>
        </p:nvSpPr>
        <p:spPr>
          <a:xfrm>
            <a:off x="3482400" y="1627533"/>
            <a:ext cx="2613600" cy="1296169"/>
          </a:xfrm>
        </p:spPr>
        <p:txBody>
          <a:bodyPr/>
          <a:lstStyle/>
          <a:p>
            <a:pPr lvl="0"/>
            <a:r>
              <a:rPr lang="en-GB" sz="4400" b="1" dirty="0">
                <a:latin typeface="SwissReSans Light"/>
              </a:rPr>
              <a:t>02</a:t>
            </a:r>
          </a:p>
          <a:p>
            <a:pPr lvl="0"/>
            <a:r>
              <a:rPr lang="en-GB" dirty="0"/>
              <a:t>Onerous contracts</a:t>
            </a:r>
          </a:p>
        </p:txBody>
      </p:sp>
      <p:sp>
        <p:nvSpPr>
          <p:cNvPr id="20" name="Text Placeholder 7">
            <a:extLst>
              <a:ext uri="{FF2B5EF4-FFF2-40B4-BE49-F238E27FC236}">
                <a16:creationId xmlns:a16="http://schemas.microsoft.com/office/drawing/2014/main" xmlns="" id="{3C531ECF-3DAE-4CD1-AD6C-A0CE5E6A8FF1}"/>
              </a:ext>
            </a:extLst>
          </p:cNvPr>
          <p:cNvSpPr txBox="1">
            <a:spLocks/>
          </p:cNvSpPr>
          <p:nvPr/>
        </p:nvSpPr>
        <p:spPr bwMode="black">
          <a:xfrm>
            <a:off x="6298876" y="2563662"/>
            <a:ext cx="2613600" cy="2705186"/>
          </a:xfrm>
          <a:prstGeom prst="rect">
            <a:avLst/>
          </a:prstGeom>
          <a:solidFill>
            <a:schemeClr val="accent4">
              <a:lumMod val="20000"/>
              <a:lumOff val="80000"/>
            </a:schemeClr>
          </a:solidFill>
        </p:spPr>
        <p:txBody>
          <a:bodyPr vert="horz" lIns="108000" tIns="576000" rIns="72000" bIns="0" rtlCol="0" anchor="t">
            <a:noAutofit/>
          </a:bodyPr>
          <a:lstStyle>
            <a:lvl1pPr marL="0" indent="0" algn="l" defTabSz="914400" rtl="0" eaLnBrk="1" latinLnBrk="0" hangingPunct="1">
              <a:lnSpc>
                <a:spcPct val="100000"/>
              </a:lnSpc>
              <a:spcBef>
                <a:spcPts val="0"/>
              </a:spcBef>
              <a:buClrTx/>
              <a:buSzPct val="100000"/>
              <a:buFont typeface="Arial" pitchFamily="34" charset="0"/>
              <a:buNone/>
              <a:defRPr sz="1200" kern="1200">
                <a:solidFill>
                  <a:srgbClr val="283E36"/>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spcBef>
                <a:spcPts val="600"/>
              </a:spcBef>
              <a:buFont typeface="Arial" panose="020B0604020202020204" pitchFamily="34" charset="0"/>
              <a:buChar char="•"/>
            </a:pPr>
            <a:r>
              <a:rPr lang="en-GB"/>
              <a:t>Regular updating of discounting at each reporting period</a:t>
            </a:r>
          </a:p>
          <a:p>
            <a:pPr marL="171450" indent="-171450">
              <a:spcBef>
                <a:spcPts val="600"/>
              </a:spcBef>
              <a:buFont typeface="Arial" panose="020B0604020202020204" pitchFamily="34" charset="0"/>
              <a:buChar char="•"/>
            </a:pPr>
            <a:r>
              <a:rPr lang="en-GB"/>
              <a:t>Impact reflected in the P&amp;L under OCI</a:t>
            </a:r>
          </a:p>
        </p:txBody>
      </p:sp>
      <p:sp>
        <p:nvSpPr>
          <p:cNvPr id="21" name="Text Placeholder 10">
            <a:extLst>
              <a:ext uri="{FF2B5EF4-FFF2-40B4-BE49-F238E27FC236}">
                <a16:creationId xmlns:a16="http://schemas.microsoft.com/office/drawing/2014/main" xmlns="" id="{D410B15A-5813-4EE8-ACBE-32BAEA72201C}"/>
              </a:ext>
            </a:extLst>
          </p:cNvPr>
          <p:cNvSpPr txBox="1">
            <a:spLocks/>
          </p:cNvSpPr>
          <p:nvPr/>
        </p:nvSpPr>
        <p:spPr bwMode="black">
          <a:xfrm>
            <a:off x="6297758" y="1627533"/>
            <a:ext cx="2613600" cy="1296169"/>
          </a:xfrm>
          <a:prstGeom prst="flowChartOffpageConnector">
            <a:avLst/>
          </a:prstGeom>
          <a:solidFill>
            <a:schemeClr val="tx2"/>
          </a:solidFill>
        </p:spPr>
        <p:txBody>
          <a:bodyPr vert="horz" lIns="108000" tIns="0" rIns="72000" bIns="0" rtlCol="0" anchor="ctr">
            <a:noAutofit/>
          </a:bodyPr>
          <a:lstStyle>
            <a:lvl1pPr marL="0" indent="0" algn="ctr" defTabSz="914400" rtl="0" eaLnBrk="1" latinLnBrk="0" hangingPunct="1">
              <a:lnSpc>
                <a:spcPct val="100000"/>
              </a:lnSpc>
              <a:spcBef>
                <a:spcPts val="0"/>
              </a:spcBef>
              <a:buClrTx/>
              <a:buSzPct val="100000"/>
              <a:buFont typeface="Arial" pitchFamily="34" charset="0"/>
              <a:buNone/>
              <a:defRPr sz="1600" kern="1200">
                <a:solidFill>
                  <a:srgbClr val="FFFFFF"/>
                </a:solidFill>
                <a:latin typeface="SwissReSans" pitchFamily="34" charset="0"/>
                <a:ea typeface="+mn-ea"/>
                <a:cs typeface="+mn-cs"/>
              </a:defRPr>
            </a:lvl1pPr>
            <a:lvl2pPr marL="182562"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2pPr>
            <a:lvl3pPr marL="444500"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3pPr>
            <a:lvl4pPr marL="715963"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4pPr>
            <a:lvl5pPr marL="985838" indent="0" algn="l" defTabSz="914400" rtl="0" eaLnBrk="1" latinLnBrk="0" hangingPunct="1">
              <a:lnSpc>
                <a:spcPct val="100000"/>
              </a:lnSpc>
              <a:spcBef>
                <a:spcPts val="1000"/>
              </a:spcBef>
              <a:buFont typeface="SwissReSans" pitchFamily="34" charset="0"/>
              <a:buNone/>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4400" b="1">
                <a:latin typeface="SwissReSans Light"/>
              </a:rPr>
              <a:t>03</a:t>
            </a:r>
          </a:p>
          <a:p>
            <a:r>
              <a:rPr lang="en-GB"/>
              <a:t>Discounting</a:t>
            </a:r>
          </a:p>
        </p:txBody>
      </p:sp>
      <p:sp>
        <p:nvSpPr>
          <p:cNvPr id="23" name="Title 3">
            <a:extLst>
              <a:ext uri="{FF2B5EF4-FFF2-40B4-BE49-F238E27FC236}">
                <a16:creationId xmlns:a16="http://schemas.microsoft.com/office/drawing/2014/main" xmlns="" id="{07E44C03-FA80-45DC-A9B2-1AAE0B7F065E}"/>
              </a:ext>
            </a:extLst>
          </p:cNvPr>
          <p:cNvSpPr txBox="1">
            <a:spLocks/>
          </p:cNvSpPr>
          <p:nvPr/>
        </p:nvSpPr>
        <p:spPr bwMode="black">
          <a:xfrm>
            <a:off x="9296769" y="4260503"/>
            <a:ext cx="2232248" cy="799807"/>
          </a:xfrm>
          <a:prstGeom prst="rect">
            <a:avLst/>
          </a:prstGeom>
          <a:solidFill>
            <a:schemeClr val="accent5"/>
          </a:solidFill>
        </p:spPr>
        <p:txBody>
          <a:bodyPr vert="horz" lIns="108000" tIns="108000" rIns="108000" bIns="108000" rtlCol="0" anchor="t" anchorCtr="0">
            <a:sp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lgn="ctr"/>
            <a:r>
              <a:rPr lang="en-GB" sz="1400">
                <a:latin typeface="+mn-lt"/>
              </a:rPr>
              <a:t>More transparent &amp; granular information will create issues of volatility</a:t>
            </a:r>
          </a:p>
        </p:txBody>
      </p:sp>
      <p:pic>
        <p:nvPicPr>
          <p:cNvPr id="5" name="Picture 4">
            <a:extLst>
              <a:ext uri="{FF2B5EF4-FFF2-40B4-BE49-F238E27FC236}">
                <a16:creationId xmlns:a16="http://schemas.microsoft.com/office/drawing/2014/main" xmlns="" id="{82F3156A-F731-4A2B-9311-269C57C5B55F}"/>
              </a:ext>
            </a:extLst>
          </p:cNvPr>
          <p:cNvPicPr>
            <a:picLocks noChangeAspect="1"/>
          </p:cNvPicPr>
          <p:nvPr/>
        </p:nvPicPr>
        <p:blipFill>
          <a:blip r:embed="rId7"/>
          <a:stretch>
            <a:fillRect/>
          </a:stretch>
        </p:blipFill>
        <p:spPr>
          <a:xfrm>
            <a:off x="707657" y="1523917"/>
            <a:ext cx="2615411" cy="1408298"/>
          </a:xfrm>
          <a:prstGeom prst="rect">
            <a:avLst/>
          </a:prstGeom>
        </p:spPr>
      </p:pic>
    </p:spTree>
    <p:extLst>
      <p:ext uri="{BB962C8B-B14F-4D97-AF65-F5344CB8AC3E}">
        <p14:creationId xmlns:p14="http://schemas.microsoft.com/office/powerpoint/2010/main" val="39139706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6D7CFEF-44EF-49D7-84E3-26EBD5C0FC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5"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xmlns="" id="{A6D7CFEF-44EF-49D7-84E3-26EBD5C0FC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Title 3">
            <a:extLst>
              <a:ext uri="{FF2B5EF4-FFF2-40B4-BE49-F238E27FC236}">
                <a16:creationId xmlns:a16="http://schemas.microsoft.com/office/drawing/2014/main" xmlns="" id="{A6C4931E-F129-47E5-9C24-7D827F2B1305}"/>
              </a:ext>
            </a:extLst>
          </p:cNvPr>
          <p:cNvSpPr txBox="1">
            <a:spLocks/>
          </p:cNvSpPr>
          <p:nvPr/>
        </p:nvSpPr>
        <p:spPr bwMode="black">
          <a:xfrm>
            <a:off x="1020355" y="1628775"/>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a:solidFill>
                  <a:srgbClr val="000000"/>
                </a:solidFill>
                <a:latin typeface="SwissReSans Light" panose="020B0504020202020204" pitchFamily="34" charset="0"/>
              </a:rPr>
              <a:t>IFRS-17 </a:t>
            </a:r>
            <a:r>
              <a:rPr lang="en-GB" sz="1400" b="1">
                <a:latin typeface="SwissReSans Light" panose="020B0504020202020204" pitchFamily="34" charset="0"/>
              </a:rPr>
              <a:t>recognises revenue &amp; earnings overtime </a:t>
            </a:r>
            <a:r>
              <a:rPr lang="en-GB" sz="1400">
                <a:solidFill>
                  <a:srgbClr val="000000"/>
                </a:solidFill>
                <a:latin typeface="SwissReSans Light" panose="020B0504020202020204" pitchFamily="34" charset="0"/>
              </a:rPr>
              <a:t>as services are delivered - premiums collected upfront </a:t>
            </a:r>
            <a:r>
              <a:rPr lang="en-GB" sz="1400" b="1">
                <a:latin typeface="SwissReSans Light" panose="020B0504020202020204" pitchFamily="34" charset="0"/>
              </a:rPr>
              <a:t>no longer </a:t>
            </a:r>
            <a:r>
              <a:rPr lang="en-GB" sz="1400">
                <a:solidFill>
                  <a:srgbClr val="000000"/>
                </a:solidFill>
                <a:latin typeface="SwissReSans Light" panose="020B0504020202020204" pitchFamily="34" charset="0"/>
              </a:rPr>
              <a:t>serve as basis for revenue or profitability</a:t>
            </a:r>
          </a:p>
        </p:txBody>
      </p:sp>
      <p:sp>
        <p:nvSpPr>
          <p:cNvPr id="41" name="Title 3">
            <a:extLst>
              <a:ext uri="{FF2B5EF4-FFF2-40B4-BE49-F238E27FC236}">
                <a16:creationId xmlns:a16="http://schemas.microsoft.com/office/drawing/2014/main" xmlns="" id="{D0EB7E11-8232-4065-8DB5-59DC028CF41A}"/>
              </a:ext>
            </a:extLst>
          </p:cNvPr>
          <p:cNvSpPr txBox="1">
            <a:spLocks/>
          </p:cNvSpPr>
          <p:nvPr/>
        </p:nvSpPr>
        <p:spPr bwMode="black">
          <a:xfrm>
            <a:off x="1020355" y="2465485"/>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GB" sz="1400">
                <a:solidFill>
                  <a:srgbClr val="000000"/>
                </a:solidFill>
                <a:latin typeface="SwissReSans Light" panose="020B0504020202020204" pitchFamily="34" charset="0"/>
              </a:rPr>
              <a:t>P&amp;C insurers will use </a:t>
            </a:r>
            <a:r>
              <a:rPr lang="en-GB" sz="1400" b="1">
                <a:latin typeface="SwissReSans Light" panose="020B0504020202020204" pitchFamily="34" charset="0"/>
              </a:rPr>
              <a:t>either the GMM or PAA </a:t>
            </a:r>
            <a:r>
              <a:rPr lang="en-GB" sz="1400">
                <a:solidFill>
                  <a:srgbClr val="000000"/>
                </a:solidFill>
                <a:latin typeface="SwissReSans Light" panose="020B0504020202020204" pitchFamily="34" charset="0"/>
              </a:rPr>
              <a:t>approach, the latter if the RI contract is &lt;1 year</a:t>
            </a:r>
          </a:p>
        </p:txBody>
      </p:sp>
      <p:sp>
        <p:nvSpPr>
          <p:cNvPr id="42" name="Title 3">
            <a:extLst>
              <a:ext uri="{FF2B5EF4-FFF2-40B4-BE49-F238E27FC236}">
                <a16:creationId xmlns:a16="http://schemas.microsoft.com/office/drawing/2014/main" xmlns="" id="{931A4E51-CFF1-4E07-8134-552D195CC681}"/>
              </a:ext>
            </a:extLst>
          </p:cNvPr>
          <p:cNvSpPr txBox="1">
            <a:spLocks/>
          </p:cNvSpPr>
          <p:nvPr/>
        </p:nvSpPr>
        <p:spPr bwMode="black">
          <a:xfrm>
            <a:off x="1020355" y="3294651"/>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spcBef>
                <a:spcPts val="600"/>
              </a:spcBef>
            </a:pPr>
            <a:r>
              <a:rPr lang="en-GB" sz="1400">
                <a:solidFill>
                  <a:srgbClr val="000000"/>
                </a:solidFill>
                <a:latin typeface="SwissReSans Light" panose="020B0504020202020204" pitchFamily="34" charset="0"/>
              </a:rPr>
              <a:t>Onerous contracts will result in </a:t>
            </a:r>
            <a:r>
              <a:rPr lang="en-GB" sz="1400" b="1">
                <a:latin typeface="SwissReSans Light" panose="020B0504020202020204" pitchFamily="34" charset="0"/>
              </a:rPr>
              <a:t>adverse upfront </a:t>
            </a:r>
            <a:r>
              <a:rPr lang="en-GB" sz="1400">
                <a:solidFill>
                  <a:srgbClr val="000000"/>
                </a:solidFill>
                <a:latin typeface="SwissReSans Light" panose="020B0504020202020204" pitchFamily="34" charset="0"/>
              </a:rPr>
              <a:t>accounting losses; RI QS contracts can </a:t>
            </a:r>
            <a:r>
              <a:rPr lang="en-GB" sz="1400" b="1">
                <a:latin typeface="SwissReSans Light" panose="020B0504020202020204" pitchFamily="34" charset="0"/>
              </a:rPr>
              <a:t>reduce</a:t>
            </a:r>
            <a:r>
              <a:rPr lang="en-GB" sz="1400">
                <a:solidFill>
                  <a:srgbClr val="000000"/>
                </a:solidFill>
                <a:latin typeface="SwissReSans Light" panose="020B0504020202020204" pitchFamily="34" charset="0"/>
              </a:rPr>
              <a:t> that impact</a:t>
            </a:r>
          </a:p>
        </p:txBody>
      </p:sp>
      <p:sp>
        <p:nvSpPr>
          <p:cNvPr id="43" name="Title 3">
            <a:extLst>
              <a:ext uri="{FF2B5EF4-FFF2-40B4-BE49-F238E27FC236}">
                <a16:creationId xmlns:a16="http://schemas.microsoft.com/office/drawing/2014/main" xmlns="" id="{E5EA2D15-8E58-47B2-94AB-4F1819DCF22D}"/>
              </a:ext>
            </a:extLst>
          </p:cNvPr>
          <p:cNvSpPr txBox="1">
            <a:spLocks/>
          </p:cNvSpPr>
          <p:nvPr/>
        </p:nvSpPr>
        <p:spPr bwMode="black">
          <a:xfrm>
            <a:off x="1020355" y="4131230"/>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spcBef>
                <a:spcPts val="600"/>
              </a:spcBef>
            </a:pPr>
            <a:r>
              <a:rPr lang="en-GB" sz="1400" err="1">
                <a:solidFill>
                  <a:srgbClr val="000000"/>
                </a:solidFill>
                <a:latin typeface="SwissReSans Light" panose="020B0504020202020204" pitchFamily="34" charset="0"/>
              </a:rPr>
              <a:t>XoL</a:t>
            </a:r>
            <a:r>
              <a:rPr lang="en-GB" sz="1400">
                <a:solidFill>
                  <a:srgbClr val="000000"/>
                </a:solidFill>
                <a:latin typeface="SwissReSans Light" panose="020B0504020202020204" pitchFamily="34" charset="0"/>
              </a:rPr>
              <a:t> treaties will need </a:t>
            </a:r>
            <a:r>
              <a:rPr lang="en-GB" sz="1400" b="1">
                <a:latin typeface="SwissReSans Light" panose="020B0504020202020204" pitchFamily="34" charset="0"/>
              </a:rPr>
              <a:t>proper modelling </a:t>
            </a:r>
            <a:r>
              <a:rPr lang="en-GB" sz="1400">
                <a:solidFill>
                  <a:srgbClr val="000000"/>
                </a:solidFill>
                <a:latin typeface="SwissReSans Light" panose="020B0504020202020204" pitchFamily="34" charset="0"/>
              </a:rPr>
              <a:t>of expected recoveries to prevent RI from looking </a:t>
            </a:r>
            <a:r>
              <a:rPr lang="en-GB" sz="1400" b="1">
                <a:latin typeface="SwissReSans Light" panose="020B0504020202020204" pitchFamily="34" charset="0"/>
              </a:rPr>
              <a:t>too expensive </a:t>
            </a:r>
            <a:r>
              <a:rPr lang="en-GB" sz="1400">
                <a:solidFill>
                  <a:srgbClr val="000000"/>
                </a:solidFill>
                <a:latin typeface="SwissReSans Light" panose="020B0504020202020204" pitchFamily="34" charset="0"/>
              </a:rPr>
              <a:t>especially if ceded IBNRs are underestimated</a:t>
            </a:r>
          </a:p>
        </p:txBody>
      </p:sp>
      <p:sp>
        <p:nvSpPr>
          <p:cNvPr id="44" name="Title 3">
            <a:extLst>
              <a:ext uri="{FF2B5EF4-FFF2-40B4-BE49-F238E27FC236}">
                <a16:creationId xmlns:a16="http://schemas.microsoft.com/office/drawing/2014/main" xmlns="" id="{997F1208-95CE-4ACC-A083-BA5C630C939C}"/>
              </a:ext>
            </a:extLst>
          </p:cNvPr>
          <p:cNvSpPr txBox="1">
            <a:spLocks/>
          </p:cNvSpPr>
          <p:nvPr/>
        </p:nvSpPr>
        <p:spPr bwMode="black">
          <a:xfrm>
            <a:off x="1020355" y="4978621"/>
            <a:ext cx="10692219" cy="638175"/>
          </a:xfrm>
          <a:prstGeom prst="rect">
            <a:avLst/>
          </a:prstGeom>
          <a:solidFill>
            <a:schemeClr val="accent4">
              <a:lumMod val="20000"/>
              <a:lumOff val="80000"/>
            </a:schemeClr>
          </a:solidFill>
        </p:spPr>
        <p:txBody>
          <a:bodyPr vert="horz" lIns="468000" tIns="0" rIns="108000" bIns="0" rtlCol="0" anchor="ctr"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pPr>
              <a:spcBef>
                <a:spcPts val="600"/>
              </a:spcBef>
            </a:pPr>
            <a:r>
              <a:rPr lang="en-GB" sz="1400">
                <a:solidFill>
                  <a:srgbClr val="000000"/>
                </a:solidFill>
                <a:latin typeface="SwissReSans Light" panose="020B0504020202020204" pitchFamily="34" charset="0"/>
              </a:rPr>
              <a:t>Structured treaties will be </a:t>
            </a:r>
            <a:r>
              <a:rPr lang="en-GB" sz="1400" b="1">
                <a:latin typeface="SwissReSans Light" panose="020B0504020202020204" pitchFamily="34" charset="0"/>
              </a:rPr>
              <a:t>more difficult </a:t>
            </a:r>
            <a:r>
              <a:rPr lang="en-GB" sz="1400">
                <a:solidFill>
                  <a:srgbClr val="000000"/>
                </a:solidFill>
                <a:latin typeface="SwissReSans Light" panose="020B0504020202020204" pitchFamily="34" charset="0"/>
              </a:rPr>
              <a:t>to book under IFRS-17, but the </a:t>
            </a:r>
            <a:r>
              <a:rPr lang="en-GB" sz="1400" b="1">
                <a:latin typeface="SwissReSans Light" panose="020B0504020202020204" pitchFamily="34" charset="0"/>
              </a:rPr>
              <a:t>economic protection remains </a:t>
            </a:r>
            <a:r>
              <a:rPr lang="en-GB" sz="1400">
                <a:solidFill>
                  <a:srgbClr val="000000"/>
                </a:solidFill>
                <a:latin typeface="SwissReSans Light" panose="020B0504020202020204" pitchFamily="34" charset="0"/>
              </a:rPr>
              <a:t>– the value brought by such treaties might still be worth the effort</a:t>
            </a:r>
          </a:p>
        </p:txBody>
      </p:sp>
      <p:sp>
        <p:nvSpPr>
          <p:cNvPr id="2" name="Foliennummernplatzhalter 1">
            <a:extLst>
              <a:ext uri="{FF2B5EF4-FFF2-40B4-BE49-F238E27FC236}">
                <a16:creationId xmlns:a16="http://schemas.microsoft.com/office/drawing/2014/main" xmlns="" id="{AACA2E5B-EA83-4F48-96F2-65F9A7D7F520}"/>
              </a:ext>
            </a:extLst>
          </p:cNvPr>
          <p:cNvSpPr>
            <a:spLocks noGrp="1"/>
          </p:cNvSpPr>
          <p:nvPr>
            <p:ph type="sldNum" sz="quarter" idx="12"/>
          </p:nvPr>
        </p:nvSpPr>
        <p:spPr/>
        <p:txBody>
          <a:bodyPr/>
          <a:lstStyle/>
          <a:p>
            <a:fld id="{5E4D2043-7E31-4A53-BD33-72A88E682172}" type="slidenum">
              <a:rPr lang="en-GB" smtClean="0"/>
              <a:pPr/>
              <a:t>58</a:t>
            </a:fld>
            <a:endParaRPr lang="en-GB"/>
          </a:p>
        </p:txBody>
      </p:sp>
      <p:sp>
        <p:nvSpPr>
          <p:cNvPr id="24" name="Title 2">
            <a:extLst>
              <a:ext uri="{FF2B5EF4-FFF2-40B4-BE49-F238E27FC236}">
                <a16:creationId xmlns:a16="http://schemas.microsoft.com/office/drawing/2014/main" xmlns="" id="{F792E876-DE74-4CF2-9727-3A233025A94F}"/>
              </a:ext>
            </a:extLst>
          </p:cNvPr>
          <p:cNvSpPr>
            <a:spLocks noGrp="1"/>
          </p:cNvSpPr>
          <p:nvPr>
            <p:ph type="title"/>
          </p:nvPr>
        </p:nvSpPr>
        <p:spPr/>
        <p:txBody>
          <a:bodyPr vert="horz"/>
          <a:lstStyle/>
          <a:p>
            <a:r>
              <a:rPr lang="en-GB"/>
              <a:t>Overall Recap</a:t>
            </a:r>
          </a:p>
        </p:txBody>
      </p:sp>
      <p:sp>
        <p:nvSpPr>
          <p:cNvPr id="21" name="Oval 1">
            <a:extLst>
              <a:ext uri="{FF2B5EF4-FFF2-40B4-BE49-F238E27FC236}">
                <a16:creationId xmlns:a16="http://schemas.microsoft.com/office/drawing/2014/main" xmlns="" id="{CF1D011C-F9AC-4FFC-A1C8-EFBEBE2CF098}"/>
              </a:ext>
            </a:extLst>
          </p:cNvPr>
          <p:cNvSpPr/>
          <p:nvPr/>
        </p:nvSpPr>
        <p:spPr>
          <a:xfrm>
            <a:off x="704850" y="1624336"/>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3" name="Oval 33">
            <a:extLst>
              <a:ext uri="{FF2B5EF4-FFF2-40B4-BE49-F238E27FC236}">
                <a16:creationId xmlns:a16="http://schemas.microsoft.com/office/drawing/2014/main" xmlns="" id="{42BB68B0-E3AF-4C35-B96B-2A05F05BC616}"/>
              </a:ext>
            </a:extLst>
          </p:cNvPr>
          <p:cNvSpPr/>
          <p:nvPr/>
        </p:nvSpPr>
        <p:spPr>
          <a:xfrm>
            <a:off x="704850" y="2464595"/>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5" name="Oval 38">
            <a:extLst>
              <a:ext uri="{FF2B5EF4-FFF2-40B4-BE49-F238E27FC236}">
                <a16:creationId xmlns:a16="http://schemas.microsoft.com/office/drawing/2014/main" xmlns="" id="{DBAC1C26-D2FB-4BA1-92FC-313F29FBA647}"/>
              </a:ext>
            </a:extLst>
          </p:cNvPr>
          <p:cNvSpPr/>
          <p:nvPr/>
        </p:nvSpPr>
        <p:spPr>
          <a:xfrm>
            <a:off x="704850" y="3295393"/>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7" name="Oval 45">
            <a:extLst>
              <a:ext uri="{FF2B5EF4-FFF2-40B4-BE49-F238E27FC236}">
                <a16:creationId xmlns:a16="http://schemas.microsoft.com/office/drawing/2014/main" xmlns="" id="{344CDCF2-E26E-49E6-88F8-A3E149114DD7}"/>
              </a:ext>
            </a:extLst>
          </p:cNvPr>
          <p:cNvSpPr/>
          <p:nvPr/>
        </p:nvSpPr>
        <p:spPr>
          <a:xfrm>
            <a:off x="704850" y="4131649"/>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sp>
        <p:nvSpPr>
          <p:cNvPr id="29" name="Oval 53">
            <a:extLst>
              <a:ext uri="{FF2B5EF4-FFF2-40B4-BE49-F238E27FC236}">
                <a16:creationId xmlns:a16="http://schemas.microsoft.com/office/drawing/2014/main" xmlns="" id="{69C4C41D-4222-4E16-BFCC-CA98CC282BDA}"/>
              </a:ext>
            </a:extLst>
          </p:cNvPr>
          <p:cNvSpPr/>
          <p:nvPr/>
        </p:nvSpPr>
        <p:spPr>
          <a:xfrm>
            <a:off x="704850" y="4973363"/>
            <a:ext cx="648072" cy="648072"/>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latin typeface="SwissReSans" pitchFamily="34" charset="0"/>
            </a:endParaRPr>
          </a:p>
        </p:txBody>
      </p:sp>
      <p:pic>
        <p:nvPicPr>
          <p:cNvPr id="9" name="Graphic 8" descr="Stopwatch">
            <a:extLst>
              <a:ext uri="{FF2B5EF4-FFF2-40B4-BE49-F238E27FC236}">
                <a16:creationId xmlns:a16="http://schemas.microsoft.com/office/drawing/2014/main" xmlns="" id="{BD8A1EA7-A366-438F-BFE9-0E3D9D65C3B8}"/>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91755" y="1719262"/>
            <a:ext cx="457200" cy="457200"/>
          </a:xfrm>
          <a:prstGeom prst="rect">
            <a:avLst/>
          </a:prstGeom>
        </p:spPr>
      </p:pic>
      <p:pic>
        <p:nvPicPr>
          <p:cNvPr id="11" name="Graphic 10" descr="List">
            <a:extLst>
              <a:ext uri="{FF2B5EF4-FFF2-40B4-BE49-F238E27FC236}">
                <a16:creationId xmlns:a16="http://schemas.microsoft.com/office/drawing/2014/main" xmlns="" id="{0ED0FDD6-62AD-4484-BF71-12FE5758361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91755" y="2555972"/>
            <a:ext cx="457200" cy="457200"/>
          </a:xfrm>
          <a:prstGeom prst="rect">
            <a:avLst/>
          </a:prstGeom>
        </p:spPr>
      </p:pic>
      <p:pic>
        <p:nvPicPr>
          <p:cNvPr id="13" name="Graphic 12" descr="Gears">
            <a:extLst>
              <a:ext uri="{FF2B5EF4-FFF2-40B4-BE49-F238E27FC236}">
                <a16:creationId xmlns:a16="http://schemas.microsoft.com/office/drawing/2014/main" xmlns="" id="{4DCC9D37-6C24-4F58-B43D-667FDCDABCC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791755" y="5068799"/>
            <a:ext cx="457200" cy="457200"/>
          </a:xfrm>
          <a:prstGeom prst="rect">
            <a:avLst/>
          </a:prstGeom>
        </p:spPr>
      </p:pic>
      <p:pic>
        <p:nvPicPr>
          <p:cNvPr id="15" name="Graphic 14" descr="Bar graph with downward trend">
            <a:extLst>
              <a:ext uri="{FF2B5EF4-FFF2-40B4-BE49-F238E27FC236}">
                <a16:creationId xmlns:a16="http://schemas.microsoft.com/office/drawing/2014/main" xmlns="" id="{51A11860-74BE-4565-8736-D3689C3E63DE}"/>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91755" y="3385138"/>
            <a:ext cx="457200" cy="457200"/>
          </a:xfrm>
          <a:prstGeom prst="rect">
            <a:avLst/>
          </a:prstGeom>
        </p:spPr>
      </p:pic>
      <p:pic>
        <p:nvPicPr>
          <p:cNvPr id="17" name="Graphic 16" descr="Presentation with bar chart">
            <a:extLst>
              <a:ext uri="{FF2B5EF4-FFF2-40B4-BE49-F238E27FC236}">
                <a16:creationId xmlns:a16="http://schemas.microsoft.com/office/drawing/2014/main" xmlns="" id="{31A9A04A-BABD-4A6C-A3E3-5FDEF18022F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791755" y="4221717"/>
            <a:ext cx="457200" cy="457200"/>
          </a:xfrm>
          <a:prstGeom prst="rect">
            <a:avLst/>
          </a:prstGeom>
        </p:spPr>
      </p:pic>
      <p:pic>
        <p:nvPicPr>
          <p:cNvPr id="20" name="Picture 19">
            <a:extLst>
              <a:ext uri="{FF2B5EF4-FFF2-40B4-BE49-F238E27FC236}">
                <a16:creationId xmlns:a16="http://schemas.microsoft.com/office/drawing/2014/main" xmlns="" id="{65757C10-3A78-49D8-94C5-C4E86FAEB98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1300790" y="202926"/>
            <a:ext cx="699075" cy="704228"/>
          </a:xfrm>
          <a:prstGeom prst="rect">
            <a:avLst/>
          </a:prstGeom>
        </p:spPr>
      </p:pic>
    </p:spTree>
    <p:extLst>
      <p:ext uri="{BB962C8B-B14F-4D97-AF65-F5344CB8AC3E}">
        <p14:creationId xmlns:p14="http://schemas.microsoft.com/office/powerpoint/2010/main" val="32515307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BCEF814A-7DBF-435F-AC0D-E541DEE3FF81}"/>
              </a:ext>
            </a:extLst>
          </p:cNvPr>
          <p:cNvGraphicFramePr>
            <a:graphicFrameLocks noChangeAspect="1"/>
          </p:cNvGraphicFramePr>
          <p:nvPr>
            <p:custDataLst>
              <p:tags r:id="rId2"/>
            </p:custDataLst>
            <p:extLst>
              <p:ext uri="{D42A27DB-BD31-4B8C-83A1-F6EECF244321}">
                <p14:modId xmlns:p14="http://schemas.microsoft.com/office/powerpoint/2010/main" val="201653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2" name="think-cell Slide" r:id="rId5" imgW="408" imgH="408" progId="TCLayout.ActiveDocument.1">
                  <p:embed/>
                </p:oleObj>
              </mc:Choice>
              <mc:Fallback>
                <p:oleObj name="think-cell Slide" r:id="rId5" imgW="408" imgH="408" progId="TCLayout.ActiveDocument.1">
                  <p:embed/>
                  <p:pic>
                    <p:nvPicPr>
                      <p:cNvPr id="7" name="Object 6" hidden="1">
                        <a:extLst>
                          <a:ext uri="{FF2B5EF4-FFF2-40B4-BE49-F238E27FC236}">
                            <a16:creationId xmlns:a16="http://schemas.microsoft.com/office/drawing/2014/main" xmlns="" id="{BCEF814A-7DBF-435F-AC0D-E541DEE3FF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7ABFB02F-A996-4D31-BEEF-008EA62C3A25}"/>
              </a:ext>
            </a:extLst>
          </p:cNvPr>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a:latin typeface="SwissReSans" panose="020B0604020202020204" pitchFamily="34" charset="0"/>
              <a:ea typeface="+mj-ea"/>
              <a:cs typeface="+mj-cs"/>
              <a:sym typeface="SwissReSans" panose="020B0604020202020204" pitchFamily="34" charset="0"/>
            </a:endParaRPr>
          </a:p>
        </p:txBody>
      </p:sp>
      <p:sp>
        <p:nvSpPr>
          <p:cNvPr id="6" name="Content Placeholder 5">
            <a:extLst>
              <a:ext uri="{FF2B5EF4-FFF2-40B4-BE49-F238E27FC236}">
                <a16:creationId xmlns:a16="http://schemas.microsoft.com/office/drawing/2014/main" xmlns="" id="{90F7C6B1-09DB-4B93-A213-58FF7FB5DE3F}"/>
              </a:ext>
            </a:extLst>
          </p:cNvPr>
          <p:cNvSpPr>
            <a:spLocks noGrp="1"/>
          </p:cNvSpPr>
          <p:nvPr>
            <p:ph idx="1"/>
          </p:nvPr>
        </p:nvSpPr>
        <p:spPr/>
        <p:txBody>
          <a:bodyPr/>
          <a:lstStyle/>
          <a:p>
            <a:pPr marL="261937" lvl="1" indent="0">
              <a:spcBef>
                <a:spcPts val="600"/>
              </a:spcBef>
              <a:buNone/>
            </a:pPr>
            <a:r>
              <a:rPr lang="en-GB" sz="1800">
                <a:solidFill>
                  <a:schemeClr val="dk1"/>
                </a:solidFill>
              </a:rPr>
              <a:t>		</a:t>
            </a:r>
          </a:p>
          <a:p>
            <a:pPr marL="261937" lvl="1" indent="0">
              <a:spcBef>
                <a:spcPts val="600"/>
              </a:spcBef>
              <a:buNone/>
            </a:pPr>
            <a:r>
              <a:rPr lang="en-GB" sz="1800">
                <a:solidFill>
                  <a:schemeClr val="dk1"/>
                </a:solidFill>
              </a:rPr>
              <a:t>	</a:t>
            </a:r>
          </a:p>
        </p:txBody>
      </p:sp>
      <p:pic>
        <p:nvPicPr>
          <p:cNvPr id="9" name="Picture 8" descr="A picture containing logo&#10;&#10;Description automatically generated">
            <a:extLst>
              <a:ext uri="{FF2B5EF4-FFF2-40B4-BE49-F238E27FC236}">
                <a16:creationId xmlns:a16="http://schemas.microsoft.com/office/drawing/2014/main" xmlns="" id="{8159B4D1-411B-40EB-8BD8-2357661CC114}"/>
              </a:ext>
            </a:extLst>
          </p:cNvPr>
          <p:cNvPicPr>
            <a:picLocks noChangeAspect="1"/>
          </p:cNvPicPr>
          <p:nvPr/>
        </p:nvPicPr>
        <p:blipFill>
          <a:blip r:embed="rId7"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520692" y="2005302"/>
            <a:ext cx="9160030" cy="4224955"/>
          </a:xfrm>
          <a:prstGeom prst="rect">
            <a:avLst/>
          </a:prstGeom>
        </p:spPr>
      </p:pic>
      <p:sp>
        <p:nvSpPr>
          <p:cNvPr id="10" name="Speech Bubble: Rectangle with Corners Rounded 9">
            <a:extLst>
              <a:ext uri="{FF2B5EF4-FFF2-40B4-BE49-F238E27FC236}">
                <a16:creationId xmlns:a16="http://schemas.microsoft.com/office/drawing/2014/main" xmlns="" id="{28AEE6B4-1D7C-4D9A-B5D7-D7F4888870CB}"/>
              </a:ext>
            </a:extLst>
          </p:cNvPr>
          <p:cNvSpPr/>
          <p:nvPr/>
        </p:nvSpPr>
        <p:spPr>
          <a:xfrm>
            <a:off x="7627521" y="1157242"/>
            <a:ext cx="2042461" cy="1449362"/>
          </a:xfrm>
          <a:prstGeom prst="wedgeRoundRectCallout">
            <a:avLst>
              <a:gd name="adj1" fmla="val 51063"/>
              <a:gd name="adj2" fmla="val 98056"/>
              <a:gd name="adj3" fmla="val 16667"/>
            </a:avLst>
          </a:prstGeom>
          <a:solidFill>
            <a:schemeClr val="bg1">
              <a:lumMod val="95000"/>
            </a:schemeClr>
          </a:solidFill>
          <a:ln w="38100">
            <a:solidFill>
              <a:schemeClr val="tx1"/>
            </a:solidFill>
            <a:extLst>
              <a:ext uri="{C807C97D-BFC1-408E-A445-0C87EB9F89A2}">
                <ask:lineSketchStyleProps xmlns:ask="http://schemas.microsoft.com/office/drawing/2018/sketchyshapes" xmlns="" sd="2926512229">
                  <a:custGeom>
                    <a:avLst/>
                    <a:gdLst>
                      <a:gd name="connsiteX0" fmla="*/ 0 w 5750559"/>
                      <a:gd name="connsiteY0" fmla="*/ 528069 h 3168352"/>
                      <a:gd name="connsiteX1" fmla="*/ 528069 w 5750559"/>
                      <a:gd name="connsiteY1" fmla="*/ 0 h 3168352"/>
                      <a:gd name="connsiteX2" fmla="*/ 958427 w 5750559"/>
                      <a:gd name="connsiteY2" fmla="*/ 0 h 3168352"/>
                      <a:gd name="connsiteX3" fmla="*/ 958427 w 5750559"/>
                      <a:gd name="connsiteY3" fmla="*/ 0 h 3168352"/>
                      <a:gd name="connsiteX4" fmla="*/ 2396066 w 5750559"/>
                      <a:gd name="connsiteY4" fmla="*/ 0 h 3168352"/>
                      <a:gd name="connsiteX5" fmla="*/ 5222490 w 5750559"/>
                      <a:gd name="connsiteY5" fmla="*/ 0 h 3168352"/>
                      <a:gd name="connsiteX6" fmla="*/ 5750559 w 5750559"/>
                      <a:gd name="connsiteY6" fmla="*/ 528069 h 3168352"/>
                      <a:gd name="connsiteX7" fmla="*/ 5750559 w 5750559"/>
                      <a:gd name="connsiteY7" fmla="*/ 1848205 h 3168352"/>
                      <a:gd name="connsiteX8" fmla="*/ 5750559 w 5750559"/>
                      <a:gd name="connsiteY8" fmla="*/ 1848205 h 3168352"/>
                      <a:gd name="connsiteX9" fmla="*/ 5750559 w 5750559"/>
                      <a:gd name="connsiteY9" fmla="*/ 2640293 h 3168352"/>
                      <a:gd name="connsiteX10" fmla="*/ 5750559 w 5750559"/>
                      <a:gd name="connsiteY10" fmla="*/ 2640283 h 3168352"/>
                      <a:gd name="connsiteX11" fmla="*/ 5222490 w 5750559"/>
                      <a:gd name="connsiteY11" fmla="*/ 3168352 h 3168352"/>
                      <a:gd name="connsiteX12" fmla="*/ 2396066 w 5750559"/>
                      <a:gd name="connsiteY12" fmla="*/ 3168352 h 3168352"/>
                      <a:gd name="connsiteX13" fmla="*/ 1677266 w 5750559"/>
                      <a:gd name="connsiteY13" fmla="*/ 3564396 h 3168352"/>
                      <a:gd name="connsiteX14" fmla="*/ 958427 w 5750559"/>
                      <a:gd name="connsiteY14" fmla="*/ 3168352 h 3168352"/>
                      <a:gd name="connsiteX15" fmla="*/ 528069 w 5750559"/>
                      <a:gd name="connsiteY15" fmla="*/ 3168352 h 3168352"/>
                      <a:gd name="connsiteX16" fmla="*/ 0 w 5750559"/>
                      <a:gd name="connsiteY16" fmla="*/ 2640283 h 3168352"/>
                      <a:gd name="connsiteX17" fmla="*/ 0 w 5750559"/>
                      <a:gd name="connsiteY17" fmla="*/ 2640293 h 3168352"/>
                      <a:gd name="connsiteX18" fmla="*/ 0 w 5750559"/>
                      <a:gd name="connsiteY18" fmla="*/ 1848205 h 3168352"/>
                      <a:gd name="connsiteX19" fmla="*/ 0 w 5750559"/>
                      <a:gd name="connsiteY19" fmla="*/ 1848205 h 3168352"/>
                      <a:gd name="connsiteX20" fmla="*/ 0 w 5750559"/>
                      <a:gd name="connsiteY20" fmla="*/ 528069 h 3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50559" h="3168352" fill="none" extrusionOk="0">
                        <a:moveTo>
                          <a:pt x="0" y="528069"/>
                        </a:moveTo>
                        <a:cubicBezTo>
                          <a:pt x="30599" y="230730"/>
                          <a:pt x="262407" y="-11432"/>
                          <a:pt x="528069" y="0"/>
                        </a:cubicBezTo>
                        <a:cubicBezTo>
                          <a:pt x="651389" y="-27640"/>
                          <a:pt x="910276" y="-30318"/>
                          <a:pt x="958427" y="0"/>
                        </a:cubicBezTo>
                        <a:lnTo>
                          <a:pt x="958427" y="0"/>
                        </a:lnTo>
                        <a:cubicBezTo>
                          <a:pt x="1403218" y="-81127"/>
                          <a:pt x="2068626" y="-106493"/>
                          <a:pt x="2396066" y="0"/>
                        </a:cubicBezTo>
                        <a:cubicBezTo>
                          <a:pt x="2924412" y="146633"/>
                          <a:pt x="3919390" y="-29093"/>
                          <a:pt x="5222490" y="0"/>
                        </a:cubicBezTo>
                        <a:cubicBezTo>
                          <a:pt x="5468506" y="34190"/>
                          <a:pt x="5704445" y="264495"/>
                          <a:pt x="5750559" y="528069"/>
                        </a:cubicBezTo>
                        <a:cubicBezTo>
                          <a:pt x="5666645" y="776973"/>
                          <a:pt x="5801419" y="1253194"/>
                          <a:pt x="5750559" y="1848205"/>
                        </a:cubicBezTo>
                        <a:lnTo>
                          <a:pt x="5750559" y="1848205"/>
                        </a:lnTo>
                        <a:cubicBezTo>
                          <a:pt x="5684759" y="2138446"/>
                          <a:pt x="5816610" y="2368571"/>
                          <a:pt x="5750559" y="2640293"/>
                        </a:cubicBezTo>
                        <a:cubicBezTo>
                          <a:pt x="5750559" y="2640288"/>
                          <a:pt x="5750559" y="2640287"/>
                          <a:pt x="5750559" y="2640283"/>
                        </a:cubicBezTo>
                        <a:cubicBezTo>
                          <a:pt x="5798980" y="2912143"/>
                          <a:pt x="5510325" y="3186368"/>
                          <a:pt x="5222490" y="3168352"/>
                        </a:cubicBezTo>
                        <a:cubicBezTo>
                          <a:pt x="4175433" y="3114076"/>
                          <a:pt x="3450466" y="3190064"/>
                          <a:pt x="2396066" y="3168352"/>
                        </a:cubicBezTo>
                        <a:cubicBezTo>
                          <a:pt x="2078110" y="3276583"/>
                          <a:pt x="1776425" y="3512858"/>
                          <a:pt x="1677266" y="3564396"/>
                        </a:cubicBezTo>
                        <a:cubicBezTo>
                          <a:pt x="1564371" y="3563235"/>
                          <a:pt x="1220110" y="3395369"/>
                          <a:pt x="958427" y="3168352"/>
                        </a:cubicBezTo>
                        <a:cubicBezTo>
                          <a:pt x="798664" y="3206082"/>
                          <a:pt x="702156" y="3172267"/>
                          <a:pt x="528069" y="3168352"/>
                        </a:cubicBezTo>
                        <a:cubicBezTo>
                          <a:pt x="217749" y="3162045"/>
                          <a:pt x="-41043" y="2944003"/>
                          <a:pt x="0" y="2640283"/>
                        </a:cubicBezTo>
                        <a:cubicBezTo>
                          <a:pt x="0" y="2640288"/>
                          <a:pt x="0" y="2640289"/>
                          <a:pt x="0" y="2640293"/>
                        </a:cubicBezTo>
                        <a:cubicBezTo>
                          <a:pt x="40461" y="2271097"/>
                          <a:pt x="59473" y="2128804"/>
                          <a:pt x="0" y="1848205"/>
                        </a:cubicBezTo>
                        <a:lnTo>
                          <a:pt x="0" y="1848205"/>
                        </a:lnTo>
                        <a:cubicBezTo>
                          <a:pt x="31882" y="1637889"/>
                          <a:pt x="30878" y="951059"/>
                          <a:pt x="0" y="528069"/>
                        </a:cubicBezTo>
                        <a:close/>
                      </a:path>
                      <a:path w="5750559" h="3168352" stroke="0" extrusionOk="0">
                        <a:moveTo>
                          <a:pt x="0" y="528069"/>
                        </a:moveTo>
                        <a:cubicBezTo>
                          <a:pt x="8310" y="250615"/>
                          <a:pt x="220668" y="3623"/>
                          <a:pt x="528069" y="0"/>
                        </a:cubicBezTo>
                        <a:cubicBezTo>
                          <a:pt x="691525" y="1713"/>
                          <a:pt x="793585" y="-8754"/>
                          <a:pt x="958427" y="0"/>
                        </a:cubicBezTo>
                        <a:lnTo>
                          <a:pt x="958427" y="0"/>
                        </a:lnTo>
                        <a:cubicBezTo>
                          <a:pt x="1132379" y="-2201"/>
                          <a:pt x="1724089" y="-68282"/>
                          <a:pt x="2396066" y="0"/>
                        </a:cubicBezTo>
                        <a:cubicBezTo>
                          <a:pt x="3711859" y="100469"/>
                          <a:pt x="4405725" y="-111592"/>
                          <a:pt x="5222490" y="0"/>
                        </a:cubicBezTo>
                        <a:cubicBezTo>
                          <a:pt x="5516540" y="-39770"/>
                          <a:pt x="5769473" y="266771"/>
                          <a:pt x="5750559" y="528069"/>
                        </a:cubicBezTo>
                        <a:cubicBezTo>
                          <a:pt x="5677588" y="1165958"/>
                          <a:pt x="5851953" y="1628490"/>
                          <a:pt x="5750559" y="1848205"/>
                        </a:cubicBezTo>
                        <a:lnTo>
                          <a:pt x="5750559" y="1848205"/>
                        </a:lnTo>
                        <a:cubicBezTo>
                          <a:pt x="5723850" y="2197584"/>
                          <a:pt x="5754699" y="2482265"/>
                          <a:pt x="5750559" y="2640293"/>
                        </a:cubicBezTo>
                        <a:cubicBezTo>
                          <a:pt x="5750559" y="2640290"/>
                          <a:pt x="5750560" y="2640287"/>
                          <a:pt x="5750559" y="2640283"/>
                        </a:cubicBezTo>
                        <a:cubicBezTo>
                          <a:pt x="5757869" y="2954870"/>
                          <a:pt x="5508895" y="3160277"/>
                          <a:pt x="5222490" y="3168352"/>
                        </a:cubicBezTo>
                        <a:cubicBezTo>
                          <a:pt x="4593929" y="3084895"/>
                          <a:pt x="3740068" y="3090383"/>
                          <a:pt x="2396066" y="3168352"/>
                        </a:cubicBezTo>
                        <a:cubicBezTo>
                          <a:pt x="2291348" y="3299295"/>
                          <a:pt x="1931162" y="3472599"/>
                          <a:pt x="1677266" y="3564396"/>
                        </a:cubicBezTo>
                        <a:cubicBezTo>
                          <a:pt x="1468840" y="3397084"/>
                          <a:pt x="1099585" y="3244569"/>
                          <a:pt x="958427" y="3168352"/>
                        </a:cubicBezTo>
                        <a:cubicBezTo>
                          <a:pt x="898278" y="3152549"/>
                          <a:pt x="637948" y="3141170"/>
                          <a:pt x="528069" y="3168352"/>
                        </a:cubicBezTo>
                        <a:cubicBezTo>
                          <a:pt x="226073" y="3162577"/>
                          <a:pt x="-14300" y="2897183"/>
                          <a:pt x="0" y="2640283"/>
                        </a:cubicBezTo>
                        <a:cubicBezTo>
                          <a:pt x="0" y="2640288"/>
                          <a:pt x="-1" y="2640289"/>
                          <a:pt x="0" y="2640293"/>
                        </a:cubicBezTo>
                        <a:cubicBezTo>
                          <a:pt x="-26519" y="2315182"/>
                          <a:pt x="3160" y="1990594"/>
                          <a:pt x="0" y="1848205"/>
                        </a:cubicBezTo>
                        <a:lnTo>
                          <a:pt x="0" y="1848205"/>
                        </a:lnTo>
                        <a:cubicBezTo>
                          <a:pt x="-25016" y="1227157"/>
                          <a:pt x="117558" y="1111479"/>
                          <a:pt x="0" y="528069"/>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sp>
        <p:nvSpPr>
          <p:cNvPr id="11" name="TextBox 10">
            <a:extLst>
              <a:ext uri="{FF2B5EF4-FFF2-40B4-BE49-F238E27FC236}">
                <a16:creationId xmlns:a16="http://schemas.microsoft.com/office/drawing/2014/main" xmlns="" id="{D8D9C2A6-3BE8-4EE0-A598-8B35EFFF674F}"/>
              </a:ext>
            </a:extLst>
          </p:cNvPr>
          <p:cNvSpPr txBox="1"/>
          <p:nvPr/>
        </p:nvSpPr>
        <p:spPr>
          <a:xfrm>
            <a:off x="8353638" y="1241945"/>
            <a:ext cx="590226" cy="1200329"/>
          </a:xfrm>
          <a:prstGeom prst="rect">
            <a:avLst/>
          </a:prstGeom>
          <a:noFill/>
        </p:spPr>
        <p:txBody>
          <a:bodyPr wrap="none" rtlCol="0">
            <a:spAutoFit/>
          </a:bodyPr>
          <a:lstStyle/>
          <a:p>
            <a:r>
              <a:rPr lang="en-GB" sz="7200" b="1">
                <a:latin typeface="SwissReSans" pitchFamily="34" charset="0"/>
              </a:rPr>
              <a:t>?</a:t>
            </a:r>
          </a:p>
        </p:txBody>
      </p:sp>
      <p:sp>
        <p:nvSpPr>
          <p:cNvPr id="12" name="Speech Bubble: Rectangle with Corners Rounded 11">
            <a:extLst>
              <a:ext uri="{FF2B5EF4-FFF2-40B4-BE49-F238E27FC236}">
                <a16:creationId xmlns:a16="http://schemas.microsoft.com/office/drawing/2014/main" xmlns="" id="{2A6349A2-7902-43D7-8453-FAC78A9CA8B3}"/>
              </a:ext>
            </a:extLst>
          </p:cNvPr>
          <p:cNvSpPr/>
          <p:nvPr/>
        </p:nvSpPr>
        <p:spPr>
          <a:xfrm>
            <a:off x="5849535" y="1678917"/>
            <a:ext cx="2042461" cy="1449362"/>
          </a:xfrm>
          <a:prstGeom prst="wedgeRoundRectCallout">
            <a:avLst>
              <a:gd name="adj1" fmla="val -42207"/>
              <a:gd name="adj2" fmla="val 72645"/>
              <a:gd name="adj3" fmla="val 16667"/>
            </a:avLst>
          </a:prstGeom>
          <a:solidFill>
            <a:schemeClr val="bg1">
              <a:lumMod val="95000"/>
            </a:schemeClr>
          </a:solidFill>
          <a:ln w="38100">
            <a:solidFill>
              <a:schemeClr val="tx1"/>
            </a:solidFill>
            <a:extLst>
              <a:ext uri="{C807C97D-BFC1-408E-A445-0C87EB9F89A2}">
                <ask:lineSketchStyleProps xmlns:ask="http://schemas.microsoft.com/office/drawing/2018/sketchyshapes" xmlns="" sd="2926512229">
                  <a:custGeom>
                    <a:avLst/>
                    <a:gdLst>
                      <a:gd name="connsiteX0" fmla="*/ 0 w 5750559"/>
                      <a:gd name="connsiteY0" fmla="*/ 528069 h 3168352"/>
                      <a:gd name="connsiteX1" fmla="*/ 528069 w 5750559"/>
                      <a:gd name="connsiteY1" fmla="*/ 0 h 3168352"/>
                      <a:gd name="connsiteX2" fmla="*/ 958427 w 5750559"/>
                      <a:gd name="connsiteY2" fmla="*/ 0 h 3168352"/>
                      <a:gd name="connsiteX3" fmla="*/ 958427 w 5750559"/>
                      <a:gd name="connsiteY3" fmla="*/ 0 h 3168352"/>
                      <a:gd name="connsiteX4" fmla="*/ 2396066 w 5750559"/>
                      <a:gd name="connsiteY4" fmla="*/ 0 h 3168352"/>
                      <a:gd name="connsiteX5" fmla="*/ 5222490 w 5750559"/>
                      <a:gd name="connsiteY5" fmla="*/ 0 h 3168352"/>
                      <a:gd name="connsiteX6" fmla="*/ 5750559 w 5750559"/>
                      <a:gd name="connsiteY6" fmla="*/ 528069 h 3168352"/>
                      <a:gd name="connsiteX7" fmla="*/ 5750559 w 5750559"/>
                      <a:gd name="connsiteY7" fmla="*/ 1848205 h 3168352"/>
                      <a:gd name="connsiteX8" fmla="*/ 5750559 w 5750559"/>
                      <a:gd name="connsiteY8" fmla="*/ 1848205 h 3168352"/>
                      <a:gd name="connsiteX9" fmla="*/ 5750559 w 5750559"/>
                      <a:gd name="connsiteY9" fmla="*/ 2640293 h 3168352"/>
                      <a:gd name="connsiteX10" fmla="*/ 5750559 w 5750559"/>
                      <a:gd name="connsiteY10" fmla="*/ 2640283 h 3168352"/>
                      <a:gd name="connsiteX11" fmla="*/ 5222490 w 5750559"/>
                      <a:gd name="connsiteY11" fmla="*/ 3168352 h 3168352"/>
                      <a:gd name="connsiteX12" fmla="*/ 2396066 w 5750559"/>
                      <a:gd name="connsiteY12" fmla="*/ 3168352 h 3168352"/>
                      <a:gd name="connsiteX13" fmla="*/ 1677266 w 5750559"/>
                      <a:gd name="connsiteY13" fmla="*/ 3564396 h 3168352"/>
                      <a:gd name="connsiteX14" fmla="*/ 958427 w 5750559"/>
                      <a:gd name="connsiteY14" fmla="*/ 3168352 h 3168352"/>
                      <a:gd name="connsiteX15" fmla="*/ 528069 w 5750559"/>
                      <a:gd name="connsiteY15" fmla="*/ 3168352 h 3168352"/>
                      <a:gd name="connsiteX16" fmla="*/ 0 w 5750559"/>
                      <a:gd name="connsiteY16" fmla="*/ 2640283 h 3168352"/>
                      <a:gd name="connsiteX17" fmla="*/ 0 w 5750559"/>
                      <a:gd name="connsiteY17" fmla="*/ 2640293 h 3168352"/>
                      <a:gd name="connsiteX18" fmla="*/ 0 w 5750559"/>
                      <a:gd name="connsiteY18" fmla="*/ 1848205 h 3168352"/>
                      <a:gd name="connsiteX19" fmla="*/ 0 w 5750559"/>
                      <a:gd name="connsiteY19" fmla="*/ 1848205 h 3168352"/>
                      <a:gd name="connsiteX20" fmla="*/ 0 w 5750559"/>
                      <a:gd name="connsiteY20" fmla="*/ 528069 h 316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50559" h="3168352" fill="none" extrusionOk="0">
                        <a:moveTo>
                          <a:pt x="0" y="528069"/>
                        </a:moveTo>
                        <a:cubicBezTo>
                          <a:pt x="30599" y="230730"/>
                          <a:pt x="262407" y="-11432"/>
                          <a:pt x="528069" y="0"/>
                        </a:cubicBezTo>
                        <a:cubicBezTo>
                          <a:pt x="651389" y="-27640"/>
                          <a:pt x="910276" y="-30318"/>
                          <a:pt x="958427" y="0"/>
                        </a:cubicBezTo>
                        <a:lnTo>
                          <a:pt x="958427" y="0"/>
                        </a:lnTo>
                        <a:cubicBezTo>
                          <a:pt x="1403218" y="-81127"/>
                          <a:pt x="2068626" y="-106493"/>
                          <a:pt x="2396066" y="0"/>
                        </a:cubicBezTo>
                        <a:cubicBezTo>
                          <a:pt x="2924412" y="146633"/>
                          <a:pt x="3919390" y="-29093"/>
                          <a:pt x="5222490" y="0"/>
                        </a:cubicBezTo>
                        <a:cubicBezTo>
                          <a:pt x="5468506" y="34190"/>
                          <a:pt x="5704445" y="264495"/>
                          <a:pt x="5750559" y="528069"/>
                        </a:cubicBezTo>
                        <a:cubicBezTo>
                          <a:pt x="5666645" y="776973"/>
                          <a:pt x="5801419" y="1253194"/>
                          <a:pt x="5750559" y="1848205"/>
                        </a:cubicBezTo>
                        <a:lnTo>
                          <a:pt x="5750559" y="1848205"/>
                        </a:lnTo>
                        <a:cubicBezTo>
                          <a:pt x="5684759" y="2138446"/>
                          <a:pt x="5816610" y="2368571"/>
                          <a:pt x="5750559" y="2640293"/>
                        </a:cubicBezTo>
                        <a:cubicBezTo>
                          <a:pt x="5750559" y="2640288"/>
                          <a:pt x="5750559" y="2640287"/>
                          <a:pt x="5750559" y="2640283"/>
                        </a:cubicBezTo>
                        <a:cubicBezTo>
                          <a:pt x="5798980" y="2912143"/>
                          <a:pt x="5510325" y="3186368"/>
                          <a:pt x="5222490" y="3168352"/>
                        </a:cubicBezTo>
                        <a:cubicBezTo>
                          <a:pt x="4175433" y="3114076"/>
                          <a:pt x="3450466" y="3190064"/>
                          <a:pt x="2396066" y="3168352"/>
                        </a:cubicBezTo>
                        <a:cubicBezTo>
                          <a:pt x="2078110" y="3276583"/>
                          <a:pt x="1776425" y="3512858"/>
                          <a:pt x="1677266" y="3564396"/>
                        </a:cubicBezTo>
                        <a:cubicBezTo>
                          <a:pt x="1564371" y="3563235"/>
                          <a:pt x="1220110" y="3395369"/>
                          <a:pt x="958427" y="3168352"/>
                        </a:cubicBezTo>
                        <a:cubicBezTo>
                          <a:pt x="798664" y="3206082"/>
                          <a:pt x="702156" y="3172267"/>
                          <a:pt x="528069" y="3168352"/>
                        </a:cubicBezTo>
                        <a:cubicBezTo>
                          <a:pt x="217749" y="3162045"/>
                          <a:pt x="-41043" y="2944003"/>
                          <a:pt x="0" y="2640283"/>
                        </a:cubicBezTo>
                        <a:cubicBezTo>
                          <a:pt x="0" y="2640288"/>
                          <a:pt x="0" y="2640289"/>
                          <a:pt x="0" y="2640293"/>
                        </a:cubicBezTo>
                        <a:cubicBezTo>
                          <a:pt x="40461" y="2271097"/>
                          <a:pt x="59473" y="2128804"/>
                          <a:pt x="0" y="1848205"/>
                        </a:cubicBezTo>
                        <a:lnTo>
                          <a:pt x="0" y="1848205"/>
                        </a:lnTo>
                        <a:cubicBezTo>
                          <a:pt x="31882" y="1637889"/>
                          <a:pt x="30878" y="951059"/>
                          <a:pt x="0" y="528069"/>
                        </a:cubicBezTo>
                        <a:close/>
                      </a:path>
                      <a:path w="5750559" h="3168352" stroke="0" extrusionOk="0">
                        <a:moveTo>
                          <a:pt x="0" y="528069"/>
                        </a:moveTo>
                        <a:cubicBezTo>
                          <a:pt x="8310" y="250615"/>
                          <a:pt x="220668" y="3623"/>
                          <a:pt x="528069" y="0"/>
                        </a:cubicBezTo>
                        <a:cubicBezTo>
                          <a:pt x="691525" y="1713"/>
                          <a:pt x="793585" y="-8754"/>
                          <a:pt x="958427" y="0"/>
                        </a:cubicBezTo>
                        <a:lnTo>
                          <a:pt x="958427" y="0"/>
                        </a:lnTo>
                        <a:cubicBezTo>
                          <a:pt x="1132379" y="-2201"/>
                          <a:pt x="1724089" y="-68282"/>
                          <a:pt x="2396066" y="0"/>
                        </a:cubicBezTo>
                        <a:cubicBezTo>
                          <a:pt x="3711859" y="100469"/>
                          <a:pt x="4405725" y="-111592"/>
                          <a:pt x="5222490" y="0"/>
                        </a:cubicBezTo>
                        <a:cubicBezTo>
                          <a:pt x="5516540" y="-39770"/>
                          <a:pt x="5769473" y="266771"/>
                          <a:pt x="5750559" y="528069"/>
                        </a:cubicBezTo>
                        <a:cubicBezTo>
                          <a:pt x="5677588" y="1165958"/>
                          <a:pt x="5851953" y="1628490"/>
                          <a:pt x="5750559" y="1848205"/>
                        </a:cubicBezTo>
                        <a:lnTo>
                          <a:pt x="5750559" y="1848205"/>
                        </a:lnTo>
                        <a:cubicBezTo>
                          <a:pt x="5723850" y="2197584"/>
                          <a:pt x="5754699" y="2482265"/>
                          <a:pt x="5750559" y="2640293"/>
                        </a:cubicBezTo>
                        <a:cubicBezTo>
                          <a:pt x="5750559" y="2640290"/>
                          <a:pt x="5750560" y="2640287"/>
                          <a:pt x="5750559" y="2640283"/>
                        </a:cubicBezTo>
                        <a:cubicBezTo>
                          <a:pt x="5757869" y="2954870"/>
                          <a:pt x="5508895" y="3160277"/>
                          <a:pt x="5222490" y="3168352"/>
                        </a:cubicBezTo>
                        <a:cubicBezTo>
                          <a:pt x="4593929" y="3084895"/>
                          <a:pt x="3740068" y="3090383"/>
                          <a:pt x="2396066" y="3168352"/>
                        </a:cubicBezTo>
                        <a:cubicBezTo>
                          <a:pt x="2291348" y="3299295"/>
                          <a:pt x="1931162" y="3472599"/>
                          <a:pt x="1677266" y="3564396"/>
                        </a:cubicBezTo>
                        <a:cubicBezTo>
                          <a:pt x="1468840" y="3397084"/>
                          <a:pt x="1099585" y="3244569"/>
                          <a:pt x="958427" y="3168352"/>
                        </a:cubicBezTo>
                        <a:cubicBezTo>
                          <a:pt x="898278" y="3152549"/>
                          <a:pt x="637948" y="3141170"/>
                          <a:pt x="528069" y="3168352"/>
                        </a:cubicBezTo>
                        <a:cubicBezTo>
                          <a:pt x="226073" y="3162577"/>
                          <a:pt x="-14300" y="2897183"/>
                          <a:pt x="0" y="2640283"/>
                        </a:cubicBezTo>
                        <a:cubicBezTo>
                          <a:pt x="0" y="2640288"/>
                          <a:pt x="-1" y="2640289"/>
                          <a:pt x="0" y="2640293"/>
                        </a:cubicBezTo>
                        <a:cubicBezTo>
                          <a:pt x="-26519" y="2315182"/>
                          <a:pt x="3160" y="1990594"/>
                          <a:pt x="0" y="1848205"/>
                        </a:cubicBezTo>
                        <a:lnTo>
                          <a:pt x="0" y="1848205"/>
                        </a:lnTo>
                        <a:cubicBezTo>
                          <a:pt x="-25016" y="1227157"/>
                          <a:pt x="117558" y="1111479"/>
                          <a:pt x="0" y="528069"/>
                        </a:cubicBezTo>
                        <a:close/>
                      </a:path>
                    </a:pathLst>
                  </a:custGeom>
                  <ask:type>
                    <ask:lineSketchNone/>
                  </ask:type>
                </ask:lineSketchStyleProps>
              </a:ext>
            </a:extLst>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wissReSans" pitchFamily="34" charset="0"/>
            </a:endParaRPr>
          </a:p>
        </p:txBody>
      </p:sp>
      <p:pic>
        <p:nvPicPr>
          <p:cNvPr id="14" name="Graphic 13" descr="Lightbulb">
            <a:extLst>
              <a:ext uri="{FF2B5EF4-FFF2-40B4-BE49-F238E27FC236}">
                <a16:creationId xmlns:a16="http://schemas.microsoft.com/office/drawing/2014/main" xmlns="" id="{D85CCF2A-D9F6-4D07-B07D-0C6D23B3B103}"/>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355479" y="1916503"/>
            <a:ext cx="1054634" cy="1054634"/>
          </a:xfrm>
          <a:prstGeom prst="rect">
            <a:avLst/>
          </a:prstGeom>
        </p:spPr>
      </p:pic>
      <p:sp>
        <p:nvSpPr>
          <p:cNvPr id="16" name="Title 2">
            <a:extLst>
              <a:ext uri="{FF2B5EF4-FFF2-40B4-BE49-F238E27FC236}">
                <a16:creationId xmlns:a16="http://schemas.microsoft.com/office/drawing/2014/main" xmlns="" id="{A740FCDF-3AB3-4FF1-99C2-4E0EB59527FE}"/>
              </a:ext>
            </a:extLst>
          </p:cNvPr>
          <p:cNvSpPr>
            <a:spLocks noGrp="1"/>
          </p:cNvSpPr>
          <p:nvPr>
            <p:ph type="title"/>
          </p:nvPr>
        </p:nvSpPr>
        <p:spPr>
          <a:xfrm>
            <a:off x="695325" y="692152"/>
            <a:ext cx="11017251" cy="692647"/>
          </a:xfrm>
        </p:spPr>
        <p:txBody>
          <a:bodyPr/>
          <a:lstStyle/>
          <a:p>
            <a:r>
              <a:rPr lang="en-GB" sz="2400">
                <a:ea typeface="+mn-ea"/>
                <a:cs typeface="+mn-cs"/>
              </a:rPr>
              <a:t>Q&amp;A</a:t>
            </a:r>
          </a:p>
        </p:txBody>
      </p:sp>
      <p:sp>
        <p:nvSpPr>
          <p:cNvPr id="17" name="Slide Number Placeholder 7">
            <a:extLst>
              <a:ext uri="{FF2B5EF4-FFF2-40B4-BE49-F238E27FC236}">
                <a16:creationId xmlns:a16="http://schemas.microsoft.com/office/drawing/2014/main" xmlns="" id="{4E584E29-AEAF-4614-B036-B62B802BF7B9}"/>
              </a:ext>
            </a:extLst>
          </p:cNvPr>
          <p:cNvSpPr>
            <a:spLocks noGrp="1"/>
          </p:cNvSpPr>
          <p:nvPr>
            <p:ph type="sldNum" sz="quarter" idx="12"/>
          </p:nvPr>
        </p:nvSpPr>
        <p:spPr>
          <a:xfrm>
            <a:off x="11414762" y="6472512"/>
            <a:ext cx="287008" cy="18256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4D2043-7E31-4A53-BD33-72A88E682172}" type="slidenum">
              <a:rPr kumimoji="0" lang="en-GB" sz="1200" b="0" i="0" u="none" strike="noStrike" kern="1200" cap="none" spc="0" normalizeH="0" baseline="0" noProof="0" smtClean="0">
                <a:ln>
                  <a:noFill/>
                </a:ln>
                <a:solidFill>
                  <a:srgbClr val="283E36"/>
                </a:solidFill>
                <a:effectLst/>
                <a:uLnTx/>
                <a:uFillTx/>
                <a:latin typeface="SwissReSans"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srgbClr val="283E36"/>
              </a:solidFill>
              <a:effectLst/>
              <a:uLnTx/>
              <a:uFillTx/>
              <a:latin typeface="SwissReSans" panose="020B0604020202020204" pitchFamily="34" charset="0"/>
              <a:ea typeface="+mn-ea"/>
              <a:cs typeface="+mn-cs"/>
            </a:endParaRPr>
          </a:p>
        </p:txBody>
      </p:sp>
      <p:pic>
        <p:nvPicPr>
          <p:cNvPr id="13" name="Picture 12">
            <a:extLst>
              <a:ext uri="{FF2B5EF4-FFF2-40B4-BE49-F238E27FC236}">
                <a16:creationId xmlns:a16="http://schemas.microsoft.com/office/drawing/2014/main" xmlns="" id="{97376045-F1A5-4F07-8691-B915A648A7E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1300790" y="202926"/>
            <a:ext cx="699075" cy="704228"/>
          </a:xfrm>
          <a:prstGeom prst="rect">
            <a:avLst/>
          </a:prstGeom>
        </p:spPr>
      </p:pic>
    </p:spTree>
    <p:extLst>
      <p:ext uri="{BB962C8B-B14F-4D97-AF65-F5344CB8AC3E}">
        <p14:creationId xmlns:p14="http://schemas.microsoft.com/office/powerpoint/2010/main" val="1935075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5D085F0D-6BC1-41C3-9538-14275D705E95}"/>
              </a:ext>
            </a:extLst>
          </p:cNvPr>
          <p:cNvSpPr/>
          <p:nvPr/>
        </p:nvSpPr>
        <p:spPr bwMode="auto">
          <a:xfrm>
            <a:off x="2747647" y="1371705"/>
            <a:ext cx="8589912" cy="7988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Mr. Amitabha Ray, </a:t>
            </a:r>
            <a:r>
              <a:rPr kumimoji="0" lang="en-US" sz="1800" b="1" i="0" u="none" strike="noStrike" kern="1200" cap="none" spc="0" normalizeH="0" baseline="0" noProof="0" dirty="0">
                <a:ln>
                  <a:noFill/>
                </a:ln>
                <a:solidFill>
                  <a:prstClr val="black"/>
                </a:solidFill>
                <a:effectLst/>
                <a:uLnTx/>
                <a:uFillTx/>
                <a:latin typeface="Calibri"/>
                <a:ea typeface="+mn-ea"/>
                <a:cs typeface="+mn-cs"/>
              </a:rPr>
              <a:t>Head of P&amp;C Client Markets, Swiss Re, India</a:t>
            </a:r>
            <a:endParaRPr kumimoji="0" lang="en-IN"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54253" y="227071"/>
            <a:ext cx="1085347" cy="1093347"/>
          </a:xfrm>
          <a:prstGeom prst="rect">
            <a:avLst/>
          </a:prstGeom>
          <a:blipFill dpi="0" rotWithShape="1">
            <a:blip r:embed="rId4" cstate="print"/>
            <a:srcRect/>
            <a:stretch>
              <a:fillRect/>
            </a:stretch>
          </a:blipFill>
        </p:spPr>
      </p:pic>
      <p:sp>
        <p:nvSpPr>
          <p:cNvPr id="9" name="Rectangle 3"/>
          <p:cNvSpPr txBox="1">
            <a:spLocks noChangeArrowheads="1"/>
          </p:cNvSpPr>
          <p:nvPr/>
        </p:nvSpPr>
        <p:spPr>
          <a:xfrm>
            <a:off x="2933700" y="3200400"/>
            <a:ext cx="7505700" cy="2590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342900" marR="0" lvl="0" indent="-342900" algn="just" defTabSz="914400" rtl="0" eaLnBrk="0" fontAlgn="base" latinLnBrk="0" hangingPunct="0">
              <a:lnSpc>
                <a:spcPct val="100000"/>
              </a:lnSpc>
              <a:spcBef>
                <a:spcPts val="0"/>
              </a:spcBef>
              <a:spcAft>
                <a:spcPts val="800"/>
              </a:spcAft>
              <a:buClr>
                <a:srgbClr val="0070C0"/>
              </a:buClr>
              <a:buSzPct val="85000"/>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ww.actuariesindia.org</a:t>
            </a:r>
          </a:p>
        </p:txBody>
      </p:sp>
      <p:sp>
        <p:nvSpPr>
          <p:cNvPr id="11" name="Rectangle 2">
            <a:extLst>
              <a:ext uri="{FF2B5EF4-FFF2-40B4-BE49-F238E27FC236}">
                <a16:creationId xmlns:a16="http://schemas.microsoft.com/office/drawing/2014/main" xmlns="" id="{76941848-6B8B-4D78-9F95-242573243A22}"/>
              </a:ext>
            </a:extLst>
          </p:cNvPr>
          <p:cNvSpPr txBox="1">
            <a:spLocks noChangeArrowheads="1"/>
          </p:cNvSpPr>
          <p:nvPr/>
        </p:nvSpPr>
        <p:spPr>
          <a:xfrm>
            <a:off x="1868121" y="239920"/>
            <a:ext cx="9469438" cy="95829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3200" b="1" i="0" u="none" strike="noStrike" kern="1200" cap="none" spc="0" normalizeH="0" baseline="0" noProof="0" dirty="0">
                <a:ln>
                  <a:noFill/>
                </a:ln>
                <a:solidFill>
                  <a:srgbClr val="C00000"/>
                </a:solidFill>
                <a:effectLst/>
                <a:uLnTx/>
                <a:uFillTx/>
                <a:latin typeface="Calibri"/>
                <a:ea typeface="+mj-ea"/>
                <a:cs typeface="+mj-cs"/>
              </a:rPr>
              <a:t>Speakers Profile</a:t>
            </a:r>
            <a:endParaRPr kumimoji="0" lang="en-US" altLang="en-US" sz="3200" b="1" i="0" u="none" strike="noStrike" kern="1200" cap="none" spc="0" normalizeH="0" baseline="0" noProof="0" dirty="0">
              <a:ln>
                <a:noFill/>
              </a:ln>
              <a:solidFill>
                <a:srgbClr val="C00000"/>
              </a:solidFill>
              <a:effectLst/>
              <a:uLnTx/>
              <a:uFillTx/>
              <a:latin typeface="Calibri"/>
              <a:ea typeface="+mj-ea"/>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1" i="0" u="none" strike="noStrike" kern="0" cap="none" spc="0" normalizeH="0" baseline="0" noProof="0" dirty="0">
              <a:ln>
                <a:noFill/>
              </a:ln>
              <a:solidFill>
                <a:srgbClr val="C00000"/>
              </a:solidFill>
              <a:effectLst/>
              <a:uLnTx/>
              <a:uFillTx/>
              <a:latin typeface="Calibri"/>
              <a:ea typeface="+mj-ea"/>
              <a:cs typeface="+mj-cs"/>
            </a:endParaRPr>
          </a:p>
        </p:txBody>
      </p:sp>
      <p:sp>
        <p:nvSpPr>
          <p:cNvPr id="12" name="Rectangle 3">
            <a:extLst>
              <a:ext uri="{FF2B5EF4-FFF2-40B4-BE49-F238E27FC236}">
                <a16:creationId xmlns:a16="http://schemas.microsoft.com/office/drawing/2014/main" xmlns="" id="{7200CEE6-C489-4B18-BC65-012A3B1D09A1}"/>
              </a:ext>
            </a:extLst>
          </p:cNvPr>
          <p:cNvSpPr txBox="1">
            <a:spLocks noChangeArrowheads="1"/>
          </p:cNvSpPr>
          <p:nvPr/>
        </p:nvSpPr>
        <p:spPr>
          <a:xfrm>
            <a:off x="3733800" y="1828800"/>
            <a:ext cx="6705600" cy="838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Rectangle 12">
            <a:extLst>
              <a:ext uri="{FF2B5EF4-FFF2-40B4-BE49-F238E27FC236}">
                <a16:creationId xmlns:a16="http://schemas.microsoft.com/office/drawing/2014/main" xmlns="" id="{2B7806D3-7E00-4D15-890E-9BEB9A40EDC7}"/>
              </a:ext>
            </a:extLst>
          </p:cNvPr>
          <p:cNvSpPr/>
          <p:nvPr/>
        </p:nvSpPr>
        <p:spPr>
          <a:xfrm>
            <a:off x="2747649" y="2253520"/>
            <a:ext cx="8589910" cy="4247317"/>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mitabha Ray is the Head of Client Markets for P&amp;C reinsurance business in India. Based in Mumbai, he is responsible for driving Swiss Re's non-life reinsurance business together with a team of Client Managers in I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or to this, he was the Head of Property Treaty Underwriting for Southeast Asia, India, South Korea, Hong Kong and Taiwan, where he managed the property treaty portfolio with a team of underwriting professionals and developed alternative risk transfer solutions with a team of structurers. He was also involved in the design of parametric and index covers in the public private-partnership spa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 22-year veteran of Swiss Re, he has worked mainly in the property reinsurance business in his career. During his career, he has held various roles in Zurich, Singapore, Hong Kong, Mumbai and Johannesburg in areas including facultative, alternative risk transfer and business development within Swiss 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mitabha holds an MBA from Melbourne Business School in Australia, a Bachelor's degree in Electrical Engineering and a Master's degree from the Indian Institute of Foreign Trade.</a:t>
            </a:r>
            <a:endParaRPr kumimoji="0" lang="en-US" sz="2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14" name="Picture 13">
            <a:extLst>
              <a:ext uri="{FF2B5EF4-FFF2-40B4-BE49-F238E27FC236}">
                <a16:creationId xmlns:a16="http://schemas.microsoft.com/office/drawing/2014/main" xmlns="" id="{71FBA451-83FF-41E0-91FA-F8F37AD2E4BD}"/>
              </a:ext>
            </a:extLst>
          </p:cNvPr>
          <p:cNvPicPr>
            <a:picLocks noChangeAspect="1"/>
          </p:cNvPicPr>
          <p:nvPr/>
        </p:nvPicPr>
        <p:blipFill>
          <a:blip r:embed="rId5"/>
          <a:stretch>
            <a:fillRect/>
          </a:stretch>
        </p:blipFill>
        <p:spPr>
          <a:xfrm>
            <a:off x="609600" y="1503015"/>
            <a:ext cx="1580877" cy="1697385"/>
          </a:xfrm>
          <a:prstGeom prst="rect">
            <a:avLst/>
          </a:prstGeom>
        </p:spPr>
      </p:pic>
    </p:spTree>
    <p:extLst>
      <p:ext uri="{BB962C8B-B14F-4D97-AF65-F5344CB8AC3E}">
        <p14:creationId xmlns:p14="http://schemas.microsoft.com/office/powerpoint/2010/main" val="659890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5D085F0D-6BC1-41C3-9538-14275D705E95}"/>
              </a:ext>
            </a:extLst>
          </p:cNvPr>
          <p:cNvSpPr/>
          <p:nvPr/>
        </p:nvSpPr>
        <p:spPr bwMode="auto">
          <a:xfrm>
            <a:off x="2747647" y="1655883"/>
            <a:ext cx="8589912" cy="7988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Ms. </a:t>
            </a:r>
            <a:r>
              <a:rPr kumimoji="0" lang="en-US" sz="2400" b="1"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Prerana</a:t>
            </a: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Sadarangani, </a:t>
            </a:r>
            <a:r>
              <a:rPr kumimoji="0" lang="en-US" sz="1800" b="1" i="0" u="none" strike="noStrike" kern="1200" cap="none" spc="0" normalizeH="0" baseline="0" noProof="0" dirty="0">
                <a:ln>
                  <a:noFill/>
                </a:ln>
                <a:solidFill>
                  <a:prstClr val="black"/>
                </a:solidFill>
                <a:effectLst/>
                <a:uLnTx/>
                <a:uFillTx/>
                <a:latin typeface="Calibri"/>
                <a:ea typeface="+mn-ea"/>
                <a:cs typeface="+mn-cs"/>
              </a:rPr>
              <a:t>Corporate Actuarial Analyst, Swiss Re, India</a:t>
            </a:r>
            <a:endParaRPr kumimoji="0" lang="en-IN"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54253" y="227071"/>
            <a:ext cx="1085347" cy="1093347"/>
          </a:xfrm>
          <a:prstGeom prst="rect">
            <a:avLst/>
          </a:prstGeom>
          <a:blipFill dpi="0" rotWithShape="1">
            <a:blip r:embed="rId4" cstate="print"/>
            <a:srcRect/>
            <a:stretch>
              <a:fillRect/>
            </a:stretch>
          </a:blipFill>
        </p:spPr>
      </p:pic>
      <p:sp>
        <p:nvSpPr>
          <p:cNvPr id="9" name="Rectangle 3"/>
          <p:cNvSpPr txBox="1">
            <a:spLocks noChangeArrowheads="1"/>
          </p:cNvSpPr>
          <p:nvPr/>
        </p:nvSpPr>
        <p:spPr>
          <a:xfrm>
            <a:off x="2933700" y="3200400"/>
            <a:ext cx="7505700" cy="2590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342900" marR="0" lvl="0" indent="-342900" algn="just" defTabSz="914400" rtl="0" eaLnBrk="0" fontAlgn="base" latinLnBrk="0" hangingPunct="0">
              <a:lnSpc>
                <a:spcPct val="100000"/>
              </a:lnSpc>
              <a:spcBef>
                <a:spcPts val="0"/>
              </a:spcBef>
              <a:spcAft>
                <a:spcPts val="800"/>
              </a:spcAft>
              <a:buClr>
                <a:srgbClr val="0070C0"/>
              </a:buClr>
              <a:buSzPct val="85000"/>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ww.actuariesindia.org</a:t>
            </a:r>
          </a:p>
        </p:txBody>
      </p:sp>
      <p:sp>
        <p:nvSpPr>
          <p:cNvPr id="12" name="Rectangle 3">
            <a:extLst>
              <a:ext uri="{FF2B5EF4-FFF2-40B4-BE49-F238E27FC236}">
                <a16:creationId xmlns:a16="http://schemas.microsoft.com/office/drawing/2014/main" xmlns="" id="{7200CEE6-C489-4B18-BC65-012A3B1D09A1}"/>
              </a:ext>
            </a:extLst>
          </p:cNvPr>
          <p:cNvSpPr txBox="1">
            <a:spLocks noChangeArrowheads="1"/>
          </p:cNvSpPr>
          <p:nvPr/>
        </p:nvSpPr>
        <p:spPr>
          <a:xfrm>
            <a:off x="3733800" y="1828800"/>
            <a:ext cx="6705600" cy="838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Rectangle 12">
            <a:extLst>
              <a:ext uri="{FF2B5EF4-FFF2-40B4-BE49-F238E27FC236}">
                <a16:creationId xmlns:a16="http://schemas.microsoft.com/office/drawing/2014/main" xmlns="" id="{2B7806D3-7E00-4D15-890E-9BEB9A40EDC7}"/>
              </a:ext>
            </a:extLst>
          </p:cNvPr>
          <p:cNvSpPr/>
          <p:nvPr/>
        </p:nvSpPr>
        <p:spPr>
          <a:xfrm>
            <a:off x="2747649" y="2537698"/>
            <a:ext cx="8589910" cy="2339102"/>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erana is responsible for the Reserving and Statutory Reporting for the Property &amp;  Casualty business of Swiss Re’s India branch. She is also responsible for reserve reviews for some of the special lines of business in Asia and has previously worked for the EMEA reg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erana also has </a:t>
            </a:r>
            <a:r>
              <a:rPr kumimoji="0" lang="en-US" sz="1800" b="0" i="0" u="none" strike="noStrike" kern="1200" cap="none" spc="0" normalizeH="0" baseline="0" noProof="0">
                <a:ln>
                  <a:noFill/>
                </a:ln>
                <a:solidFill>
                  <a:prstClr val="black"/>
                </a:solidFill>
                <a:effectLst/>
                <a:uLnTx/>
                <a:uFillTx/>
                <a:latin typeface="Calibri"/>
                <a:ea typeface="+mn-ea"/>
                <a:cs typeface="+mn-cs"/>
              </a:rPr>
              <a:t>experience in </a:t>
            </a:r>
            <a:r>
              <a:rPr kumimoji="0" lang="en-US" sz="1800" b="0" i="0" u="none" strike="noStrike" kern="1200" cap="none" spc="0" normalizeH="0" baseline="0" noProof="0" dirty="0">
                <a:ln>
                  <a:noFill/>
                </a:ln>
                <a:solidFill>
                  <a:prstClr val="black"/>
                </a:solidFill>
                <a:effectLst/>
                <a:uLnTx/>
                <a:uFillTx/>
                <a:latin typeface="Calibri"/>
                <a:ea typeface="+mn-ea"/>
                <a:cs typeface="+mn-cs"/>
              </a:rPr>
              <a:t>reinsurance pricing for Property business for the India market. Prior to Swiss Re, she has worked in a direct insurance company in a Corporate Actuarial ro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2" name="Picture 1">
            <a:extLst>
              <a:ext uri="{FF2B5EF4-FFF2-40B4-BE49-F238E27FC236}">
                <a16:creationId xmlns:a16="http://schemas.microsoft.com/office/drawing/2014/main" xmlns="" id="{9D74486C-0A29-4B88-83CE-7121BB917541}"/>
              </a:ext>
            </a:extLst>
          </p:cNvPr>
          <p:cNvPicPr>
            <a:picLocks noChangeAspect="1"/>
          </p:cNvPicPr>
          <p:nvPr/>
        </p:nvPicPr>
        <p:blipFill>
          <a:blip r:embed="rId5"/>
          <a:stretch>
            <a:fillRect/>
          </a:stretch>
        </p:blipFill>
        <p:spPr>
          <a:xfrm>
            <a:off x="807912" y="1604596"/>
            <a:ext cx="1575182" cy="1575182"/>
          </a:xfrm>
          <a:prstGeom prst="rect">
            <a:avLst/>
          </a:prstGeom>
        </p:spPr>
      </p:pic>
      <p:sp>
        <p:nvSpPr>
          <p:cNvPr id="14" name="Rectangle 2">
            <a:extLst>
              <a:ext uri="{FF2B5EF4-FFF2-40B4-BE49-F238E27FC236}">
                <a16:creationId xmlns:a16="http://schemas.microsoft.com/office/drawing/2014/main" xmlns="" id="{9E044DAF-EDB6-4149-BF57-21C1C71F7B93}"/>
              </a:ext>
            </a:extLst>
          </p:cNvPr>
          <p:cNvSpPr txBox="1">
            <a:spLocks noChangeArrowheads="1"/>
          </p:cNvSpPr>
          <p:nvPr/>
        </p:nvSpPr>
        <p:spPr>
          <a:xfrm>
            <a:off x="1868121" y="239920"/>
            <a:ext cx="9469438" cy="95829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3200" b="1" i="0" u="none" strike="noStrike" kern="1200" cap="none" spc="0" normalizeH="0" baseline="0" noProof="0" dirty="0">
                <a:ln>
                  <a:noFill/>
                </a:ln>
                <a:solidFill>
                  <a:srgbClr val="C00000"/>
                </a:solidFill>
                <a:effectLst/>
                <a:uLnTx/>
                <a:uFillTx/>
                <a:latin typeface="Calibri"/>
                <a:ea typeface="+mj-ea"/>
                <a:cs typeface="+mj-cs"/>
              </a:rPr>
              <a:t>Speakers Profile</a:t>
            </a:r>
            <a:endParaRPr kumimoji="0" lang="en-US" altLang="en-US" sz="3200" b="1" i="0" u="none" strike="noStrike" kern="1200" cap="none" spc="0" normalizeH="0" baseline="0" noProof="0" dirty="0">
              <a:ln>
                <a:noFill/>
              </a:ln>
              <a:solidFill>
                <a:srgbClr val="C00000"/>
              </a:solidFill>
              <a:effectLst/>
              <a:uLnTx/>
              <a:uFillTx/>
              <a:latin typeface="Calibri"/>
              <a:ea typeface="+mj-ea"/>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1" i="0" u="none" strike="noStrike" kern="0" cap="none" spc="0" normalizeH="0" baseline="0" noProof="0" dirty="0">
              <a:ln>
                <a:noFill/>
              </a:ln>
              <a:solidFill>
                <a:srgbClr val="C00000"/>
              </a:solidFill>
              <a:effectLst/>
              <a:uLnTx/>
              <a:uFillTx/>
              <a:latin typeface="Calibri"/>
              <a:ea typeface="+mj-ea"/>
              <a:cs typeface="+mj-cs"/>
            </a:endParaRPr>
          </a:p>
        </p:txBody>
      </p:sp>
    </p:spTree>
    <p:extLst>
      <p:ext uri="{BB962C8B-B14F-4D97-AF65-F5344CB8AC3E}">
        <p14:creationId xmlns:p14="http://schemas.microsoft.com/office/powerpoint/2010/main" val="567995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5D085F0D-6BC1-41C3-9538-14275D705E95}"/>
              </a:ext>
            </a:extLst>
          </p:cNvPr>
          <p:cNvSpPr/>
          <p:nvPr/>
        </p:nvSpPr>
        <p:spPr bwMode="auto">
          <a:xfrm>
            <a:off x="2747647" y="1780482"/>
            <a:ext cx="8589912" cy="798826"/>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Mr. </a:t>
            </a:r>
            <a:r>
              <a:rPr kumimoji="0" lang="en-US" sz="2400" b="1" i="0" u="none" strike="noStrike" kern="1200" cap="none" spc="0" normalizeH="0" baseline="0" noProof="0" dirty="0" err="1">
                <a:ln>
                  <a:noFill/>
                </a:ln>
                <a:solidFill>
                  <a:prstClr val="black"/>
                </a:solidFill>
                <a:effectLst/>
                <a:uLnTx/>
                <a:uFillTx/>
                <a:latin typeface="Trebuchet MS" panose="020B0603020202020204" pitchFamily="34" charset="0"/>
                <a:ea typeface="+mn-ea"/>
                <a:cs typeface="+mn-cs"/>
              </a:rPr>
              <a:t>Mahipal</a:t>
            </a:r>
            <a:r>
              <a:rPr kumimoji="0" lang="en-US" sz="2400" b="1"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rPr>
              <a:t> Choudhary, </a:t>
            </a:r>
            <a:r>
              <a:rPr kumimoji="0" lang="en-US" sz="1800" b="1" i="0" u="none" strike="noStrike" kern="1200" cap="none" spc="0" normalizeH="0" baseline="0" noProof="0" dirty="0">
                <a:ln>
                  <a:noFill/>
                </a:ln>
                <a:solidFill>
                  <a:prstClr val="black"/>
                </a:solidFill>
                <a:effectLst/>
                <a:uLnTx/>
                <a:uFillTx/>
                <a:latin typeface="Calibri"/>
                <a:ea typeface="+mn-ea"/>
                <a:cs typeface="+mn-cs"/>
              </a:rPr>
              <a:t>Manager P&amp;C BM, IFRS Actuarial Implementation,  Swiss Re</a:t>
            </a:r>
            <a:endParaRPr kumimoji="0" lang="en-IN"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54253" y="227071"/>
            <a:ext cx="1085347" cy="1093347"/>
          </a:xfrm>
          <a:prstGeom prst="rect">
            <a:avLst/>
          </a:prstGeom>
          <a:blipFill dpi="0" rotWithShape="1">
            <a:blip r:embed="rId4" cstate="print"/>
            <a:srcRect/>
            <a:stretch>
              <a:fillRect/>
            </a:stretch>
          </a:blipFill>
        </p:spPr>
      </p:pic>
      <p:sp>
        <p:nvSpPr>
          <p:cNvPr id="9" name="Rectangle 3"/>
          <p:cNvSpPr txBox="1">
            <a:spLocks noChangeArrowheads="1"/>
          </p:cNvSpPr>
          <p:nvPr/>
        </p:nvSpPr>
        <p:spPr>
          <a:xfrm>
            <a:off x="2933700" y="3200400"/>
            <a:ext cx="7505700" cy="2590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342900" marR="0" lvl="0" indent="-342900" algn="just" defTabSz="914400" rtl="0" eaLnBrk="0" fontAlgn="base" latinLnBrk="0" hangingPunct="0">
              <a:lnSpc>
                <a:spcPct val="100000"/>
              </a:lnSpc>
              <a:spcBef>
                <a:spcPts val="0"/>
              </a:spcBef>
              <a:spcAft>
                <a:spcPts val="800"/>
              </a:spcAft>
              <a:buClr>
                <a:srgbClr val="0070C0"/>
              </a:buClr>
              <a:buSzPct val="85000"/>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 name="Footer Placeholder 4"/>
          <p:cNvSpPr txBox="1">
            <a:spLocks/>
          </p:cNvSpPr>
          <p:nvPr/>
        </p:nvSpPr>
        <p:spPr>
          <a:xfrm>
            <a:off x="8267700" y="6500837"/>
            <a:ext cx="2895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ww.actuariesindia.org</a:t>
            </a:r>
          </a:p>
        </p:txBody>
      </p:sp>
      <p:sp>
        <p:nvSpPr>
          <p:cNvPr id="12" name="Rectangle 3">
            <a:extLst>
              <a:ext uri="{FF2B5EF4-FFF2-40B4-BE49-F238E27FC236}">
                <a16:creationId xmlns:a16="http://schemas.microsoft.com/office/drawing/2014/main" xmlns="" id="{7200CEE6-C489-4B18-BC65-012A3B1D09A1}"/>
              </a:ext>
            </a:extLst>
          </p:cNvPr>
          <p:cNvSpPr txBox="1">
            <a:spLocks noChangeArrowheads="1"/>
          </p:cNvSpPr>
          <p:nvPr/>
        </p:nvSpPr>
        <p:spPr>
          <a:xfrm>
            <a:off x="3733800" y="1828800"/>
            <a:ext cx="6705600" cy="838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Rectangle 12">
            <a:extLst>
              <a:ext uri="{FF2B5EF4-FFF2-40B4-BE49-F238E27FC236}">
                <a16:creationId xmlns:a16="http://schemas.microsoft.com/office/drawing/2014/main" xmlns="" id="{2B7806D3-7E00-4D15-890E-9BEB9A40EDC7}"/>
              </a:ext>
            </a:extLst>
          </p:cNvPr>
          <p:cNvSpPr/>
          <p:nvPr/>
        </p:nvSpPr>
        <p:spPr>
          <a:xfrm>
            <a:off x="2747649" y="2662297"/>
            <a:ext cx="8589910" cy="2062103"/>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ahipal is a qualified actuary and has been working in the Actuarial field for the past six years out of his professional experience of eleven years. He is a computer engineer by degre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ahipal is currently a part of the IFRS implementation team at Swiss Re prior to which he has was working on the reserving side for the EMEA mark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3" name="Picture 2">
            <a:extLst>
              <a:ext uri="{FF2B5EF4-FFF2-40B4-BE49-F238E27FC236}">
                <a16:creationId xmlns:a16="http://schemas.microsoft.com/office/drawing/2014/main" xmlns="" id="{5E192C16-8DC8-4AB6-9026-8FDEC5EEA388}"/>
              </a:ext>
            </a:extLst>
          </p:cNvPr>
          <p:cNvPicPr>
            <a:picLocks noChangeAspect="1"/>
          </p:cNvPicPr>
          <p:nvPr/>
        </p:nvPicPr>
        <p:blipFill>
          <a:blip r:embed="rId5"/>
          <a:stretch>
            <a:fillRect/>
          </a:stretch>
        </p:blipFill>
        <p:spPr>
          <a:xfrm>
            <a:off x="729401" y="1643915"/>
            <a:ext cx="1480399" cy="1480399"/>
          </a:xfrm>
          <a:prstGeom prst="rect">
            <a:avLst/>
          </a:prstGeom>
        </p:spPr>
      </p:pic>
      <p:sp>
        <p:nvSpPr>
          <p:cNvPr id="14" name="Rectangle 2">
            <a:extLst>
              <a:ext uri="{FF2B5EF4-FFF2-40B4-BE49-F238E27FC236}">
                <a16:creationId xmlns:a16="http://schemas.microsoft.com/office/drawing/2014/main" xmlns="" id="{FF5BBD3F-292E-4412-BA6E-538DF6CDABBF}"/>
              </a:ext>
            </a:extLst>
          </p:cNvPr>
          <p:cNvSpPr txBox="1">
            <a:spLocks noChangeArrowheads="1"/>
          </p:cNvSpPr>
          <p:nvPr/>
        </p:nvSpPr>
        <p:spPr>
          <a:xfrm>
            <a:off x="1868121" y="239920"/>
            <a:ext cx="9469438" cy="958296"/>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3200" b="1" i="0" u="none" strike="noStrike" kern="1200" cap="none" spc="0" normalizeH="0" baseline="0" noProof="0" dirty="0">
                <a:ln>
                  <a:noFill/>
                </a:ln>
                <a:solidFill>
                  <a:srgbClr val="C00000"/>
                </a:solidFill>
                <a:effectLst/>
                <a:uLnTx/>
                <a:uFillTx/>
                <a:latin typeface="Calibri"/>
                <a:ea typeface="+mj-ea"/>
                <a:cs typeface="+mj-cs"/>
              </a:rPr>
              <a:t>Speakers Profile</a:t>
            </a:r>
            <a:endParaRPr kumimoji="0" lang="en-US" altLang="en-US" sz="3200" b="1" i="0" u="none" strike="noStrike" kern="1200" cap="none" spc="0" normalizeH="0" baseline="0" noProof="0" dirty="0">
              <a:ln>
                <a:noFill/>
              </a:ln>
              <a:solidFill>
                <a:srgbClr val="C00000"/>
              </a:solidFill>
              <a:effectLst/>
              <a:uLnTx/>
              <a:uFillTx/>
              <a:latin typeface="Calibri"/>
              <a:ea typeface="+mj-ea"/>
              <a:cs typeface="+mj-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1" i="0" u="none" strike="noStrike" kern="0" cap="none" spc="0" normalizeH="0" baseline="0" noProof="0" dirty="0">
              <a:ln>
                <a:noFill/>
              </a:ln>
              <a:solidFill>
                <a:srgbClr val="C00000"/>
              </a:solidFill>
              <a:effectLst/>
              <a:uLnTx/>
              <a:uFillTx/>
              <a:latin typeface="Calibri"/>
              <a:ea typeface="+mj-ea"/>
              <a:cs typeface="+mj-cs"/>
            </a:endParaRPr>
          </a:p>
        </p:txBody>
      </p:sp>
    </p:spTree>
    <p:extLst>
      <p:ext uri="{BB962C8B-B14F-4D97-AF65-F5344CB8AC3E}">
        <p14:creationId xmlns:p14="http://schemas.microsoft.com/office/powerpoint/2010/main" val="4105758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06000" y="3581400"/>
            <a:ext cx="1512291" cy="1523438"/>
          </a:xfrm>
          <a:prstGeom prst="rect">
            <a:avLst/>
          </a:prstGeom>
        </p:spPr>
      </p:pic>
      <p:sp>
        <p:nvSpPr>
          <p:cNvPr id="4" name="Rectangle 150"/>
          <p:cNvSpPr txBox="1">
            <a:spLocks noChangeArrowheads="1"/>
          </p:cNvSpPr>
          <p:nvPr/>
        </p:nvSpPr>
        <p:spPr>
          <a:xfrm>
            <a:off x="562252" y="3429000"/>
            <a:ext cx="4392613" cy="6477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SwissReSans"/>
                <a:ea typeface="+mj-ea"/>
                <a:cs typeface="+mj-cs"/>
              </a:rPr>
              <a:t>5</a:t>
            </a:r>
            <a:r>
              <a:rPr kumimoji="0" lang="en-GB" sz="1800" b="1" i="0" u="none" strike="noStrike" kern="1200" cap="none" spc="0" normalizeH="0" baseline="30000" noProof="0" dirty="0">
                <a:ln>
                  <a:noFill/>
                </a:ln>
                <a:solidFill>
                  <a:srgbClr val="000000"/>
                </a:solidFill>
                <a:effectLst/>
                <a:uLnTx/>
                <a:uFillTx/>
                <a:latin typeface="SwissReSans"/>
                <a:ea typeface="+mj-ea"/>
                <a:cs typeface="+mj-cs"/>
              </a:rPr>
              <a:t>th</a:t>
            </a:r>
            <a:r>
              <a:rPr kumimoji="0" lang="en-GB" sz="1800" b="1" i="0" u="none" strike="noStrike" kern="1200" cap="none" spc="0" normalizeH="0" baseline="0" noProof="0" dirty="0">
                <a:ln>
                  <a:noFill/>
                </a:ln>
                <a:solidFill>
                  <a:srgbClr val="000000"/>
                </a:solidFill>
                <a:effectLst/>
                <a:uLnTx/>
                <a:uFillTx/>
                <a:latin typeface="SwissReSans"/>
                <a:ea typeface="+mj-ea"/>
                <a:cs typeface="+mj-cs"/>
              </a:rPr>
              <a:t> Webinar on General Insurance</a:t>
            </a:r>
            <a:endParaRPr kumimoji="0" lang="es-ES" altLang="en-US" sz="36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Rectangle 168"/>
          <p:cNvSpPr>
            <a:spLocks noChangeArrowheads="1"/>
          </p:cNvSpPr>
          <p:nvPr/>
        </p:nvSpPr>
        <p:spPr bwMode="auto">
          <a:xfrm>
            <a:off x="562252" y="4177748"/>
            <a:ext cx="6503935"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cs typeface="Arial" panose="020B0604020202020204" pitchFamily="34" charset="0"/>
              </a:defRPr>
            </a:lvl1pPr>
            <a:lvl2pPr algn="ctr">
              <a:defRPr sz="4400">
                <a:solidFill>
                  <a:schemeClr val="tx2"/>
                </a:solidFill>
                <a:latin typeface="Arial" panose="020B0604020202020204" pitchFamily="34" charset="0"/>
                <a:cs typeface="Arial" panose="020B0604020202020204" pitchFamily="34" charset="0"/>
              </a:defRPr>
            </a:lvl2pPr>
            <a:lvl3pPr algn="ctr">
              <a:defRPr sz="4400">
                <a:solidFill>
                  <a:schemeClr val="tx2"/>
                </a:solidFill>
                <a:latin typeface="Arial" panose="020B0604020202020204" pitchFamily="34" charset="0"/>
                <a:cs typeface="Arial" panose="020B0604020202020204" pitchFamily="34" charset="0"/>
              </a:defRPr>
            </a:lvl3pPr>
            <a:lvl4pPr algn="ctr">
              <a:defRPr sz="4400">
                <a:solidFill>
                  <a:schemeClr val="tx2"/>
                </a:solidFill>
                <a:latin typeface="Arial" panose="020B0604020202020204" pitchFamily="34" charset="0"/>
                <a:cs typeface="Arial" panose="020B0604020202020204" pitchFamily="34" charset="0"/>
              </a:defRPr>
            </a:lvl4pPr>
            <a:lvl5pPr algn="ctr">
              <a:defRPr sz="4400">
                <a:solidFill>
                  <a:schemeClr val="tx2"/>
                </a:solidFill>
                <a:latin typeface="Arial" panose="020B0604020202020204" pitchFamily="34" charset="0"/>
                <a:cs typeface="Arial" panose="020B0604020202020204" pitchFamily="34" charset="0"/>
              </a:defRPr>
            </a:lvl5pPr>
            <a:lvl6pPr marL="4572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6pPr>
            <a:lvl7pPr marL="9144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7pPr>
            <a:lvl8pPr marL="13716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8pPr>
            <a:lvl9pPr marL="1828800" algn="ctr" fontAlgn="base">
              <a:spcBef>
                <a:spcPct val="0"/>
              </a:spcBef>
              <a:spcAft>
                <a:spcPct val="0"/>
              </a:spcAft>
              <a:defRPr sz="4400">
                <a:solidFill>
                  <a:schemeClr val="tx2"/>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itabha Ray, Head P&amp;C Client Markets, Swiss Re, Indi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erana Sadarangani, Corporate Actuarial Analyst, Swiss Re, Ind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hipal Choudhary, Manager, IFRS17 Implementation, Swiss Re</a:t>
            </a:r>
            <a:b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r>
            <a:br>
              <a:rPr kumimoji="0" lang="en-U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s-ES" alt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Rectangle 150"/>
          <p:cNvSpPr txBox="1">
            <a:spLocks noChangeArrowheads="1"/>
          </p:cNvSpPr>
          <p:nvPr/>
        </p:nvSpPr>
        <p:spPr>
          <a:xfrm>
            <a:off x="661219" y="587352"/>
            <a:ext cx="10869561" cy="1905000"/>
          </a:xfrm>
          <a:prstGeom prst="rect">
            <a:avLst/>
          </a:prstGeom>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eaLnBrk="0" fontAlgn="base" hangingPunct="0">
              <a:spcBef>
                <a:spcPct val="0"/>
              </a:spcBef>
              <a:spcAft>
                <a:spcPct val="0"/>
              </a:spcAft>
              <a:defRPr sz="4400">
                <a:solidFill>
                  <a:schemeClr val="tx2"/>
                </a:solidFill>
                <a:latin typeface="Arial" pitchFamily="34" charset="0"/>
              </a:defRPr>
            </a:lvl6pPr>
            <a:lvl7pPr marL="914400" algn="ctr" rtl="0" eaLnBrk="0" fontAlgn="base" hangingPunct="0">
              <a:spcBef>
                <a:spcPct val="0"/>
              </a:spcBef>
              <a:spcAft>
                <a:spcPct val="0"/>
              </a:spcAft>
              <a:defRPr sz="4400">
                <a:solidFill>
                  <a:schemeClr val="tx2"/>
                </a:solidFill>
                <a:latin typeface="Arial" pitchFamily="34" charset="0"/>
              </a:defRPr>
            </a:lvl7pPr>
            <a:lvl8pPr marL="1371600" algn="ctr" rtl="0" eaLnBrk="0" fontAlgn="base" hangingPunct="0">
              <a:spcBef>
                <a:spcPct val="0"/>
              </a:spcBef>
              <a:spcAft>
                <a:spcPct val="0"/>
              </a:spcAft>
              <a:defRPr sz="4400">
                <a:solidFill>
                  <a:schemeClr val="tx2"/>
                </a:solidFill>
                <a:latin typeface="Arial" pitchFamily="34" charset="0"/>
              </a:defRPr>
            </a:lvl8pPr>
            <a:lvl9pPr marL="1828800" algn="ctr" rtl="0" eaLnBrk="0" fontAlgn="base" hangingPunct="0">
              <a:spcBef>
                <a:spcPct val="0"/>
              </a:spcBef>
              <a:spcAft>
                <a:spcPct val="0"/>
              </a:spcAft>
              <a:defRPr sz="4400">
                <a:solidFill>
                  <a:schemeClr val="tx2"/>
                </a:solidFill>
                <a:latin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SwissReSans Light" pitchFamily="34" charset="0"/>
                <a:ea typeface="+mj-ea"/>
                <a:cs typeface="+mj-cs"/>
              </a:rPr>
              <a:t>Impact of IFRS 17 on Reinsurance Business and Accounting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s-UY" altLang="en-US" sz="3600" b="1" i="0" u="none" strike="noStrike" kern="0" cap="none" spc="0" normalizeH="0" baseline="0" noProof="0" dirty="0">
                <a:ln>
                  <a:noFill/>
                </a:ln>
                <a:solidFill>
                  <a:srgbClr val="FFFFFF"/>
                </a:solidFill>
                <a:effectLst/>
                <a:uLnTx/>
                <a:uFillTx/>
                <a:latin typeface="Arial"/>
                <a:ea typeface="+mj-ea"/>
                <a:cs typeface="+mj-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SwissReSans"/>
                <a:ea typeface="+mj-ea"/>
                <a:cs typeface="+mj-cs"/>
              </a:rPr>
              <a:t>26 August 2021</a:t>
            </a:r>
            <a:endParaRPr kumimoji="0" lang="es-ES" altLang="en-US" sz="3600" b="1" i="0" u="none" strike="noStrike" kern="0" cap="none" spc="0" normalizeH="0" baseline="0" noProof="0" dirty="0">
              <a:ln>
                <a:noFill/>
              </a:ln>
              <a:solidFill>
                <a:srgbClr val="FFFFFF"/>
              </a:solidFill>
              <a:effectLst/>
              <a:uLnTx/>
              <a:uFillTx/>
              <a:latin typeface="Arial"/>
              <a:ea typeface="+mj-ea"/>
              <a:cs typeface="+mj-cs"/>
            </a:endParaRPr>
          </a:p>
        </p:txBody>
      </p:sp>
    </p:spTree>
    <p:extLst>
      <p:ext uri="{BB962C8B-B14F-4D97-AF65-F5344CB8AC3E}">
        <p14:creationId xmlns:p14="http://schemas.microsoft.com/office/powerpoint/2010/main" val="2829532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TYPE" val="Background"/>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IdJ6AH1.8H7tV3YxdXv0w"/>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RBSU0V0Ens_7BxbcOfGWw"/>
</p:tagLst>
</file>

<file path=ppt/tags/tag100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tE1Xl3cTQH6gE56GL1v_uw"/>
</p:tagLst>
</file>

<file path=ppt/tags/tag100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005.xml><?xml version="1.0" encoding="utf-8"?>
<p:tagLst xmlns:a="http://schemas.openxmlformats.org/drawingml/2006/main" xmlns:r="http://schemas.openxmlformats.org/officeDocument/2006/relationships" xmlns:p="http://schemas.openxmlformats.org/presentationml/2006/main">
  <p:tag name="VMAPS" val="MAP"/>
  <p:tag name="VMAPS_LEFT" val="265.1545"/>
  <p:tag name="VMAPS_TOP" val="351.4031"/>
  <p:tag name="VMAPS_WIDTH" val="30.94685"/>
  <p:tag name="VMAPS_HEIGHT" val="100.8636"/>
</p:tagLst>
</file>

<file path=ppt/tags/tag1006.xml><?xml version="1.0" encoding="utf-8"?>
<p:tagLst xmlns:a="http://schemas.openxmlformats.org/drawingml/2006/main" xmlns:r="http://schemas.openxmlformats.org/officeDocument/2006/relationships" xmlns:p="http://schemas.openxmlformats.org/presentationml/2006/main">
  <p:tag name="VMAPS" val="MAP"/>
  <p:tag name="VMAPS_LEFT" val="569.924"/>
  <p:tag name="VMAPS_TOP" val="358.1935"/>
  <p:tag name="VMAPS_WIDTH" val="0.6481102"/>
  <p:tag name="VMAPS_HEIGHT" val="1.159291"/>
</p:tagLst>
</file>

<file path=ppt/tags/tag1007.xml><?xml version="1.0" encoding="utf-8"?>
<p:tagLst xmlns:a="http://schemas.openxmlformats.org/drawingml/2006/main" xmlns:r="http://schemas.openxmlformats.org/officeDocument/2006/relationships" xmlns:p="http://schemas.openxmlformats.org/presentationml/2006/main">
  <p:tag name="VMAPS" val="MAP"/>
  <p:tag name="VMAPS_LEFT" val="158.0557"/>
  <p:tag name="VMAPS_TOP" val="164.085"/>
  <p:tag name="VMAPS_WIDTH" val="133.1848"/>
  <p:tag name="VMAPS_HEIGHT" val="67.5737"/>
</p:tagLst>
</file>

<file path=ppt/tags/tag1008.xml><?xml version="1.0" encoding="utf-8"?>
<p:tagLst xmlns:a="http://schemas.openxmlformats.org/drawingml/2006/main" xmlns:r="http://schemas.openxmlformats.org/officeDocument/2006/relationships" xmlns:p="http://schemas.openxmlformats.org/presentationml/2006/main">
  <p:tag name="VMAPS" val="MAP"/>
  <p:tag name="VMAPS_LEFT" val="212.3342"/>
  <p:tag name="VMAPS_TOP" val="252.0302"/>
  <p:tag name="VMAPS_WIDTH" val="9.559607"/>
  <p:tag name="VMAPS_HEIGHT" val="11.59354"/>
</p:tagLst>
</file>

<file path=ppt/tags/tag1009.xml><?xml version="1.0" encoding="utf-8"?>
<p:tagLst xmlns:a="http://schemas.openxmlformats.org/drawingml/2006/main" xmlns:r="http://schemas.openxmlformats.org/officeDocument/2006/relationships" xmlns:p="http://schemas.openxmlformats.org/presentationml/2006/main">
  <p:tag name="VMAPS" val="MAP"/>
  <p:tag name="VMAPS_LEFT" val="218.8152"/>
  <p:tag name="VMAPS_TOP" val="257.4956"/>
  <p:tag name="VMAPS_WIDTH" val="14.90638"/>
  <p:tag name="VMAPS_HEIGHT" val="8.115512"/>
</p:tagLst>
</file>

<file path=ppt/tags/tag1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10.xml><?xml version="1.0" encoding="utf-8"?>
<p:tagLst xmlns:a="http://schemas.openxmlformats.org/drawingml/2006/main" xmlns:r="http://schemas.openxmlformats.org/officeDocument/2006/relationships" xmlns:p="http://schemas.openxmlformats.org/presentationml/2006/main">
  <p:tag name="VMAPS" val="MAP"/>
  <p:tag name="VMAPS_LEFT" val="164.5366"/>
  <p:tag name="VMAPS_TOP" val="210.4591"/>
  <p:tag name="VMAPS_WIDTH" val="62.86583"/>
  <p:tag name="VMAPS_HEIGHT" val="50.51464"/>
</p:tagLst>
</file>

<file path=ppt/tags/tag1011.xml><?xml version="1.0" encoding="utf-8"?>
<p:tagLst xmlns:a="http://schemas.openxmlformats.org/drawingml/2006/main" xmlns:r="http://schemas.openxmlformats.org/officeDocument/2006/relationships" xmlns:p="http://schemas.openxmlformats.org/presentationml/2006/main">
  <p:tag name="VMAPS" val="MAP"/>
  <p:tag name="VMAPS_LEFT" val="222.5417"/>
  <p:tag name="VMAPS_TOP" val="260.3112"/>
  <p:tag name="VMAPS_WIDTH" val="11.17976"/>
  <p:tag name="VMAPS_HEIGHT" val="11.26228"/>
</p:tagLst>
</file>

<file path=ppt/tags/tag1012.xml><?xml version="1.0" encoding="utf-8"?>
<p:tagLst xmlns:a="http://schemas.openxmlformats.org/drawingml/2006/main" xmlns:r="http://schemas.openxmlformats.org/officeDocument/2006/relationships" xmlns:p="http://schemas.openxmlformats.org/presentationml/2006/main">
  <p:tag name="VMAPS" val="MAP"/>
  <p:tag name="VMAPS_LEFT" val="227.0784"/>
  <p:tag name="VMAPS_TOP" val="271.2421"/>
  <p:tag name="VMAPS_WIDTH" val="6.967165"/>
  <p:tag name="VMAPS_HEIGHT" val="7.121732"/>
</p:tagLst>
</file>

<file path=ppt/tags/tag1013.xml><?xml version="1.0" encoding="utf-8"?>
<p:tagLst xmlns:a="http://schemas.openxmlformats.org/drawingml/2006/main" xmlns:r="http://schemas.openxmlformats.org/officeDocument/2006/relationships" xmlns:p="http://schemas.openxmlformats.org/presentationml/2006/main">
  <p:tag name="VMAPS" val="MAP"/>
  <p:tag name="VMAPS_LEFT" val="217.0328"/>
  <p:tag name="VMAPS_TOP" val="261.4706"/>
  <p:tag name="VMAPS_WIDTH" val="5.508898"/>
  <p:tag name="VMAPS_HEIGHT" val="3.478031"/>
</p:tagLst>
</file>

<file path=ppt/tags/tag1014.xml><?xml version="1.0" encoding="utf-8"?>
<p:tagLst xmlns:a="http://schemas.openxmlformats.org/drawingml/2006/main" xmlns:r="http://schemas.openxmlformats.org/officeDocument/2006/relationships" xmlns:p="http://schemas.openxmlformats.org/presentationml/2006/main">
  <p:tag name="VMAPS" val="MAP"/>
  <p:tag name="VMAPS_LEFT" val="246.3595"/>
  <p:tag name="VMAPS_TOP" val="250.5394"/>
  <p:tag name="VMAPS_WIDTH" val="5.184803"/>
  <p:tag name="VMAPS_HEIGHT" val="1.98748"/>
</p:tagLst>
</file>

<file path=ppt/tags/tag1015.xml><?xml version="1.0" encoding="utf-8"?>
<p:tagLst xmlns:a="http://schemas.openxmlformats.org/drawingml/2006/main" xmlns:r="http://schemas.openxmlformats.org/officeDocument/2006/relationships" xmlns:p="http://schemas.openxmlformats.org/presentationml/2006/main">
  <p:tag name="VMAPS" val="MAP"/>
  <p:tag name="VMAPS_LEFT" val="226.4303"/>
  <p:tag name="VMAPS_TOP" val="268.4267"/>
  <p:tag name="VMAPS_WIDTH" val="2.430394"/>
  <p:tag name="VMAPS_HEIGHT" val="2.318661"/>
</p:tagLst>
</file>

<file path=ppt/tags/tag1016.xml><?xml version="1.0" encoding="utf-8"?>
<p:tagLst xmlns:a="http://schemas.openxmlformats.org/drawingml/2006/main" xmlns:r="http://schemas.openxmlformats.org/officeDocument/2006/relationships" xmlns:p="http://schemas.openxmlformats.org/presentationml/2006/main">
  <p:tag name="VMAPS" val="MAP"/>
  <p:tag name="VMAPS_LEFT" val="232.9113"/>
  <p:tag name="VMAPS_TOP" val="274.8858"/>
  <p:tag name="VMAPS_WIDTH" val="13.93417"/>
  <p:tag name="VMAPS_HEIGHT" val="7.121732"/>
</p:tagLst>
</file>

<file path=ppt/tags/tag1017.xml><?xml version="1.0" encoding="utf-8"?>
<p:tagLst xmlns:a="http://schemas.openxmlformats.org/drawingml/2006/main" xmlns:r="http://schemas.openxmlformats.org/officeDocument/2006/relationships" xmlns:p="http://schemas.openxmlformats.org/presentationml/2006/main">
  <p:tag name="VMAPS" val="MAP"/>
  <p:tag name="VMAPS_LEFT" val="237.448"/>
  <p:tag name="VMAPS_TOP" val="298.2385"/>
  <p:tag name="VMAPS_WIDTH" val="13.44811"/>
  <p:tag name="VMAPS_HEIGHT" val="17.55591"/>
</p:tagLst>
</file>

<file path=ppt/tags/tag1018.xml><?xml version="1.0" encoding="utf-8"?>
<p:tagLst xmlns:a="http://schemas.openxmlformats.org/drawingml/2006/main" xmlns:r="http://schemas.openxmlformats.org/officeDocument/2006/relationships" xmlns:p="http://schemas.openxmlformats.org/presentationml/2006/main">
  <p:tag name="VMAPS" val="MAP"/>
  <p:tag name="VMAPS_LEFT" val="242.4709"/>
  <p:tag name="VMAPS_TOP" val="267.2673"/>
  <p:tag name="VMAPS_WIDTH" val="29.0026"/>
  <p:tag name="VMAPS_HEIGHT" val="46.53968"/>
</p:tagLst>
</file>

<file path=ppt/tags/tag1019.xml><?xml version="1.0" encoding="utf-8"?>
<p:tagLst xmlns:a="http://schemas.openxmlformats.org/drawingml/2006/main" xmlns:r="http://schemas.openxmlformats.org/officeDocument/2006/relationships" xmlns:p="http://schemas.openxmlformats.org/presentationml/2006/main">
  <p:tag name="VMAPS" val="MAP"/>
  <p:tag name="VMAPS_LEFT" val="219.7873"/>
  <p:tag name="VMAPS_TOP" val="250.5394"/>
  <p:tag name="VMAPS_WIDTH" val="3.564567"/>
  <p:tag name="VMAPS_HEIGHT" val="6.956063"/>
</p:tagLst>
</file>

<file path=ppt/tags/tag102.xml><?xml version="1.0" encoding="utf-8"?>
<p:tagLst xmlns:a="http://schemas.openxmlformats.org/drawingml/2006/main" xmlns:r="http://schemas.openxmlformats.org/officeDocument/2006/relationships" xmlns:p="http://schemas.openxmlformats.org/presentationml/2006/main">
  <p:tag name="SHAPETYPE" val="footer"/>
</p:tagLst>
</file>

<file path=ppt/tags/tag1020.xml><?xml version="1.0" encoding="utf-8"?>
<p:tagLst xmlns:a="http://schemas.openxmlformats.org/drawingml/2006/main" xmlns:r="http://schemas.openxmlformats.org/officeDocument/2006/relationships" xmlns:p="http://schemas.openxmlformats.org/presentationml/2006/main">
  <p:tag name="VMAPS" val="MAP"/>
  <p:tag name="VMAPS_LEFT" val="301.7722"/>
  <p:tag name="VMAPS_TOP" val="286.6451"/>
  <p:tag name="VMAPS_WIDTH" val="6.643071"/>
  <p:tag name="VMAPS_HEIGHT" val="10.26858"/>
</p:tagLst>
</file>

<file path=ppt/tags/tag1021.xml><?xml version="1.0" encoding="utf-8"?>
<p:tagLst xmlns:a="http://schemas.openxmlformats.org/drawingml/2006/main" xmlns:r="http://schemas.openxmlformats.org/officeDocument/2006/relationships" xmlns:p="http://schemas.openxmlformats.org/presentationml/2006/main">
  <p:tag name="VMAPS" val="MAP"/>
  <p:tag name="VMAPS_LEFT" val="285.2456"/>
  <p:tag name="VMAPS_TOP" val="278.6951"/>
  <p:tag name="VMAPS_WIDTH" val="11.34173"/>
  <p:tag name="VMAPS_HEIGHT" val="19.87457"/>
</p:tagLst>
</file>

<file path=ppt/tags/tag1022.xml><?xml version="1.0" encoding="utf-8"?>
<p:tagLst xmlns:a="http://schemas.openxmlformats.org/drawingml/2006/main" xmlns:r="http://schemas.openxmlformats.org/officeDocument/2006/relationships" xmlns:p="http://schemas.openxmlformats.org/presentationml/2006/main">
  <p:tag name="VMAPS" val="MAP"/>
  <p:tag name="VMAPS_LEFT" val="236.8"/>
  <p:tag name="VMAPS_TOP" val="302.2134"/>
  <p:tag name="VMAPS_WIDTH" val="31.43291"/>
  <p:tag name="VMAPS_HEIGHT" val="50.84583"/>
</p:tagLst>
</file>

<file path=ppt/tags/tag1023.xml><?xml version="1.0" encoding="utf-8"?>
<p:tagLst xmlns:a="http://schemas.openxmlformats.org/drawingml/2006/main" xmlns:r="http://schemas.openxmlformats.org/officeDocument/2006/relationships" xmlns:p="http://schemas.openxmlformats.org/presentationml/2006/main">
  <p:tag name="VMAPS" val="MAP"/>
  <p:tag name="VMAPS_LEFT" val="292.5366"/>
  <p:tag name="VMAPS_TOP" val="285.4857"/>
  <p:tag name="VMAPS_WIDTH" val="10.20764"/>
  <p:tag name="VMAPS_HEIGHT" val="11.75913"/>
</p:tagLst>
</file>

<file path=ppt/tags/tag1024.xml><?xml version="1.0" encoding="utf-8"?>
<p:tagLst xmlns:a="http://schemas.openxmlformats.org/drawingml/2006/main" xmlns:r="http://schemas.openxmlformats.org/officeDocument/2006/relationships" xmlns:p="http://schemas.openxmlformats.org/presentationml/2006/main">
  <p:tag name="VMAPS" val="MAP"/>
  <p:tag name="VMAPS_LEFT" val="309.7113"/>
  <p:tag name="VMAPS_TOP" val="302.2135"/>
  <p:tag name="VMAPS_WIDTH" val="1.134252"/>
  <p:tag name="VMAPS_HEIGHT" val="1.82189"/>
</p:tagLst>
</file>

<file path=ppt/tags/tag1025.xml><?xml version="1.0" encoding="utf-8"?>
<p:tagLst xmlns:a="http://schemas.openxmlformats.org/drawingml/2006/main" xmlns:r="http://schemas.openxmlformats.org/officeDocument/2006/relationships" xmlns:p="http://schemas.openxmlformats.org/presentationml/2006/main">
  <p:tag name="VMAPS" val="MAP"/>
  <p:tag name="VMAPS_LEFT" val="310.8456"/>
  <p:tag name="VMAPS_TOP" val="303.0417"/>
  <p:tag name="VMAPS_WIDTH" val="5.346929"/>
  <p:tag name="VMAPS_HEIGHT" val="3.809291"/>
</p:tagLst>
</file>

<file path=ppt/tags/tag1026.xml><?xml version="1.0" encoding="utf-8"?>
<p:tagLst xmlns:a="http://schemas.openxmlformats.org/drawingml/2006/main" xmlns:r="http://schemas.openxmlformats.org/officeDocument/2006/relationships" xmlns:p="http://schemas.openxmlformats.org/presentationml/2006/main">
  <p:tag name="VMAPS" val="MAP"/>
  <p:tag name="VMAPS_LEFT" val="311.6557"/>
  <p:tag name="VMAPS_TOP" val="301.0541"/>
  <p:tag name="VMAPS_WIDTH" val="0.972126"/>
  <p:tag name="VMAPS_HEIGHT" val="1.159291"/>
</p:tagLst>
</file>

<file path=ppt/tags/tag1027.xml><?xml version="1.0" encoding="utf-8"?>
<p:tagLst xmlns:a="http://schemas.openxmlformats.org/drawingml/2006/main" xmlns:r="http://schemas.openxmlformats.org/officeDocument/2006/relationships" xmlns:p="http://schemas.openxmlformats.org/presentationml/2006/main">
  <p:tag name="VMAPS" val="MAP"/>
  <p:tag name="VMAPS_LEFT" val="254.9468"/>
  <p:tag name="VMAPS_TOP" val="287.4731"/>
  <p:tag name="VMAPS_WIDTH" val="94.29874"/>
  <p:tag name="VMAPS_HEIGHT" val="109.1447"/>
</p:tagLst>
</file>

<file path=ppt/tags/tag1028.xml><?xml version="1.0" encoding="utf-8"?>
<p:tagLst xmlns:a="http://schemas.openxmlformats.org/drawingml/2006/main" xmlns:r="http://schemas.openxmlformats.org/officeDocument/2006/relationships" xmlns:p="http://schemas.openxmlformats.org/presentationml/2006/main">
  <p:tag name="VMAPS" val="MAP"/>
  <p:tag name="VMAPS_LEFT" val="271.4734"/>
  <p:tag name="VMAPS_TOP" val="363.3279"/>
  <p:tag name="VMAPS_WIDTH" val="36.45575"/>
  <p:tag name="VMAPS_HEIGHT" val="84.63268"/>
</p:tagLst>
</file>

<file path=ppt/tags/tag1029.xml><?xml version="1.0" encoding="utf-8"?>
<p:tagLst xmlns:a="http://schemas.openxmlformats.org/drawingml/2006/main" xmlns:r="http://schemas.openxmlformats.org/officeDocument/2006/relationships" xmlns:p="http://schemas.openxmlformats.org/presentationml/2006/main">
  <p:tag name="VMAPS" val="MAP"/>
  <p:tag name="VMAPS_LEFT" val="285.2456"/>
  <p:tag name="VMAPS_TOP" val="356.2061"/>
  <p:tag name="VMAPS_WIDTH" val="20.4152"/>
  <p:tag name="VMAPS_HEIGHT" val="23.02134"/>
</p:tagLst>
</file>

<file path=ppt/tags/tag1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30.xml><?xml version="1.0" encoding="utf-8"?>
<p:tagLst xmlns:a="http://schemas.openxmlformats.org/drawingml/2006/main" xmlns:r="http://schemas.openxmlformats.org/officeDocument/2006/relationships" xmlns:p="http://schemas.openxmlformats.org/presentationml/2006/main">
  <p:tag name="VMAPS" val="MAP"/>
  <p:tag name="VMAPS_LEFT" val="300.1519"/>
  <p:tag name="VMAPS_TOP" val="386.8461"/>
  <p:tag name="VMAPS_WIDTH" val="12.15189"/>
  <p:tag name="VMAPS_HEIGHT" val="13.24976"/>
</p:tagLst>
</file>

<file path=ppt/tags/tag1031.xml><?xml version="1.0" encoding="utf-8"?>
<p:tagLst xmlns:a="http://schemas.openxmlformats.org/drawingml/2006/main" xmlns:r="http://schemas.openxmlformats.org/officeDocument/2006/relationships" xmlns:p="http://schemas.openxmlformats.org/presentationml/2006/main">
  <p:tag name="VMAPS" val="MAP"/>
  <p:tag name="VMAPS_LEFT" val="265.4785"/>
  <p:tag name="VMAPS_TOP" val="329.541"/>
  <p:tag name="VMAPS_WIDTH" val="30.62284"/>
  <p:tag name="VMAPS_HEIGHT" val="36.76803"/>
</p:tagLst>
</file>

<file path=ppt/tags/tag1032.xml><?xml version="1.0" encoding="utf-8"?>
<p:tagLst xmlns:a="http://schemas.openxmlformats.org/drawingml/2006/main" xmlns:r="http://schemas.openxmlformats.org/officeDocument/2006/relationships" xmlns:p="http://schemas.openxmlformats.org/presentationml/2006/main">
  <p:tag name="VMAPS" val="MAP"/>
  <p:tag name="VMAPS_LEFT" val="329.4784"/>
  <p:tag name="VMAPS_TOP" val="83.26157"/>
  <p:tag name="VMAPS_WIDTH" val="96.24299"/>
  <p:tag name="VMAPS_HEIGHT" val="52.50212"/>
</p:tagLst>
</file>

<file path=ppt/tags/tag1033.xml><?xml version="1.0" encoding="utf-8"?>
<p:tagLst xmlns:a="http://schemas.openxmlformats.org/drawingml/2006/main" xmlns:r="http://schemas.openxmlformats.org/officeDocument/2006/relationships" xmlns:p="http://schemas.openxmlformats.org/presentationml/2006/main">
  <p:tag name="VMAPS" val="MAP"/>
  <p:tag name="VMAPS_LEFT" val="416.162"/>
  <p:tag name="VMAPS_TOP" val="148.5165"/>
  <p:tag name="VMAPS_WIDTH" val="8.587401"/>
  <p:tag name="VMAPS_HEIGHT" val="9.771653"/>
</p:tagLst>
</file>

<file path=ppt/tags/tag1034.xml><?xml version="1.0" encoding="utf-8"?>
<p:tagLst xmlns:a="http://schemas.openxmlformats.org/drawingml/2006/main" xmlns:r="http://schemas.openxmlformats.org/officeDocument/2006/relationships" xmlns:p="http://schemas.openxmlformats.org/presentationml/2006/main">
  <p:tag name="VMAPS" val="MAP"/>
  <p:tag name="VMAPS_LEFT" val="421.3469"/>
  <p:tag name="VMAPS_TOP" val="148.1853"/>
  <p:tag name="VMAPS_WIDTH" val="5.346929"/>
  <p:tag name="VMAPS_HEIGHT" val="3.478031"/>
</p:tagLst>
</file>

<file path=ppt/tags/tag1035.xml><?xml version="1.0" encoding="utf-8"?>
<p:tagLst xmlns:a="http://schemas.openxmlformats.org/drawingml/2006/main" xmlns:r="http://schemas.openxmlformats.org/officeDocument/2006/relationships" xmlns:p="http://schemas.openxmlformats.org/presentationml/2006/main">
  <p:tag name="VMAPS" val="MAP"/>
  <p:tag name="VMAPS_LEFT" val="425.0734"/>
  <p:tag name="VMAPS_TOP" val="139.573"/>
  <p:tag name="VMAPS_WIDTH" val="15.71654"/>
  <p:tag name="VMAPS_HEIGHT" val="22.85583"/>
</p:tagLst>
</file>

<file path=ppt/tags/tag1036.xml><?xml version="1.0" encoding="utf-8"?>
<p:tagLst xmlns:a="http://schemas.openxmlformats.org/drawingml/2006/main" xmlns:r="http://schemas.openxmlformats.org/officeDocument/2006/relationships" xmlns:p="http://schemas.openxmlformats.org/presentationml/2006/main">
  <p:tag name="VMAPS" val="MAP"/>
  <p:tag name="VMAPS_LEFT" val="476.9214"/>
  <p:tag name="VMAPS_TOP" val="111.0861"/>
  <p:tag name="VMAPS_WIDTH" val="21.22536"/>
  <p:tag name="VMAPS_HEIGHT" val="25.0089"/>
</p:tagLst>
</file>

<file path=ppt/tags/tag1037.xml><?xml version="1.0" encoding="utf-8"?>
<p:tagLst xmlns:a="http://schemas.openxmlformats.org/drawingml/2006/main" xmlns:r="http://schemas.openxmlformats.org/officeDocument/2006/relationships" xmlns:p="http://schemas.openxmlformats.org/presentationml/2006/main">
  <p:tag name="VMAPS" val="MAP"/>
  <p:tag name="VMAPS_LEFT" val="448.7291"/>
  <p:tag name="VMAPS_TOP" val="108.9329"/>
  <p:tag name="VMAPS_WIDTH" val="46.17732"/>
  <p:tag name="VMAPS_HEIGHT" val="32.46181"/>
</p:tagLst>
</file>

<file path=ppt/tags/tag1038.xml><?xml version="1.0" encoding="utf-8"?>
<p:tagLst xmlns:a="http://schemas.openxmlformats.org/drawingml/2006/main" xmlns:r="http://schemas.openxmlformats.org/officeDocument/2006/relationships" xmlns:p="http://schemas.openxmlformats.org/presentationml/2006/main">
  <p:tag name="VMAPS" val="MAP"/>
  <p:tag name="VMAPS_LEFT" val="480.162"/>
  <p:tag name="VMAPS_TOP" val="140.5667"/>
  <p:tag name="VMAPS_WIDTH" val="14.74433"/>
  <p:tag name="VMAPS_HEIGHT" val="6.127953"/>
</p:tagLst>
</file>

<file path=ppt/tags/tag1039.xml><?xml version="1.0" encoding="utf-8"?>
<p:tagLst xmlns:a="http://schemas.openxmlformats.org/drawingml/2006/main" xmlns:r="http://schemas.openxmlformats.org/officeDocument/2006/relationships" xmlns:p="http://schemas.openxmlformats.org/presentationml/2006/main">
  <p:tag name="VMAPS" val="MAP"/>
  <p:tag name="VMAPS_LEFT" val="480.162"/>
  <p:tag name="VMAPS_TOP" val="144.7072"/>
  <p:tag name="VMAPS_WIDTH" val="11.50386"/>
  <p:tag name="VMAPS_HEIGHT" val="6.624803"/>
</p:tagLst>
</file>

<file path=ppt/tags/tag10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40.xml><?xml version="1.0" encoding="utf-8"?>
<p:tagLst xmlns:a="http://schemas.openxmlformats.org/drawingml/2006/main" xmlns:r="http://schemas.openxmlformats.org/officeDocument/2006/relationships" xmlns:p="http://schemas.openxmlformats.org/presentationml/2006/main">
  <p:tag name="VMAPS" val="MAP"/>
  <p:tag name="VMAPS_LEFT" val="485.0228"/>
  <p:tag name="VMAPS_TOP" val="145.5354"/>
  <p:tag name="VMAPS_WIDTH" val="19.76709"/>
  <p:tag name="VMAPS_HEIGHT" val="12.75291"/>
</p:tagLst>
</file>

<file path=ppt/tags/tag1041.xml><?xml version="1.0" encoding="utf-8"?>
<p:tagLst xmlns:a="http://schemas.openxmlformats.org/drawingml/2006/main" xmlns:r="http://schemas.openxmlformats.org/officeDocument/2006/relationships" xmlns:p="http://schemas.openxmlformats.org/presentationml/2006/main">
  <p:tag name="VMAPS" val="MAP"/>
  <p:tag name="VMAPS_LEFT" val="483.5646"/>
  <p:tag name="VMAPS_TOP" val="155.6383"/>
  <p:tag name="VMAPS_WIDTH" val="37.91394"/>
  <p:tag name="VMAPS_HEIGHT" val="22.02772"/>
</p:tagLst>
</file>

<file path=ppt/tags/tag1042.xml><?xml version="1.0" encoding="utf-8"?>
<p:tagLst xmlns:a="http://schemas.openxmlformats.org/drawingml/2006/main" xmlns:r="http://schemas.openxmlformats.org/officeDocument/2006/relationships" xmlns:p="http://schemas.openxmlformats.org/presentationml/2006/main">
  <p:tag name="VMAPS" val="MAP"/>
  <p:tag name="VMAPS_LEFT" val="449.5392"/>
  <p:tag name="VMAPS_TOP" val="149.3447"/>
  <p:tag name="VMAPS_WIDTH" val="18.14685"/>
  <p:tag name="VMAPS_HEIGHT" val="19.70898"/>
</p:tagLst>
</file>

<file path=ppt/tags/tag1043.xml><?xml version="1.0" encoding="utf-8"?>
<p:tagLst xmlns:a="http://schemas.openxmlformats.org/drawingml/2006/main" xmlns:r="http://schemas.openxmlformats.org/officeDocument/2006/relationships" xmlns:p="http://schemas.openxmlformats.org/presentationml/2006/main">
  <p:tag name="VMAPS" val="MAP"/>
  <p:tag name="VMAPS_LEFT" val="456.3442"/>
  <p:tag name="VMAPS_TOP" val="165.7412"/>
  <p:tag name="VMAPS_WIDTH" val="16.36465"/>
  <p:tag name="VMAPS_HEIGHT" val="6.127953"/>
</p:tagLst>
</file>

<file path=ppt/tags/tag1044.xml><?xml version="1.0" encoding="utf-8"?>
<p:tagLst xmlns:a="http://schemas.openxmlformats.org/drawingml/2006/main" xmlns:r="http://schemas.openxmlformats.org/officeDocument/2006/relationships" xmlns:p="http://schemas.openxmlformats.org/presentationml/2006/main">
  <p:tag name="VMAPS" val="MAP"/>
  <p:tag name="VMAPS_LEFT" val="442.7342"/>
  <p:tag name="VMAPS_TOP" val="158.785"/>
  <p:tag name="VMAPS_WIDTH" val="6.805039"/>
  <p:tag name="VMAPS_HEIGHT" val="4.306142"/>
</p:tagLst>
</file>

<file path=ppt/tags/tag1045.xml><?xml version="1.0" encoding="utf-8"?>
<p:tagLst xmlns:a="http://schemas.openxmlformats.org/drawingml/2006/main" xmlns:r="http://schemas.openxmlformats.org/officeDocument/2006/relationships" xmlns:p="http://schemas.openxmlformats.org/presentationml/2006/main">
  <p:tag name="VMAPS" val="MAP"/>
  <p:tag name="VMAPS_LEFT" val="444.0304"/>
  <p:tag name="VMAPS_TOP" val="153.4851"/>
  <p:tag name="VMAPS_WIDTH" val="7.777165"/>
  <p:tag name="VMAPS_HEIGHT" val="6.790473"/>
</p:tagLst>
</file>

<file path=ppt/tags/tag1046.xml><?xml version="1.0" encoding="utf-8"?>
<p:tagLst xmlns:a="http://schemas.openxmlformats.org/drawingml/2006/main" xmlns:r="http://schemas.openxmlformats.org/officeDocument/2006/relationships" xmlns:p="http://schemas.openxmlformats.org/presentationml/2006/main">
  <p:tag name="VMAPS" val="MAP"/>
  <p:tag name="VMAPS_LEFT" val="472.3848"/>
  <p:tag name="VMAPS_TOP" val="163.0912"/>
  <p:tag name="VMAPS_WIDTH" val="11.50386"/>
  <p:tag name="VMAPS_HEIGHT" val="5.299921"/>
</p:tagLst>
</file>

<file path=ppt/tags/tag1047.xml><?xml version="1.0" encoding="utf-8"?>
<p:tagLst xmlns:a="http://schemas.openxmlformats.org/drawingml/2006/main" xmlns:r="http://schemas.openxmlformats.org/officeDocument/2006/relationships" xmlns:p="http://schemas.openxmlformats.org/presentationml/2006/main">
  <p:tag name="VMAPS" val="MAP"/>
  <p:tag name="VMAPS_LEFT" val="462.1772"/>
  <p:tag name="VMAPS_TOP" val="159.4476"/>
  <p:tag name="VMAPS_WIDTH" val="13.28606"/>
  <p:tag name="VMAPS_HEIGHT" val="7.452913"/>
</p:tagLst>
</file>

<file path=ppt/tags/tag1048.xml><?xml version="1.0" encoding="utf-8"?>
<p:tagLst xmlns:a="http://schemas.openxmlformats.org/drawingml/2006/main" xmlns:r="http://schemas.openxmlformats.org/officeDocument/2006/relationships" xmlns:p="http://schemas.openxmlformats.org/presentationml/2006/main">
  <p:tag name="VMAPS" val="MAP"/>
  <p:tag name="VMAPS_LEFT" val="466.5518"/>
  <p:tag name="VMAPS_TOP" val="149.6758"/>
  <p:tag name="VMAPS_WIDTH" val="20.57732"/>
  <p:tag name="VMAPS_HEIGHT" val="14.90598"/>
</p:tagLst>
</file>

<file path=ppt/tags/tag1049.xml><?xml version="1.0" encoding="utf-8"?>
<p:tagLst xmlns:a="http://schemas.openxmlformats.org/drawingml/2006/main" xmlns:r="http://schemas.openxmlformats.org/officeDocument/2006/relationships" xmlns:p="http://schemas.openxmlformats.org/presentationml/2006/main">
  <p:tag name="VMAPS" val="MAP"/>
  <p:tag name="VMAPS_LEFT" val="449.0532"/>
  <p:tag name="VMAPS_TOP" val="168.7224"/>
  <p:tag name="VMAPS_WIDTH" val="9.721496"/>
  <p:tag name="VMAPS_HEIGHT" val="4.63748"/>
</p:tagLst>
</file>

<file path=ppt/tags/tag10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050.xml><?xml version="1.0" encoding="utf-8"?>
<p:tagLst xmlns:a="http://schemas.openxmlformats.org/drawingml/2006/main" xmlns:r="http://schemas.openxmlformats.org/officeDocument/2006/relationships" xmlns:p="http://schemas.openxmlformats.org/presentationml/2006/main">
  <p:tag name="VMAPS" val="MAP"/>
  <p:tag name="VMAPS_LEFT" val="477.2455"/>
  <p:tag name="VMAPS_TOP" val="147.3572"/>
  <p:tag name="VMAPS_WIDTH" val="6.967165"/>
  <p:tag name="VMAPS_HEIGHT" val="3.312441"/>
</p:tagLst>
</file>

<file path=ppt/tags/tag1051.xml><?xml version="1.0" encoding="utf-8"?>
<p:tagLst xmlns:a="http://schemas.openxmlformats.org/drawingml/2006/main" xmlns:r="http://schemas.openxmlformats.org/officeDocument/2006/relationships" xmlns:p="http://schemas.openxmlformats.org/presentationml/2006/main">
  <p:tag name="VMAPS" val="MAP"/>
  <p:tag name="VMAPS_LEFT" val="523.5848"/>
  <p:tag name="VMAPS_TOP" val="196.7124"/>
  <p:tag name="VMAPS_WIDTH" val="23.65567"/>
  <p:tag name="VMAPS_HEIGHT" val="23.51835"/>
</p:tagLst>
</file>

<file path=ppt/tags/tag1052.xml><?xml version="1.0" encoding="utf-8"?>
<p:tagLst xmlns:a="http://schemas.openxmlformats.org/drawingml/2006/main" xmlns:r="http://schemas.openxmlformats.org/officeDocument/2006/relationships" xmlns:p="http://schemas.openxmlformats.org/presentationml/2006/main">
  <p:tag name="VMAPS" val="MAP"/>
  <p:tag name="VMAPS_LEFT" val="514.8353"/>
  <p:tag name="VMAPS_TOP" val="208.4716"/>
  <p:tag name="VMAPS_WIDTH" val="10.04559"/>
  <p:tag name="VMAPS_HEIGHT" val="11.59354"/>
</p:tagLst>
</file>

<file path=ppt/tags/tag1053.xml><?xml version="1.0" encoding="utf-8"?>
<p:tagLst xmlns:a="http://schemas.openxmlformats.org/drawingml/2006/main" xmlns:r="http://schemas.openxmlformats.org/officeDocument/2006/relationships" xmlns:p="http://schemas.openxmlformats.org/presentationml/2006/main">
  <p:tag name="VMAPS" val="MAP"/>
  <p:tag name="VMAPS_LEFT" val="515.1594"/>
  <p:tag name="VMAPS_TOP" val="212.1153"/>
  <p:tag name="VMAPS_WIDTH" val="50.87598"/>
  <p:tag name="VMAPS_HEIGHT" val="46.3741"/>
</p:tagLst>
</file>

<file path=ppt/tags/tag1054.xml><?xml version="1.0" encoding="utf-8"?>
<p:tagLst xmlns:a="http://schemas.openxmlformats.org/drawingml/2006/main" xmlns:r="http://schemas.openxmlformats.org/officeDocument/2006/relationships" xmlns:p="http://schemas.openxmlformats.org/presentationml/2006/main">
  <p:tag name="VMAPS" val="MAP"/>
  <p:tag name="VMAPS_LEFT" val="516.6177"/>
  <p:tag name="VMAPS_TOP" val="197.7061"/>
  <p:tag name="VMAPS_WIDTH" val="14.74433"/>
  <p:tag name="VMAPS_HEIGHT" val="13.9122"/>
</p:tagLst>
</file>

<file path=ppt/tags/tag1055.xml><?xml version="1.0" encoding="utf-8"?>
<p:tagLst xmlns:a="http://schemas.openxmlformats.org/drawingml/2006/main" xmlns:r="http://schemas.openxmlformats.org/officeDocument/2006/relationships" xmlns:p="http://schemas.openxmlformats.org/presentationml/2006/main">
  <p:tag name="VMAPS" val="MAP"/>
  <p:tag name="VMAPS_LEFT" val="454.4"/>
  <p:tag name="VMAPS_TOP" val="181.6409"/>
  <p:tag name="VMAPS_WIDTH" val="2.592441"/>
  <p:tag name="VMAPS_HEIGHT" val="4.471732"/>
</p:tagLst>
</file>

<file path=ppt/tags/tag1056.xml><?xml version="1.0" encoding="utf-8"?>
<p:tagLst xmlns:a="http://schemas.openxmlformats.org/drawingml/2006/main" xmlns:r="http://schemas.openxmlformats.org/officeDocument/2006/relationships" xmlns:p="http://schemas.openxmlformats.org/presentationml/2006/main">
  <p:tag name="VMAPS" val="MAP"/>
  <p:tag name="VMAPS_LEFT" val="453.5898"/>
  <p:tag name="VMAPS_TOP" val="186.4439"/>
  <p:tag name="VMAPS_WIDTH" val="3.726614"/>
  <p:tag name="VMAPS_HEIGHT" val="6.459291"/>
</p:tagLst>
</file>

<file path=ppt/tags/tag1057.xml><?xml version="1.0" encoding="utf-8"?>
<p:tagLst xmlns:a="http://schemas.openxmlformats.org/drawingml/2006/main" xmlns:r="http://schemas.openxmlformats.org/officeDocument/2006/relationships" xmlns:p="http://schemas.openxmlformats.org/presentationml/2006/main">
  <p:tag name="VMAPS" val="MAP"/>
  <p:tag name="VMAPS_LEFT" val="463.1494"/>
  <p:tag name="VMAPS_TOP" val="194.8906"/>
  <p:tag name="VMAPS_WIDTH" val="7.45315"/>
  <p:tag name="VMAPS_HEIGHT" val="4.471732"/>
</p:tagLst>
</file>

<file path=ppt/tags/tag1058.xml><?xml version="1.0" encoding="utf-8"?>
<p:tagLst xmlns:a="http://schemas.openxmlformats.org/drawingml/2006/main" xmlns:r="http://schemas.openxmlformats.org/officeDocument/2006/relationships" xmlns:p="http://schemas.openxmlformats.org/presentationml/2006/main">
  <p:tag name="VMAPS" val="MAP"/>
  <p:tag name="VMAPS_LEFT" val="440.7899"/>
  <p:tag name="VMAPS_TOP" val="190.2532"/>
  <p:tag name="VMAPS_WIDTH" val="2.268347"/>
  <p:tag name="VMAPS_HEIGHT" val="1.49063"/>
</p:tagLst>
</file>

<file path=ppt/tags/tag1059.xml><?xml version="1.0" encoding="utf-8"?>
<p:tagLst xmlns:a="http://schemas.openxmlformats.org/drawingml/2006/main" xmlns:r="http://schemas.openxmlformats.org/officeDocument/2006/relationships" xmlns:p="http://schemas.openxmlformats.org/presentationml/2006/main">
  <p:tag name="VMAPS" val="MAP"/>
  <p:tag name="VMAPS_LEFT" val="413.8937"/>
  <p:tag name="VMAPS_TOP" val="198.3686"/>
  <p:tag name="VMAPS_WIDTH" val="47.31134"/>
  <p:tag name="VMAPS_HEIGHT" val="50.34898"/>
</p:tagLst>
</file>

<file path=ppt/tags/tag1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60.xml><?xml version="1.0" encoding="utf-8"?>
<p:tagLst xmlns:a="http://schemas.openxmlformats.org/drawingml/2006/main" xmlns:r="http://schemas.openxmlformats.org/officeDocument/2006/relationships" xmlns:p="http://schemas.openxmlformats.org/presentationml/2006/main">
  <p:tag name="VMAPS" val="MAP"/>
  <p:tag name="VMAPS_LEFT" val="455.3721"/>
  <p:tag name="VMAPS_TOP" val="208.9684"/>
  <p:tag name="VMAPS_WIDTH" val="37.58984"/>
  <p:tag name="VMAPS_HEIGHT" val="38.25858"/>
</p:tagLst>
</file>

<file path=ppt/tags/tag1061.xml><?xml version="1.0" encoding="utf-8"?>
<p:tagLst xmlns:a="http://schemas.openxmlformats.org/drawingml/2006/main" xmlns:r="http://schemas.openxmlformats.org/officeDocument/2006/relationships" xmlns:p="http://schemas.openxmlformats.org/presentationml/2006/main">
  <p:tag name="VMAPS" val="MAP"/>
  <p:tag name="VMAPS_LEFT" val="403.5241"/>
  <p:tag name="VMAPS_TOP" val="201.0186"/>
  <p:tag name="VMAPS_WIDTH" val="28.84055"/>
  <p:tag name="VMAPS_HEIGHT" val="22.85583"/>
</p:tagLst>
</file>

<file path=ppt/tags/tag1062.xml><?xml version="1.0" encoding="utf-8"?>
<p:tagLst xmlns:a="http://schemas.openxmlformats.org/drawingml/2006/main" xmlns:r="http://schemas.openxmlformats.org/officeDocument/2006/relationships" xmlns:p="http://schemas.openxmlformats.org/presentationml/2006/main">
  <p:tag name="VMAPS" val="MAP"/>
  <p:tag name="VMAPS_LEFT" val="451.4836"/>
  <p:tag name="VMAPS_TOP" val="197.0436"/>
  <p:tag name="VMAPS_WIDTH" val="8.74937"/>
  <p:tag name="VMAPS_HEIGHT" val="20.04016"/>
</p:tagLst>
</file>

<file path=ppt/tags/tag1063.xml><?xml version="1.0" encoding="utf-8"?>
<p:tagLst xmlns:a="http://schemas.openxmlformats.org/drawingml/2006/main" xmlns:r="http://schemas.openxmlformats.org/officeDocument/2006/relationships" xmlns:p="http://schemas.openxmlformats.org/presentationml/2006/main">
  <p:tag name="VMAPS" val="MAP"/>
  <p:tag name="VMAPS_LEFT" val="491.3418"/>
  <p:tag name="VMAPS_TOP" val="213.2746"/>
  <p:tag name="VMAPS_WIDTH" val="26.73425"/>
  <p:tag name="VMAPS_HEIGHT" val="27.32764"/>
</p:tagLst>
</file>

<file path=ppt/tags/tag1064.xml><?xml version="1.0" encoding="utf-8"?>
<p:tagLst xmlns:a="http://schemas.openxmlformats.org/drawingml/2006/main" xmlns:r="http://schemas.openxmlformats.org/officeDocument/2006/relationships" xmlns:p="http://schemas.openxmlformats.org/presentationml/2006/main">
  <p:tag name="VMAPS" val="MAP"/>
  <p:tag name="VMAPS_LEFT" val="414.3797"/>
  <p:tag name="VMAPS_TOP" val="183.9596"/>
  <p:tag name="VMAPS_WIDTH" val="7.939291"/>
  <p:tag name="VMAPS_HEIGHT" val="14.40913"/>
</p:tagLst>
</file>

<file path=ppt/tags/tag1065.xml><?xml version="1.0" encoding="utf-8"?>
<p:tagLst xmlns:a="http://schemas.openxmlformats.org/drawingml/2006/main" xmlns:r="http://schemas.openxmlformats.org/officeDocument/2006/relationships" xmlns:p="http://schemas.openxmlformats.org/presentationml/2006/main">
  <p:tag name="VMAPS" val="MAP"/>
  <p:tag name="VMAPS_LEFT" val="415.6759"/>
  <p:tag name="VMAPS_TOP" val="179.6535"/>
  <p:tag name="VMAPS_WIDTH" val="27.05827"/>
  <p:tag name="VMAPS_HEIGHT" val="21.19961"/>
</p:tagLst>
</file>

<file path=ppt/tags/tag1066.xml><?xml version="1.0" encoding="utf-8"?>
<p:tagLst xmlns:a="http://schemas.openxmlformats.org/drawingml/2006/main" xmlns:r="http://schemas.openxmlformats.org/officeDocument/2006/relationships" xmlns:p="http://schemas.openxmlformats.org/presentationml/2006/main">
  <p:tag name="VMAPS" val="MAP"/>
  <p:tag name="VMAPS_LEFT" val="426.6936"/>
  <p:tag name="VMAPS_TOP" val="159.4476"/>
  <p:tag name="VMAPS_WIDTH" val="26.89622"/>
  <p:tag name="VMAPS_HEIGHT" val="23.68386"/>
</p:tagLst>
</file>

<file path=ppt/tags/tag1067.xml><?xml version="1.0" encoding="utf-8"?>
<p:tagLst xmlns:a="http://schemas.openxmlformats.org/drawingml/2006/main" xmlns:r="http://schemas.openxmlformats.org/officeDocument/2006/relationships" xmlns:p="http://schemas.openxmlformats.org/presentationml/2006/main">
  <p:tag name="VMAPS" val="MAP"/>
  <p:tag name="VMAPS_LEFT" val="450.6734"/>
  <p:tag name="VMAPS_TOP" val="170.3787"/>
  <p:tag name="VMAPS_WIDTH" val="25.76205"/>
  <p:tag name="VMAPS_HEIGHT" val="25.50567"/>
</p:tagLst>
</file>

<file path=ppt/tags/tag1068.xml><?xml version="1.0" encoding="utf-8"?>
<p:tagLst xmlns:a="http://schemas.openxmlformats.org/drawingml/2006/main" xmlns:r="http://schemas.openxmlformats.org/officeDocument/2006/relationships" xmlns:p="http://schemas.openxmlformats.org/presentationml/2006/main">
  <p:tag name="VMAPS" val="MAP"/>
  <p:tag name="VMAPS_LEFT" val="465.0937"/>
  <p:tag name="VMAPS_TOP" val="170.8755"/>
  <p:tag name="VMAPS_WIDTH" val="6.319055"/>
  <p:tag name="VMAPS_HEIGHT" val="3.974961"/>
</p:tagLst>
</file>

<file path=ppt/tags/tag1069.xml><?xml version="1.0" encoding="utf-8"?>
<p:tagLst xmlns:a="http://schemas.openxmlformats.org/drawingml/2006/main" xmlns:r="http://schemas.openxmlformats.org/officeDocument/2006/relationships" xmlns:p="http://schemas.openxmlformats.org/presentationml/2006/main">
  <p:tag name="VMAPS" val="MAP"/>
  <p:tag name="VMAPS_LEFT" val="465.9037"/>
  <p:tag name="VMAPS_TOP" val="171.0411"/>
  <p:tag name="VMAPS_WIDTH" val="12.31394"/>
  <p:tag name="VMAPS_HEIGHT" val="12.09039"/>
</p:tagLst>
</file>

<file path=ppt/tags/tag107.xml><?xml version="1.0" encoding="utf-8"?>
<p:tagLst xmlns:a="http://schemas.openxmlformats.org/drawingml/2006/main" xmlns:r="http://schemas.openxmlformats.org/officeDocument/2006/relationships" xmlns:p="http://schemas.openxmlformats.org/presentationml/2006/main">
  <p:tag name="SHAPETYPE" val="Background"/>
</p:tagLst>
</file>

<file path=ppt/tags/tag1070.xml><?xml version="1.0" encoding="utf-8"?>
<p:tagLst xmlns:a="http://schemas.openxmlformats.org/drawingml/2006/main" xmlns:r="http://schemas.openxmlformats.org/officeDocument/2006/relationships" xmlns:p="http://schemas.openxmlformats.org/presentationml/2006/main">
  <p:tag name="VMAPS" val="MAP"/>
  <p:tag name="VMAPS_LEFT" val="470.2784"/>
  <p:tag name="VMAPS_TOP" val="174.8503"/>
  <p:tag name="VMAPS_WIDTH" val="8.263386"/>
  <p:tag name="VMAPS_HEIGHT" val="8.281102"/>
</p:tagLst>
</file>

<file path=ppt/tags/tag1071.xml><?xml version="1.0" encoding="utf-8"?>
<p:tagLst xmlns:a="http://schemas.openxmlformats.org/drawingml/2006/main" xmlns:r="http://schemas.openxmlformats.org/officeDocument/2006/relationships" xmlns:p="http://schemas.openxmlformats.org/presentationml/2006/main">
  <p:tag name="VMAPS" val="MAP"/>
  <p:tag name="VMAPS_LEFT" val="478.2177"/>
  <p:tag name="VMAPS_TOP" val="182.3034"/>
  <p:tag name="VMAPS_WIDTH" val="4.050709"/>
  <p:tag name="VMAPS_HEIGHT" val="8.777953"/>
</p:tagLst>
</file>

<file path=ppt/tags/tag1072.xml><?xml version="1.0" encoding="utf-8"?>
<p:tagLst xmlns:a="http://schemas.openxmlformats.org/drawingml/2006/main" xmlns:r="http://schemas.openxmlformats.org/officeDocument/2006/relationships" xmlns:p="http://schemas.openxmlformats.org/presentationml/2006/main">
  <p:tag name="VMAPS" val="MAP"/>
  <p:tag name="VMAPS_LEFT" val="480.162"/>
  <p:tag name="VMAPS_TOP" val="167.0662"/>
  <p:tag name="VMAPS_WIDTH" val="19.76709"/>
  <p:tag name="VMAPS_HEIGHT" val="12.58724"/>
</p:tagLst>
</file>

<file path=ppt/tags/tag1073.xml><?xml version="1.0" encoding="utf-8"?>
<p:tagLst xmlns:a="http://schemas.openxmlformats.org/drawingml/2006/main" xmlns:r="http://schemas.openxmlformats.org/officeDocument/2006/relationships" xmlns:p="http://schemas.openxmlformats.org/presentationml/2006/main">
  <p:tag name="VMAPS" val="MAP"/>
  <p:tag name="VMAPS_LEFT" val="476.4354"/>
  <p:tag name="VMAPS_TOP" val="172.863"/>
  <p:tag name="VMAPS_WIDTH" val="9.235512"/>
  <p:tag name="VMAPS_HEIGHT" val="11.9248"/>
</p:tagLst>
</file>

<file path=ppt/tags/tag1074.xml><?xml version="1.0" encoding="utf-8"?>
<p:tagLst xmlns:a="http://schemas.openxmlformats.org/drawingml/2006/main" xmlns:r="http://schemas.openxmlformats.org/officeDocument/2006/relationships" xmlns:p="http://schemas.openxmlformats.org/presentationml/2006/main">
  <p:tag name="VMAPS" val="MAP"/>
  <p:tag name="VMAPS_LEFT" val="485.0228"/>
  <p:tag name="VMAPS_TOP" val="178.1628"/>
  <p:tag name="VMAPS_WIDTH" val="13.61016"/>
  <p:tag name="VMAPS_HEIGHT" val="8.281102"/>
</p:tagLst>
</file>

<file path=ppt/tags/tag1075.xml><?xml version="1.0" encoding="utf-8"?>
<p:tagLst xmlns:a="http://schemas.openxmlformats.org/drawingml/2006/main" xmlns:r="http://schemas.openxmlformats.org/officeDocument/2006/relationships" xmlns:p="http://schemas.openxmlformats.org/presentationml/2006/main">
  <p:tag name="VMAPS" val="MAP"/>
  <p:tag name="VMAPS_LEFT" val="481.2961"/>
  <p:tag name="VMAPS_TOP" val="182.6346"/>
  <p:tag name="VMAPS_WIDTH" val="5.022835"/>
  <p:tag name="VMAPS_HEIGHT" val="4.63748"/>
</p:tagLst>
</file>

<file path=ppt/tags/tag1076.xml><?xml version="1.0" encoding="utf-8"?>
<p:tagLst xmlns:a="http://schemas.openxmlformats.org/drawingml/2006/main" xmlns:r="http://schemas.openxmlformats.org/officeDocument/2006/relationships" xmlns:p="http://schemas.openxmlformats.org/presentationml/2006/main">
  <p:tag name="VMAPS" val="MAP"/>
  <p:tag name="VMAPS_LEFT" val="493.2861"/>
  <p:tag name="VMAPS_TOP" val="166.5694"/>
  <p:tag name="VMAPS_WIDTH" val="7.45315"/>
  <p:tag name="VMAPS_HEIGHT" val="8.115512"/>
</p:tagLst>
</file>

<file path=ppt/tags/tag1077.xml><?xml version="1.0" encoding="utf-8"?>
<p:tagLst xmlns:a="http://schemas.openxmlformats.org/drawingml/2006/main" xmlns:r="http://schemas.openxmlformats.org/officeDocument/2006/relationships" xmlns:p="http://schemas.openxmlformats.org/presentationml/2006/main">
  <p:tag name="VMAPS" val="MAP"/>
  <p:tag name="VMAPS_LEFT" val="470.9265"/>
  <p:tag name="VMAPS_TOP" val="166.5694"/>
  <p:tag name="VMAPS_WIDTH" val="14.09622"/>
  <p:tag name="VMAPS_HEIGHT" val="7.121732"/>
</p:tagLst>
</file>

<file path=ppt/tags/tag1078.xml><?xml version="1.0" encoding="utf-8"?>
<p:tagLst xmlns:a="http://schemas.openxmlformats.org/drawingml/2006/main" xmlns:r="http://schemas.openxmlformats.org/officeDocument/2006/relationships" xmlns:p="http://schemas.openxmlformats.org/presentationml/2006/main">
  <p:tag name="VMAPS" val="MAP"/>
  <p:tag name="VMAPS_LEFT" val="523.0988"/>
  <p:tag name="VMAPS_TOP" val="179.3221"/>
  <p:tag name="VMAPS_WIDTH" val="15.23039"/>
  <p:tag name="VMAPS_HEIGHT" val="7.121732"/>
</p:tagLst>
</file>

<file path=ppt/tags/tag1079.xml><?xml version="1.0" encoding="utf-8"?>
<p:tagLst xmlns:a="http://schemas.openxmlformats.org/drawingml/2006/main" xmlns:r="http://schemas.openxmlformats.org/officeDocument/2006/relationships" xmlns:p="http://schemas.openxmlformats.org/presentationml/2006/main">
  <p:tag name="VMAPS" val="MAP"/>
  <p:tag name="VMAPS_LEFT" val="531.3619"/>
  <p:tag name="VMAPS_TOP" val="185.4502"/>
  <p:tag name="VMAPS_WIDTH" val="8.263386"/>
  <p:tag name="VMAPS_HEIGHT" val="7.452913"/>
</p:tagLst>
</file>

<file path=ppt/tags/tag1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080.xml><?xml version="1.0" encoding="utf-8"?>
<p:tagLst xmlns:a="http://schemas.openxmlformats.org/drawingml/2006/main" xmlns:r="http://schemas.openxmlformats.org/officeDocument/2006/relationships" xmlns:p="http://schemas.openxmlformats.org/presentationml/2006/main">
  <p:tag name="VMAPS" val="MAP"/>
  <p:tag name="VMAPS_LEFT" val="534.0736"/>
  <p:tag name="VMAPS_TOP" val="189.922"/>
  <p:tag name="VMAPS_WIDTH" val="4.350236"/>
  <p:tag name="VMAPS_HEIGHT" val="4.306142"/>
</p:tagLst>
</file>

<file path=ppt/tags/tag1081.xml><?xml version="1.0" encoding="utf-8"?>
<p:tagLst xmlns:a="http://schemas.openxmlformats.org/drawingml/2006/main" xmlns:r="http://schemas.openxmlformats.org/officeDocument/2006/relationships" xmlns:p="http://schemas.openxmlformats.org/presentationml/2006/main">
  <p:tag name="VMAPS" val="MAP"/>
  <p:tag name="VMAPS_LEFT" val="534.9265"/>
  <p:tag name="VMAPS_TOP" val="183.9596"/>
  <p:tag name="VMAPS_WIDTH" val="12.47598"/>
  <p:tag name="VMAPS_HEIGHT" val="10.26858"/>
</p:tagLst>
</file>

<file path=ppt/tags/tag1082.xml><?xml version="1.0" encoding="utf-8"?>
<p:tagLst xmlns:a="http://schemas.openxmlformats.org/drawingml/2006/main" xmlns:r="http://schemas.openxmlformats.org/officeDocument/2006/relationships" xmlns:p="http://schemas.openxmlformats.org/presentationml/2006/main">
  <p:tag name="VMAPS" val="MAP"/>
  <p:tag name="VMAPS_LEFT" val="535.5746"/>
  <p:tag name="VMAPS_TOP" val="147.5228"/>
  <p:tag name="VMAPS_WIDTH" val="85.22527"/>
  <p:tag name="VMAPS_HEIGHT" val="38.9211"/>
</p:tagLst>
</file>

<file path=ppt/tags/tag1083.xml><?xml version="1.0" encoding="utf-8"?>
<p:tagLst xmlns:a="http://schemas.openxmlformats.org/drawingml/2006/main" xmlns:r="http://schemas.openxmlformats.org/officeDocument/2006/relationships" xmlns:p="http://schemas.openxmlformats.org/presentationml/2006/main">
  <p:tag name="VMAPS" val="MAP"/>
  <p:tag name="VMAPS_LEFT" val="573.6506"/>
  <p:tag name="VMAPS_TOP" val="194.2281"/>
  <p:tag name="VMAPS_WIDTH" val="30.46079"/>
  <p:tag name="VMAPS_HEIGHT" val="25.67134"/>
</p:tagLst>
</file>

<file path=ppt/tags/tag1084.xml><?xml version="1.0" encoding="utf-8"?>
<p:tagLst xmlns:a="http://schemas.openxmlformats.org/drawingml/2006/main" xmlns:r="http://schemas.openxmlformats.org/officeDocument/2006/relationships" xmlns:p="http://schemas.openxmlformats.org/presentationml/2006/main">
  <p:tag name="VMAPS" val="MAP"/>
  <p:tag name="VMAPS_LEFT" val="600.3848"/>
  <p:tag name="VMAPS_TOP" val="153.3195"/>
  <p:tag name="VMAPS_WIDTH" val="124.9216"/>
  <p:tag name="VMAPS_HEIGHT" val="92.08567"/>
</p:tagLst>
</file>

<file path=ppt/tags/tag1085.xml><?xml version="1.0" encoding="utf-8"?>
<p:tagLst xmlns:a="http://schemas.openxmlformats.org/drawingml/2006/main" xmlns:r="http://schemas.openxmlformats.org/officeDocument/2006/relationships" xmlns:p="http://schemas.openxmlformats.org/presentationml/2006/main">
  <p:tag name="VMAPS" val="MAP"/>
  <p:tag name="VMAPS_LEFT" val="551.4531"/>
  <p:tag name="VMAPS_TOP" val="181.6409"/>
  <p:tag name="VMAPS_WIDTH" val="33.70126"/>
  <p:tag name="VMAPS_HEIGHT" val="21.86205"/>
</p:tagLst>
</file>

<file path=ppt/tags/tag1086.xml><?xml version="1.0" encoding="utf-8"?>
<p:tagLst xmlns:a="http://schemas.openxmlformats.org/drawingml/2006/main" xmlns:r="http://schemas.openxmlformats.org/officeDocument/2006/relationships" xmlns:p="http://schemas.openxmlformats.org/presentationml/2006/main">
  <p:tag name="VMAPS" val="MAP"/>
  <p:tag name="VMAPS_LEFT" val="557.4481"/>
  <p:tag name="VMAPS_TOP" val="173.6909"/>
  <p:tag name="VMAPS_WIDTH" val="40.50638"/>
  <p:tag name="VMAPS_HEIGHT" val="24.34638"/>
</p:tagLst>
</file>

<file path=ppt/tags/tag1087.xml><?xml version="1.0" encoding="utf-8"?>
<p:tagLst xmlns:a="http://schemas.openxmlformats.org/drawingml/2006/main" xmlns:r="http://schemas.openxmlformats.org/officeDocument/2006/relationships" xmlns:p="http://schemas.openxmlformats.org/presentationml/2006/main">
  <p:tag name="VMAPS" val="MAP"/>
  <p:tag name="VMAPS_LEFT" val="590.0151"/>
  <p:tag name="VMAPS_TOP" val="180.4816"/>
  <p:tag name="VMAPS_WIDTH" val="22.68354"/>
  <p:tag name="VMAPS_HEIGHT" val="11.09661"/>
</p:tagLst>
</file>

<file path=ppt/tags/tag1088.xml><?xml version="1.0" encoding="utf-8"?>
<p:tagLst xmlns:a="http://schemas.openxmlformats.org/drawingml/2006/main" xmlns:r="http://schemas.openxmlformats.org/officeDocument/2006/relationships" xmlns:p="http://schemas.openxmlformats.org/presentationml/2006/main">
  <p:tag name="VMAPS" val="MAP"/>
  <p:tag name="VMAPS_LEFT" val="585.8025"/>
  <p:tag name="VMAPS_TOP" val="186.4439"/>
  <p:tag name="VMAPS_WIDTH" val="18.3089"/>
  <p:tag name="VMAPS_HEIGHT" val="12.91843"/>
</p:tagLst>
</file>

<file path=ppt/tags/tag1089.xml><?xml version="1.0" encoding="utf-8"?>
<p:tagLst xmlns:a="http://schemas.openxmlformats.org/drawingml/2006/main" xmlns:r="http://schemas.openxmlformats.org/officeDocument/2006/relationships" xmlns:p="http://schemas.openxmlformats.org/presentationml/2006/main">
  <p:tag name="VMAPS" val="MAP"/>
  <p:tag name="VMAPS_LEFT" val="562.4709"/>
  <p:tag name="VMAPS_TOP" val="171.0411"/>
  <p:tag name="VMAPS_WIDTH" val="7.777165"/>
  <p:tag name="VMAPS_HEIGHT" val="9.109213"/>
</p:tagLst>
</file>

<file path=ppt/tags/tag10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090.xml><?xml version="1.0" encoding="utf-8"?>
<p:tagLst xmlns:a="http://schemas.openxmlformats.org/drawingml/2006/main" xmlns:r="http://schemas.openxmlformats.org/officeDocument/2006/relationships" xmlns:p="http://schemas.openxmlformats.org/presentationml/2006/main">
  <p:tag name="VMAPS" val="MAP"/>
  <p:tag name="VMAPS_LEFT" val="594.7139"/>
  <p:tag name="VMAPS_TOP" val="171.0411"/>
  <p:tag name="VMAPS_WIDTH" val="11.98984"/>
  <p:tag name="VMAPS_HEIGHT" val="5.631181"/>
</p:tagLst>
</file>

<file path=ppt/tags/tag1091.xml><?xml version="1.0" encoding="utf-8"?>
<p:tagLst xmlns:a="http://schemas.openxmlformats.org/drawingml/2006/main" xmlns:r="http://schemas.openxmlformats.org/officeDocument/2006/relationships" xmlns:p="http://schemas.openxmlformats.org/presentationml/2006/main">
  <p:tag name="VMAPS" val="MAP"/>
  <p:tag name="VMAPS_LEFT" val="534.1165"/>
  <p:tag name="VMAPS_TOP" val="190.2532"/>
  <p:tag name="VMAPS_WIDTH" val="48.28354"/>
  <p:tag name="VMAPS_HEIGHT" val="41.23977"/>
</p:tagLst>
</file>

<file path=ppt/tags/tag1092.xml><?xml version="1.0" encoding="utf-8"?>
<p:tagLst xmlns:a="http://schemas.openxmlformats.org/drawingml/2006/main" xmlns:r="http://schemas.openxmlformats.org/officeDocument/2006/relationships" xmlns:p="http://schemas.openxmlformats.org/presentationml/2006/main">
  <p:tag name="VMAPS" val="MAP"/>
  <p:tag name="VMAPS_LEFT" val="557.4481"/>
  <p:tag name="VMAPS_TOP" val="232.1554"/>
  <p:tag name="VMAPS_WIDTH" val="17.98488"/>
  <p:tag name="VMAPS_HEIGHT" val="23.35268"/>
</p:tagLst>
</file>

<file path=ppt/tags/tag1093.xml><?xml version="1.0" encoding="utf-8"?>
<p:tagLst xmlns:a="http://schemas.openxmlformats.org/drawingml/2006/main" xmlns:r="http://schemas.openxmlformats.org/officeDocument/2006/relationships" xmlns:p="http://schemas.openxmlformats.org/presentationml/2006/main">
  <p:tag name="VMAPS" val="MAP"/>
  <p:tag name="VMAPS_LEFT" val="554.5317"/>
  <p:tag name="VMAPS_TOP" val="229.0087"/>
  <p:tag name="VMAPS_WIDTH" val="12.15189"/>
  <p:tag name="VMAPS_HEIGHT" val="9.440473"/>
</p:tagLst>
</file>

<file path=ppt/tags/tag1094.xml><?xml version="1.0" encoding="utf-8"?>
<p:tagLst xmlns:a="http://schemas.openxmlformats.org/drawingml/2006/main" xmlns:r="http://schemas.openxmlformats.org/officeDocument/2006/relationships" xmlns:p="http://schemas.openxmlformats.org/presentationml/2006/main">
  <p:tag name="VMAPS" val="MAP"/>
  <p:tag name="VMAPS_LEFT" val="576.081"/>
  <p:tag name="VMAPS_TOP" val="198.3686"/>
  <p:tag name="VMAPS_WIDTH" val="35.9696"/>
  <p:tag name="VMAPS_HEIGHT" val="36.93362"/>
</p:tagLst>
</file>

<file path=ppt/tags/tag1095.xml><?xml version="1.0" encoding="utf-8"?>
<p:tagLst xmlns:a="http://schemas.openxmlformats.org/drawingml/2006/main" xmlns:r="http://schemas.openxmlformats.org/officeDocument/2006/relationships" xmlns:p="http://schemas.openxmlformats.org/presentationml/2006/main">
  <p:tag name="VMAPS" val="MAP"/>
  <p:tag name="VMAPS_LEFT" val="553.7214"/>
  <p:tag name="VMAPS_TOP" val="228.6774"/>
  <p:tag name="VMAPS_WIDTH" val="1.620236"/>
  <p:tag name="VMAPS_HEIGHT" val="4.802992"/>
</p:tagLst>
</file>

<file path=ppt/tags/tag1096.xml><?xml version="1.0" encoding="utf-8"?>
<p:tagLst xmlns:a="http://schemas.openxmlformats.org/drawingml/2006/main" xmlns:r="http://schemas.openxmlformats.org/officeDocument/2006/relationships" xmlns:p="http://schemas.openxmlformats.org/presentationml/2006/main">
  <p:tag name="VMAPS" val="MAP"/>
  <p:tag name="VMAPS_LEFT" val="508.5164"/>
  <p:tag name="VMAPS_TOP" val="201.8468"/>
  <p:tag name="VMAPS_WIDTH" val="5.022835"/>
  <p:tag name="VMAPS_HEIGHT" val="3.312441"/>
</p:tagLst>
</file>

<file path=ppt/tags/tag1097.xml><?xml version="1.0" encoding="utf-8"?>
<p:tagLst xmlns:a="http://schemas.openxmlformats.org/drawingml/2006/main" xmlns:r="http://schemas.openxmlformats.org/officeDocument/2006/relationships" xmlns:p="http://schemas.openxmlformats.org/presentationml/2006/main">
  <p:tag name="VMAPS" val="MAP"/>
  <p:tag name="VMAPS_LEFT" val="476.4354"/>
  <p:tag name="VMAPS_TOP" val="180.1503"/>
  <p:tag name="VMAPS_WIDTH" val="4.050709"/>
  <p:tag name="VMAPS_HEIGHT" val="4.63748"/>
</p:tagLst>
</file>

<file path=ppt/tags/tag1098.xml><?xml version="1.0" encoding="utf-8"?>
<p:tagLst xmlns:a="http://schemas.openxmlformats.org/drawingml/2006/main" xmlns:r="http://schemas.openxmlformats.org/officeDocument/2006/relationships" xmlns:p="http://schemas.openxmlformats.org/presentationml/2006/main">
  <p:tag name="VMAPS" val="MAP"/>
  <p:tag name="VMAPS_LEFT" val="543.0278"/>
  <p:tag name="VMAPS_TOP" val="218.0776"/>
  <p:tag name="VMAPS_WIDTH" val="4.212677"/>
  <p:tag name="VMAPS_HEIGHT" val="3.809291"/>
</p:tagLst>
</file>

<file path=ppt/tags/tag1099.xml><?xml version="1.0" encoding="utf-8"?>
<p:tagLst xmlns:a="http://schemas.openxmlformats.org/drawingml/2006/main" xmlns:r="http://schemas.openxmlformats.org/officeDocument/2006/relationships" xmlns:p="http://schemas.openxmlformats.org/presentationml/2006/main">
  <p:tag name="VMAPS" val="MAP"/>
  <p:tag name="VMAPS_LEFT" val="515.1594"/>
  <p:tag name="VMAPS_TOP" val="204.6622"/>
  <p:tag name="VMAPS_WIDTH" val="3.564567"/>
  <p:tag name="VMAPS_HEIGHT" val="4.802992"/>
</p:tagLst>
</file>

<file path=ppt/tags/tag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0.xml><?xml version="1.0" encoding="utf-8"?>
<p:tagLst xmlns:a="http://schemas.openxmlformats.org/drawingml/2006/main" xmlns:r="http://schemas.openxmlformats.org/officeDocument/2006/relationships" xmlns:p="http://schemas.openxmlformats.org/presentationml/2006/main">
  <p:tag name="SHAPETYPE" val="footer"/>
</p:tagLst>
</file>

<file path=ppt/tags/tag1100.xml><?xml version="1.0" encoding="utf-8"?>
<p:tagLst xmlns:a="http://schemas.openxmlformats.org/drawingml/2006/main" xmlns:r="http://schemas.openxmlformats.org/officeDocument/2006/relationships" xmlns:p="http://schemas.openxmlformats.org/presentationml/2006/main">
  <p:tag name="VMAPS" val="MAP"/>
  <p:tag name="VMAPS_LEFT" val="513.5392"/>
  <p:tag name="VMAPS_TOP" val="208.9684"/>
  <p:tag name="VMAPS_WIDTH" val="3.078504"/>
  <p:tag name="VMAPS_HEIGHT" val="10.9311"/>
</p:tagLst>
</file>

<file path=ppt/tags/tag1101.xml><?xml version="1.0" encoding="utf-8"?>
<p:tagLst xmlns:a="http://schemas.openxmlformats.org/drawingml/2006/main" xmlns:r="http://schemas.openxmlformats.org/officeDocument/2006/relationships" xmlns:p="http://schemas.openxmlformats.org/presentationml/2006/main">
  <p:tag name="VMAPS" val="MAP"/>
  <p:tag name="VMAPS_LEFT" val="535.8987"/>
  <p:tag name="VMAPS_TOP" val="249.049"/>
  <p:tag name="VMAPS_WIDTH" val="24.78992"/>
  <p:tag name="VMAPS_HEIGHT" val="17.55591"/>
</p:tagLst>
</file>

<file path=ppt/tags/tag1102.xml><?xml version="1.0" encoding="utf-8"?>
<p:tagLst xmlns:a="http://schemas.openxmlformats.org/drawingml/2006/main" xmlns:r="http://schemas.openxmlformats.org/officeDocument/2006/relationships" xmlns:p="http://schemas.openxmlformats.org/presentationml/2006/main">
  <p:tag name="VMAPS" val="MAP"/>
  <p:tag name="VMAPS_LEFT" val="564.4152"/>
  <p:tag name="VMAPS_TOP" val="360.8435"/>
  <p:tag name="VMAPS_WIDTH" val="1.620236"/>
  <p:tag name="VMAPS_HEIGHT" val="1.324961"/>
</p:tagLst>
</file>

<file path=ppt/tags/tag1103.xml><?xml version="1.0" encoding="utf-8"?>
<p:tagLst xmlns:a="http://schemas.openxmlformats.org/drawingml/2006/main" xmlns:r="http://schemas.openxmlformats.org/officeDocument/2006/relationships" xmlns:p="http://schemas.openxmlformats.org/presentationml/2006/main">
  <p:tag name="VMAPS" val="MAP"/>
  <p:tag name="VMAPS_LEFT" val="561.6608"/>
  <p:tag name="VMAPS_TOP" val="266.936"/>
  <p:tag name="VMAPS_WIDTH" val="2.430394"/>
  <p:tag name="VMAPS_HEIGHT" val="0.662441"/>
</p:tagLst>
</file>

<file path=ppt/tags/tag1104.xml><?xml version="1.0" encoding="utf-8"?>
<p:tagLst xmlns:a="http://schemas.openxmlformats.org/drawingml/2006/main" xmlns:r="http://schemas.openxmlformats.org/officeDocument/2006/relationships" xmlns:p="http://schemas.openxmlformats.org/presentationml/2006/main">
  <p:tag name="VMAPS" val="MAP"/>
  <p:tag name="VMAPS_LEFT" val="462.8253"/>
  <p:tag name="VMAPS_TOP" val="287.4731"/>
  <p:tag name="VMAPS_WIDTH" val="46.17732"/>
  <p:tag name="VMAPS_HEIGHT" val="51.67394"/>
</p:tagLst>
</file>

<file path=ppt/tags/tag1105.xml><?xml version="1.0" encoding="utf-8"?>
<p:tagLst xmlns:a="http://schemas.openxmlformats.org/drawingml/2006/main" xmlns:r="http://schemas.openxmlformats.org/officeDocument/2006/relationships" xmlns:p="http://schemas.openxmlformats.org/presentationml/2006/main">
  <p:tag name="VMAPS" val="MAP"/>
  <p:tag name="VMAPS_LEFT" val="512.8911"/>
  <p:tag name="VMAPS_TOP" val="260.3112"/>
  <p:tag name="VMAPS_WIDTH" val="36.2937"/>
  <p:tag name="VMAPS_HEIGHT" val="31.96496"/>
</p:tagLst>
</file>

<file path=ppt/tags/tag1106.xml><?xml version="1.0" encoding="utf-8"?>
<p:tagLst xmlns:a="http://schemas.openxmlformats.org/drawingml/2006/main" xmlns:r="http://schemas.openxmlformats.org/officeDocument/2006/relationships" xmlns:p="http://schemas.openxmlformats.org/presentationml/2006/main">
  <p:tag name="VMAPS" val="MAP"/>
  <p:tag name="VMAPS_LEFT" val="485.6709"/>
  <p:tag name="VMAPS_TOP" val="237.2898"/>
  <p:tag name="VMAPS_WIDTH" val="39.53417"/>
  <p:tag name="VMAPS_HEIGHT" val="54.48953"/>
</p:tagLst>
</file>

<file path=ppt/tags/tag1107.xml><?xml version="1.0" encoding="utf-8"?>
<p:tagLst xmlns:a="http://schemas.openxmlformats.org/drawingml/2006/main" xmlns:r="http://schemas.openxmlformats.org/officeDocument/2006/relationships" xmlns:p="http://schemas.openxmlformats.org/presentationml/2006/main">
  <p:tag name="VMAPS" val="MAP"/>
  <p:tag name="VMAPS_LEFT" val="520.6683"/>
  <p:tag name="VMAPS_TOP" val="251.202"/>
  <p:tag name="VMAPS_WIDTH" val="15.8785"/>
  <p:tag name="VMAPS_HEIGHT" val="16.39654"/>
</p:tagLst>
</file>

<file path=ppt/tags/tag1108.xml><?xml version="1.0" encoding="utf-8"?>
<p:tagLst xmlns:a="http://schemas.openxmlformats.org/drawingml/2006/main" xmlns:r="http://schemas.openxmlformats.org/officeDocument/2006/relationships" xmlns:p="http://schemas.openxmlformats.org/presentationml/2006/main">
  <p:tag name="VMAPS" val="MAP"/>
  <p:tag name="VMAPS_LEFT" val="520.3442"/>
  <p:tag name="VMAPS_TOP" val="289.295"/>
  <p:tag name="VMAPS_WIDTH" val="2.106378"/>
  <p:tag name="VMAPS_HEIGHT" val="5.962441"/>
</p:tagLst>
</file>

<file path=ppt/tags/tag1109.xml><?xml version="1.0" encoding="utf-8"?>
<p:tagLst xmlns:a="http://schemas.openxmlformats.org/drawingml/2006/main" xmlns:r="http://schemas.openxmlformats.org/officeDocument/2006/relationships" xmlns:p="http://schemas.openxmlformats.org/presentationml/2006/main">
  <p:tag name="VMAPS" val="MAP"/>
  <p:tag name="VMAPS_LEFT" val="532.6582"/>
  <p:tag name="VMAPS_TOP" val="268.7579"/>
  <p:tag name="VMAPS_WIDTH" val="24.14181"/>
  <p:tag name="VMAPS_HEIGHT" val="37.9274"/>
</p:tagLst>
</file>

<file path=ppt/tags/tag11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10.xml><?xml version="1.0" encoding="utf-8"?>
<p:tagLst xmlns:a="http://schemas.openxmlformats.org/drawingml/2006/main" xmlns:r="http://schemas.openxmlformats.org/officeDocument/2006/relationships" xmlns:p="http://schemas.openxmlformats.org/presentationml/2006/main">
  <p:tag name="VMAPS" val="MAP"/>
  <p:tag name="VMAPS_LEFT" val="468.3342"/>
  <p:tag name="VMAPS_TOP" val="271.2421"/>
  <p:tag name="VMAPS_WIDTH" val="31.43291"/>
  <p:tag name="VMAPS_HEIGHT" val="22.85583"/>
</p:tagLst>
</file>

<file path=ppt/tags/tag1111.xml><?xml version="1.0" encoding="utf-8"?>
<p:tagLst xmlns:a="http://schemas.openxmlformats.org/drawingml/2006/main" xmlns:r="http://schemas.openxmlformats.org/officeDocument/2006/relationships" xmlns:p="http://schemas.openxmlformats.org/presentationml/2006/main">
  <p:tag name="VMAPS" val="MAP"/>
  <p:tag name="VMAPS_LEFT" val="465.5797"/>
  <p:tag name="VMAPS_TOP" val="236.4617"/>
  <p:tag name="VMAPS_WIDTH" val="25.27598"/>
  <p:tag name="VMAPS_HEIGHT" val="44.5522"/>
</p:tagLst>
</file>

<file path=ppt/tags/tag1112.xml><?xml version="1.0" encoding="utf-8"?>
<p:tagLst xmlns:a="http://schemas.openxmlformats.org/drawingml/2006/main" xmlns:r="http://schemas.openxmlformats.org/officeDocument/2006/relationships" xmlns:p="http://schemas.openxmlformats.org/presentationml/2006/main">
  <p:tag name="VMAPS" val="MAP"/>
  <p:tag name="VMAPS_LEFT" val="404.3341"/>
  <p:tag name="VMAPS_TOP" val="231.6586"/>
  <p:tag name="VMAPS_WIDTH" val="39.3722"/>
  <p:tag name="VMAPS_HEIGHT" val="41.73669"/>
</p:tagLst>
</file>

<file path=ppt/tags/tag1113.xml><?xml version="1.0" encoding="utf-8"?>
<p:tagLst xmlns:a="http://schemas.openxmlformats.org/drawingml/2006/main" xmlns:r="http://schemas.openxmlformats.org/officeDocument/2006/relationships" xmlns:p="http://schemas.openxmlformats.org/presentationml/2006/main">
  <p:tag name="VMAPS" val="MAP"/>
  <p:tag name="VMAPS_LEFT" val="393.1544"/>
  <p:tag name="VMAPS_TOP" val="225.5306"/>
  <p:tag name="VMAPS_WIDTH" val="29.16457"/>
  <p:tag name="VMAPS_HEIGHT" val="35.11181"/>
</p:tagLst>
</file>

<file path=ppt/tags/tag1114.xml><?xml version="1.0" encoding="utf-8"?>
<p:tagLst xmlns:a="http://schemas.openxmlformats.org/drawingml/2006/main" xmlns:r="http://schemas.openxmlformats.org/officeDocument/2006/relationships" xmlns:p="http://schemas.openxmlformats.org/presentationml/2006/main">
  <p:tag name="VMAPS" val="MAP"/>
  <p:tag name="VMAPS_LEFT" val="433.8228"/>
  <p:tag name="VMAPS_TOP" val="236.1304"/>
  <p:tag name="VMAPS_WIDTH" val="37.91394"/>
  <p:tag name="VMAPS_HEIGHT" val="32.95874"/>
</p:tagLst>
</file>

<file path=ppt/tags/tag1115.xml><?xml version="1.0" encoding="utf-8"?>
<p:tagLst xmlns:a="http://schemas.openxmlformats.org/drawingml/2006/main" xmlns:r="http://schemas.openxmlformats.org/officeDocument/2006/relationships" xmlns:p="http://schemas.openxmlformats.org/presentationml/2006/main">
  <p:tag name="VMAPS" val="MAP"/>
  <p:tag name="VMAPS_LEFT" val="393.1544"/>
  <p:tag name="VMAPS_TOP" val="223.8744"/>
  <p:tag name="VMAPS_WIDTH" val="20.73921"/>
  <p:tag name="VMAPS_HEIGHT" val="19.04654"/>
</p:tagLst>
</file>

<file path=ppt/tags/tag1116.xml><?xml version="1.0" encoding="utf-8"?>
<p:tagLst xmlns:a="http://schemas.openxmlformats.org/drawingml/2006/main" xmlns:r="http://schemas.openxmlformats.org/officeDocument/2006/relationships" xmlns:p="http://schemas.openxmlformats.org/presentationml/2006/main">
  <p:tag name="VMAPS" val="MAP"/>
  <p:tag name="VMAPS_LEFT" val="435.281"/>
  <p:tag name="VMAPS_TOP" val="267.2673"/>
  <p:tag name="VMAPS_WIDTH" val="6.967165"/>
  <p:tag name="VMAPS_HEIGHT" val="16.89338"/>
</p:tagLst>
</file>

<file path=ppt/tags/tag1117.xml><?xml version="1.0" encoding="utf-8"?>
<p:tagLst xmlns:a="http://schemas.openxmlformats.org/drawingml/2006/main" xmlns:r="http://schemas.openxmlformats.org/officeDocument/2006/relationships" xmlns:p="http://schemas.openxmlformats.org/presentationml/2006/main">
  <p:tag name="VMAPS" val="MAP"/>
  <p:tag name="VMAPS_LEFT" val="425.7215"/>
  <p:tag name="VMAPS_TOP" val="270.7453"/>
  <p:tag name="VMAPS_WIDTH" val="10.53165"/>
  <p:tag name="VMAPS_HEIGHT" val="18.05276"/>
</p:tagLst>
</file>

<file path=ppt/tags/tag1118.xml><?xml version="1.0" encoding="utf-8"?>
<p:tagLst xmlns:a="http://schemas.openxmlformats.org/drawingml/2006/main" xmlns:r="http://schemas.openxmlformats.org/officeDocument/2006/relationships" xmlns:p="http://schemas.openxmlformats.org/presentationml/2006/main">
  <p:tag name="VMAPS" val="MAP"/>
  <p:tag name="VMAPS_LEFT" val="396.881"/>
  <p:tag name="VMAPS_TOP" val="266.2735"/>
  <p:tag name="VMAPS_WIDTH" val="17.82283"/>
  <p:tag name="VMAPS_HEIGHT" val="14.74039"/>
</p:tagLst>
</file>

<file path=ppt/tags/tag1119.xml><?xml version="1.0" encoding="utf-8"?>
<p:tagLst xmlns:a="http://schemas.openxmlformats.org/drawingml/2006/main" xmlns:r="http://schemas.openxmlformats.org/officeDocument/2006/relationships" xmlns:p="http://schemas.openxmlformats.org/presentationml/2006/main">
  <p:tag name="VMAPS" val="MAP"/>
  <p:tag name="VMAPS_LEFT" val="412.4354"/>
  <p:tag name="VMAPS_TOP" val="272.0703"/>
  <p:tag name="VMAPS_WIDTH" val="15.23039"/>
  <p:tag name="VMAPS_HEIGHT" val="17.22472"/>
</p:tagLst>
</file>

<file path=ppt/tags/tag1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20.xml><?xml version="1.0" encoding="utf-8"?>
<p:tagLst xmlns:a="http://schemas.openxmlformats.org/drawingml/2006/main" xmlns:r="http://schemas.openxmlformats.org/officeDocument/2006/relationships" xmlns:p="http://schemas.openxmlformats.org/presentationml/2006/main">
  <p:tag name="VMAPS" val="MAP"/>
  <p:tag name="VMAPS_LEFT" val="405.4684"/>
  <p:tag name="VMAPS_TOP" val="278.3639"/>
  <p:tag name="VMAPS_WIDTH" val="9.721496"/>
  <p:tag name="VMAPS_HEIGHT" val="10.9311"/>
</p:tagLst>
</file>

<file path=ppt/tags/tag1121.xml><?xml version="1.0" encoding="utf-8"?>
<p:tagLst xmlns:a="http://schemas.openxmlformats.org/drawingml/2006/main" xmlns:r="http://schemas.openxmlformats.org/officeDocument/2006/relationships" xmlns:p="http://schemas.openxmlformats.org/presentationml/2006/main">
  <p:tag name="VMAPS" val="MAP"/>
  <p:tag name="VMAPS_LEFT" val="392.8303"/>
  <p:tag name="VMAPS_TOP" val="266.2735"/>
  <p:tag name="VMAPS_WIDTH" val="7.615275"/>
  <p:tag name="VMAPS_HEIGHT" val="4.968661"/>
</p:tagLst>
</file>

<file path=ppt/tags/tag1122.xml><?xml version="1.0" encoding="utf-8"?>
<p:tagLst xmlns:a="http://schemas.openxmlformats.org/drawingml/2006/main" xmlns:r="http://schemas.openxmlformats.org/officeDocument/2006/relationships" xmlns:p="http://schemas.openxmlformats.org/presentationml/2006/main">
  <p:tag name="VMAPS" val="MAP"/>
  <p:tag name="VMAPS_LEFT" val="391.5342"/>
  <p:tag name="VMAPS_TOP" val="255.1769"/>
  <p:tag name="VMAPS_WIDTH" val="14.42031"/>
  <p:tag name="VMAPS_HEIGHT" val="11.75913"/>
</p:tagLst>
</file>

<file path=ppt/tags/tag1123.xml><?xml version="1.0" encoding="utf-8"?>
<p:tagLst xmlns:a="http://schemas.openxmlformats.org/drawingml/2006/main" xmlns:r="http://schemas.openxmlformats.org/officeDocument/2006/relationships" xmlns:p="http://schemas.openxmlformats.org/presentationml/2006/main">
  <p:tag name="VMAPS" val="MAP"/>
  <p:tag name="VMAPS_LEFT" val="432.8506"/>
  <p:tag name="VMAPS_TOP" val="270.7453"/>
  <p:tag name="VMAPS_WIDTH" val="4.860787"/>
  <p:tag name="VMAPS_HEIGHT" val="14.24339"/>
</p:tagLst>
</file>

<file path=ppt/tags/tag1124.xml><?xml version="1.0" encoding="utf-8"?>
<p:tagLst xmlns:a="http://schemas.openxmlformats.org/drawingml/2006/main" xmlns:r="http://schemas.openxmlformats.org/officeDocument/2006/relationships" xmlns:p="http://schemas.openxmlformats.org/presentationml/2006/main">
  <p:tag name="VMAPS" val="MAP"/>
  <p:tag name="VMAPS_LEFT" val="376.4658"/>
  <p:tag name="VMAPS_TOP" val="258.9862"/>
  <p:tag name="VMAPS_WIDTH" val="0.4861417"/>
  <p:tag name="VMAPS_HEIGHT" val="1.324961"/>
</p:tagLst>
</file>

<file path=ppt/tags/tag1125.xml><?xml version="1.0" encoding="utf-8"?>
<p:tagLst xmlns:a="http://schemas.openxmlformats.org/drawingml/2006/main" xmlns:r="http://schemas.openxmlformats.org/officeDocument/2006/relationships" xmlns:p="http://schemas.openxmlformats.org/presentationml/2006/main">
  <p:tag name="VMAPS" val="MAP"/>
  <p:tag name="VMAPS_LEFT" val="392.8303"/>
  <p:tag name="VMAPS_TOP" val="263.1267"/>
  <p:tag name="VMAPS_WIDTH" val="7.291181"/>
  <p:tag name="VMAPS_HEIGHT" val="2.15315"/>
</p:tagLst>
</file>

<file path=ppt/tags/tag1126.xml><?xml version="1.0" encoding="utf-8"?>
<p:tagLst xmlns:a="http://schemas.openxmlformats.org/drawingml/2006/main" xmlns:r="http://schemas.openxmlformats.org/officeDocument/2006/relationships" xmlns:p="http://schemas.openxmlformats.org/presentationml/2006/main">
  <p:tag name="VMAPS" val="MAP"/>
  <p:tag name="VMAPS_LEFT" val="420.6987"/>
  <p:tag name="VMAPS_TOP" val="259.8142"/>
  <p:tag name="VMAPS_WIDTH" val="18.14685"/>
  <p:tag name="VMAPS_HEIGHT" val="15.40283"/>
</p:tagLst>
</file>

<file path=ppt/tags/tag1127.xml><?xml version="1.0" encoding="utf-8"?>
<p:tagLst xmlns:a="http://schemas.openxmlformats.org/drawingml/2006/main" xmlns:r="http://schemas.openxmlformats.org/officeDocument/2006/relationships" xmlns:p="http://schemas.openxmlformats.org/presentationml/2006/main">
  <p:tag name="VMAPS" val="MAP"/>
  <p:tag name="VMAPS_LEFT" val="429.6101"/>
  <p:tag name="VMAPS_TOP" val="276.5421"/>
  <p:tag name="VMAPS_WIDTH" val="4.698819"/>
  <p:tag name="VMAPS_HEIGHT" val="7.618583"/>
</p:tagLst>
</file>

<file path=ppt/tags/tag1128.xml><?xml version="1.0" encoding="utf-8"?>
<p:tagLst xmlns:a="http://schemas.openxmlformats.org/drawingml/2006/main" xmlns:r="http://schemas.openxmlformats.org/officeDocument/2006/relationships" xmlns:p="http://schemas.openxmlformats.org/presentationml/2006/main">
  <p:tag name="VMAPS" val="MAP"/>
  <p:tag name="VMAPS_LEFT" val="401.2557"/>
  <p:tag name="VMAPS_TOP" val="273.8921"/>
  <p:tag name="VMAPS_WIDTH" val="6.805039"/>
  <p:tag name="VMAPS_HEIGHT" val="8.612362"/>
</p:tagLst>
</file>

<file path=ppt/tags/tag1129.xml><?xml version="1.0" encoding="utf-8"?>
<p:tagLst xmlns:a="http://schemas.openxmlformats.org/drawingml/2006/main" xmlns:r="http://schemas.openxmlformats.org/officeDocument/2006/relationships" xmlns:p="http://schemas.openxmlformats.org/presentationml/2006/main">
  <p:tag name="VMAPS" val="MAP"/>
  <p:tag name="VMAPS_LEFT" val="455.5341"/>
  <p:tag name="VMAPS_TOP" val="295.5886"/>
  <p:tag name="VMAPS_WIDTH" val="4.698819"/>
  <p:tag name="VMAPS_HEIGHT" val="3.478031"/>
</p:tagLst>
</file>

<file path=ppt/tags/tag1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30.xml><?xml version="1.0" encoding="utf-8"?>
<p:tagLst xmlns:a="http://schemas.openxmlformats.org/drawingml/2006/main" xmlns:r="http://schemas.openxmlformats.org/officeDocument/2006/relationships" xmlns:p="http://schemas.openxmlformats.org/presentationml/2006/main">
  <p:tag name="VMAPS" val="MAP"/>
  <p:tag name="VMAPS_LEFT" val="453.4279"/>
  <p:tag name="VMAPS_TOP" val="266.2735"/>
  <p:tag name="VMAPS_WIDTH" val="18.63299"/>
  <p:tag name="VMAPS_HEIGHT" val="31.13693"/>
</p:tagLst>
</file>

<file path=ppt/tags/tag1131.xml><?xml version="1.0" encoding="utf-8"?>
<p:tagLst xmlns:a="http://schemas.openxmlformats.org/drawingml/2006/main" xmlns:r="http://schemas.openxmlformats.org/officeDocument/2006/relationships" xmlns:p="http://schemas.openxmlformats.org/presentationml/2006/main">
  <p:tag name="VMAPS" val="MAP"/>
  <p:tag name="VMAPS_LEFT" val="454.076"/>
  <p:tag name="VMAPS_TOP" val="295.5886"/>
  <p:tag name="VMAPS_WIDTH" val="13.61016"/>
  <p:tag name="VMAPS_HEIGHT" val="17.55591"/>
</p:tagLst>
</file>

<file path=ppt/tags/tag1132.xml><?xml version="1.0" encoding="utf-8"?>
<p:tagLst xmlns:a="http://schemas.openxmlformats.org/drawingml/2006/main" xmlns:r="http://schemas.openxmlformats.org/officeDocument/2006/relationships" xmlns:p="http://schemas.openxmlformats.org/presentationml/2006/main">
  <p:tag name="VMAPS" val="MAP"/>
  <p:tag name="VMAPS_LEFT" val="439.9797"/>
  <p:tag name="VMAPS_TOP" val="263.1267"/>
  <p:tag name="VMAPS_WIDTH" val="27.70638"/>
  <p:tag name="VMAPS_HEIGHT" val="27.16197"/>
</p:tagLst>
</file>

<file path=ppt/tags/tag1133.xml><?xml version="1.0" encoding="utf-8"?>
<p:tagLst xmlns:a="http://schemas.openxmlformats.org/drawingml/2006/main" xmlns:r="http://schemas.openxmlformats.org/officeDocument/2006/relationships" xmlns:p="http://schemas.openxmlformats.org/presentationml/2006/main">
  <p:tag name="VMAPS" val="MAP"/>
  <p:tag name="VMAPS_LEFT" val="459.9088"/>
  <p:tag name="VMAPS_TOP" val="291.7793"/>
  <p:tag name="VMAPS_WIDTH" val="18.3089"/>
  <p:tag name="VMAPS_HEIGHT" val="24.67764"/>
</p:tagLst>
</file>

<file path=ppt/tags/tag1134.xml><?xml version="1.0" encoding="utf-8"?>
<p:tagLst xmlns:a="http://schemas.openxmlformats.org/drawingml/2006/main" xmlns:r="http://schemas.openxmlformats.org/officeDocument/2006/relationships" xmlns:p="http://schemas.openxmlformats.org/presentationml/2006/main">
  <p:tag name="VMAPS" val="MAP"/>
  <p:tag name="VMAPS_LEFT" val="461.043"/>
  <p:tag name="VMAPS_TOP" val="318.2788"/>
  <p:tag name="VMAPS_WIDTH" val="30.29882"/>
  <p:tag name="VMAPS_HEIGHT" val="34.44929"/>
</p:tagLst>
</file>

<file path=ppt/tags/tag1135.xml><?xml version="1.0" encoding="utf-8"?>
<p:tagLst xmlns:a="http://schemas.openxmlformats.org/drawingml/2006/main" xmlns:r="http://schemas.openxmlformats.org/officeDocument/2006/relationships" xmlns:p="http://schemas.openxmlformats.org/presentationml/2006/main">
  <p:tag name="VMAPS" val="MAP"/>
  <p:tag name="VMAPS_LEFT" val="480.8101"/>
  <p:tag name="VMAPS_TOP" val="352.0656"/>
  <p:tag name="VMAPS_WIDTH" val="22.52157"/>
  <p:tag name="VMAPS_HEIGHT" val="24.84331"/>
</p:tagLst>
</file>

<file path=ppt/tags/tag1136.xml><?xml version="1.0" encoding="utf-8"?>
<p:tagLst xmlns:a="http://schemas.openxmlformats.org/drawingml/2006/main" xmlns:r="http://schemas.openxmlformats.org/officeDocument/2006/relationships" xmlns:p="http://schemas.openxmlformats.org/presentationml/2006/main">
  <p:tag name="VMAPS" val="MAP"/>
  <p:tag name="VMAPS_LEFT" val="504.952"/>
  <p:tag name="VMAPS_TOP" val="331.3629"/>
  <p:tag name="VMAPS_WIDTH" val="25.76205"/>
  <p:tag name="VMAPS_HEIGHT" val="46.04284"/>
</p:tagLst>
</file>

<file path=ppt/tags/tag1137.xml><?xml version="1.0" encoding="utf-8"?>
<p:tagLst xmlns:a="http://schemas.openxmlformats.org/drawingml/2006/main" xmlns:r="http://schemas.openxmlformats.org/officeDocument/2006/relationships" xmlns:p="http://schemas.openxmlformats.org/presentationml/2006/main">
  <p:tag name="VMAPS" val="MAP"/>
  <p:tag name="VMAPS_LEFT" val="493.2861"/>
  <p:tag name="VMAPS_TOP" val="345.6063"/>
  <p:tag name="VMAPS_WIDTH" val="18.95701"/>
  <p:tag name="VMAPS_HEIGHT" val="19.54339"/>
</p:tagLst>
</file>

<file path=ppt/tags/tag1138.xml><?xml version="1.0" encoding="utf-8"?>
<p:tagLst xmlns:a="http://schemas.openxmlformats.org/drawingml/2006/main" xmlns:r="http://schemas.openxmlformats.org/officeDocument/2006/relationships" xmlns:p="http://schemas.openxmlformats.org/presentationml/2006/main">
  <p:tag name="VMAPS" val="MAP"/>
  <p:tag name="VMAPS_LEFT" val="461.043"/>
  <p:tag name="VMAPS_TOP" val="349.25"/>
  <p:tag name="VMAPS_WIDTH" val="32.24307"/>
  <p:tag name="VMAPS_HEIGHT" val="34.44929"/>
</p:tagLst>
</file>

<file path=ppt/tags/tag1139.xml><?xml version="1.0" encoding="utf-8"?>
<p:tagLst xmlns:a="http://schemas.openxmlformats.org/drawingml/2006/main" xmlns:r="http://schemas.openxmlformats.org/officeDocument/2006/relationships" xmlns:p="http://schemas.openxmlformats.org/presentationml/2006/main">
  <p:tag name="VMAPS" val="MAP"/>
  <p:tag name="VMAPS_LEFT" val="515.1594"/>
  <p:tag name="VMAPS_TOP" val="288.798"/>
  <p:tag name="VMAPS_WIDTH" val="18.95701"/>
  <p:tag name="VMAPS_HEIGHT" val="26.33378"/>
</p:tagLst>
</file>

<file path=ppt/tags/tag1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40.xml><?xml version="1.0" encoding="utf-8"?>
<p:tagLst xmlns:a="http://schemas.openxmlformats.org/drawingml/2006/main" xmlns:r="http://schemas.openxmlformats.org/officeDocument/2006/relationships" xmlns:p="http://schemas.openxmlformats.org/presentationml/2006/main">
  <p:tag name="VMAPS" val="MAP"/>
  <p:tag name="VMAPS_LEFT" val="504.952"/>
  <p:tag name="VMAPS_TOP" val="290.4543"/>
  <p:tag name="VMAPS_WIDTH" val="13.12409"/>
  <p:tag name="VMAPS_HEIGHT" val="15.40283"/>
</p:tagLst>
</file>

<file path=ppt/tags/tag1141.xml><?xml version="1.0" encoding="utf-8"?>
<p:tagLst xmlns:a="http://schemas.openxmlformats.org/drawingml/2006/main" xmlns:r="http://schemas.openxmlformats.org/officeDocument/2006/relationships" xmlns:p="http://schemas.openxmlformats.org/presentationml/2006/main">
  <p:tag name="VMAPS" val="MAP"/>
  <p:tag name="VMAPS_LEFT" val="485.8329"/>
  <p:tag name="VMAPS_TOP" val="325.0693"/>
  <p:tag name="VMAPS_WIDTH" val="28.35449"/>
  <p:tag name="VMAPS_HEIGHT" val="27.32764"/>
</p:tagLst>
</file>

<file path=ppt/tags/tag1142.xml><?xml version="1.0" encoding="utf-8"?>
<p:tagLst xmlns:a="http://schemas.openxmlformats.org/drawingml/2006/main" xmlns:r="http://schemas.openxmlformats.org/officeDocument/2006/relationships" xmlns:p="http://schemas.openxmlformats.org/presentationml/2006/main">
  <p:tag name="VMAPS" val="MAP"/>
  <p:tag name="VMAPS_LEFT" val="503.4936"/>
  <p:tag name="VMAPS_TOP" val="308.8383"/>
  <p:tag name="VMAPS_WIDTH" val="4.212677"/>
  <p:tag name="VMAPS_HEIGHT" val="5.465512"/>
</p:tagLst>
</file>

<file path=ppt/tags/tag1143.xml><?xml version="1.0" encoding="utf-8"?>
<p:tagLst xmlns:a="http://schemas.openxmlformats.org/drawingml/2006/main" xmlns:r="http://schemas.openxmlformats.org/officeDocument/2006/relationships" xmlns:p="http://schemas.openxmlformats.org/presentationml/2006/main">
  <p:tag name="VMAPS" val="MAP"/>
  <p:tag name="VMAPS_LEFT" val="503.4936"/>
  <p:tag name="VMAPS_TOP" val="305.0291"/>
  <p:tag name="VMAPS_WIDTH" val="4.212677"/>
  <p:tag name="VMAPS_HEIGHT" val="4.802992"/>
</p:tagLst>
</file>

<file path=ppt/tags/tag1144.xml><?xml version="1.0" encoding="utf-8"?>
<p:tagLst xmlns:a="http://schemas.openxmlformats.org/drawingml/2006/main" xmlns:r="http://schemas.openxmlformats.org/officeDocument/2006/relationships" xmlns:p="http://schemas.openxmlformats.org/presentationml/2006/main">
  <p:tag name="VMAPS" val="MAP"/>
  <p:tag name="VMAPS_LEFT" val="472.3848"/>
  <p:tag name="VMAPS_TOP" val="364.156"/>
  <p:tag name="VMAPS_WIDTH" val="38.56205"/>
  <p:tag name="VMAPS_HEIGHT" val="35.2774"/>
</p:tagLst>
</file>

<file path=ppt/tags/tag1145.xml><?xml version="1.0" encoding="utf-8"?>
<p:tagLst xmlns:a="http://schemas.openxmlformats.org/drawingml/2006/main" xmlns:r="http://schemas.openxmlformats.org/officeDocument/2006/relationships" xmlns:p="http://schemas.openxmlformats.org/presentationml/2006/main">
  <p:tag name="VMAPS" val="MAP"/>
  <p:tag name="VMAPS_LEFT" val="497.0126"/>
  <p:tag name="VMAPS_TOP" val="382.2087"/>
  <p:tag name="VMAPS_WIDTH" val="5.346929"/>
  <p:tag name="VMAPS_HEIGHT" val="5.796772"/>
</p:tagLst>
</file>

<file path=ppt/tags/tag1146.xml><?xml version="1.0" encoding="utf-8"?>
<p:tagLst xmlns:a="http://schemas.openxmlformats.org/drawingml/2006/main" xmlns:r="http://schemas.openxmlformats.org/officeDocument/2006/relationships" xmlns:p="http://schemas.openxmlformats.org/presentationml/2006/main">
  <p:tag name="VMAPS" val="MAP"/>
  <p:tag name="VMAPS_LEFT" val="506.2481"/>
  <p:tag name="VMAPS_TOP" val="374.4245"/>
  <p:tag name="VMAPS_WIDTH" val="3.078504"/>
  <p:tag name="VMAPS_HEIGHT" val="3.809291"/>
</p:tagLst>
</file>

<file path=ppt/tags/tag1147.xml><?xml version="1.0" encoding="utf-8"?>
<p:tagLst xmlns:a="http://schemas.openxmlformats.org/drawingml/2006/main" xmlns:r="http://schemas.openxmlformats.org/officeDocument/2006/relationships" xmlns:p="http://schemas.openxmlformats.org/presentationml/2006/main">
  <p:tag name="VMAPS" val="MAP"/>
  <p:tag name="VMAPS_LEFT" val="511.919"/>
  <p:tag name="VMAPS_TOP" val="328.3816"/>
  <p:tag name="VMAPS_WIDTH" val="7.615275"/>
  <p:tag name="VMAPS_HEIGHT" val="21.19961"/>
</p:tagLst>
</file>

<file path=ppt/tags/tag1148.xml><?xml version="1.0" encoding="utf-8"?>
<p:tagLst xmlns:a="http://schemas.openxmlformats.org/drawingml/2006/main" xmlns:r="http://schemas.openxmlformats.org/officeDocument/2006/relationships" xmlns:p="http://schemas.openxmlformats.org/presentationml/2006/main">
  <p:tag name="VMAPS" val="MAP"/>
  <p:tag name="VMAPS_LEFT" val="621.4481"/>
  <p:tag name="VMAPS_TOP" val="217.4152"/>
  <p:tag name="VMAPS_WIDTH" val="19.76709"/>
  <p:tag name="VMAPS_HEIGHT" val="10.9311"/>
</p:tagLst>
</file>

<file path=ppt/tags/tag1149.xml><?xml version="1.0" encoding="utf-8"?>
<p:tagLst xmlns:a="http://schemas.openxmlformats.org/drawingml/2006/main" xmlns:r="http://schemas.openxmlformats.org/officeDocument/2006/relationships" xmlns:p="http://schemas.openxmlformats.org/presentationml/2006/main">
  <p:tag name="VMAPS" val="MAP"/>
  <p:tag name="VMAPS_LEFT" val="622.5823"/>
  <p:tag name="VMAPS_TOP" val="156.9632"/>
  <p:tag name="VMAPS_WIDTH" val="70.4811"/>
  <p:tag name="VMAPS_HEIGHT" val="28.48693"/>
</p:tagLst>
</file>

<file path=ppt/tags/tag115.xml><?xml version="1.0" encoding="utf-8"?>
<p:tagLst xmlns:a="http://schemas.openxmlformats.org/drawingml/2006/main" xmlns:r="http://schemas.openxmlformats.org/officeDocument/2006/relationships" xmlns:p="http://schemas.openxmlformats.org/presentationml/2006/main">
  <p:tag name="SHAPETYPE" val="footer"/>
</p:tagLst>
</file>

<file path=ppt/tags/tag1150.xml><?xml version="1.0" encoding="utf-8"?>
<p:tagLst xmlns:a="http://schemas.openxmlformats.org/drawingml/2006/main" xmlns:r="http://schemas.openxmlformats.org/officeDocument/2006/relationships" xmlns:p="http://schemas.openxmlformats.org/presentationml/2006/main">
  <p:tag name="VMAPS" val="MAP"/>
  <p:tag name="VMAPS_LEFT" val="652.8809"/>
  <p:tag name="VMAPS_TOP" val="222.8806"/>
  <p:tag name="VMAPS_WIDTH" val="21.06331"/>
  <p:tag name="VMAPS_HEIGHT" val="51.0115"/>
</p:tagLst>
</file>

<file path=ppt/tags/tag1151.xml><?xml version="1.0" encoding="utf-8"?>
<p:tagLst xmlns:a="http://schemas.openxmlformats.org/drawingml/2006/main" xmlns:r="http://schemas.openxmlformats.org/officeDocument/2006/relationships" xmlns:p="http://schemas.openxmlformats.org/presentationml/2006/main">
  <p:tag name="VMAPS" val="MAP"/>
  <p:tag name="VMAPS_LEFT" val="692.5773"/>
  <p:tag name="VMAPS_TOP" val="245.7365"/>
  <p:tag name="VMAPS_WIDTH" val="5.022835"/>
  <p:tag name="VMAPS_HEIGHT" val="5.465512"/>
</p:tagLst>
</file>

<file path=ppt/tags/tag1152.xml><?xml version="1.0" encoding="utf-8"?>
<p:tagLst xmlns:a="http://schemas.openxmlformats.org/drawingml/2006/main" xmlns:r="http://schemas.openxmlformats.org/officeDocument/2006/relationships" xmlns:p="http://schemas.openxmlformats.org/presentationml/2006/main">
  <p:tag name="VMAPS" val="MAP"/>
  <p:tag name="VMAPS_LEFT" val="671.9999"/>
  <p:tag name="VMAPS_TOP" val="239.2772"/>
  <p:tag name="VMAPS_WIDTH" val="19.2811"/>
  <p:tag name="VMAPS_HEIGHT" val="23.84945"/>
</p:tagLst>
</file>

<file path=ppt/tags/tag1153.xml><?xml version="1.0" encoding="utf-8"?>
<p:tagLst xmlns:a="http://schemas.openxmlformats.org/drawingml/2006/main" xmlns:r="http://schemas.openxmlformats.org/officeDocument/2006/relationships" xmlns:p="http://schemas.openxmlformats.org/presentationml/2006/main">
  <p:tag name="VMAPS" val="MAP"/>
  <p:tag name="VMAPS_LEFT" val="666.6531"/>
  <p:tag name="VMAPS_TOP" val="243.9146"/>
  <p:tag name="VMAPS_WIDTH" val="19.76709"/>
  <p:tag name="VMAPS_HEIGHT" val="42.56472"/>
</p:tagLst>
</file>

<file path=ppt/tags/tag1154.xml><?xml version="1.0" encoding="utf-8"?>
<p:tagLst xmlns:a="http://schemas.openxmlformats.org/drawingml/2006/main" xmlns:r="http://schemas.openxmlformats.org/officeDocument/2006/relationships" xmlns:p="http://schemas.openxmlformats.org/presentationml/2006/main">
  <p:tag name="VMAPS" val="MAP"/>
  <p:tag name="VMAPS_LEFT" val="676.0507"/>
  <p:tag name="VMAPS_TOP" val="236.7929"/>
  <p:tag name="VMAPS_WIDTH" val="20.4152"/>
  <p:tag name="VMAPS_HEIGHT" val="41.23977"/>
</p:tagLst>
</file>

<file path=ppt/tags/tag1155.xml><?xml version="1.0" encoding="utf-8"?>
<p:tagLst xmlns:a="http://schemas.openxmlformats.org/drawingml/2006/main" xmlns:r="http://schemas.openxmlformats.org/officeDocument/2006/relationships" xmlns:p="http://schemas.openxmlformats.org/presentationml/2006/main">
  <p:tag name="VMAPS" val="MAP"/>
  <p:tag name="VMAPS_LEFT" val="641.2151"/>
  <p:tag name="VMAPS_TOP" val="227.8493"/>
  <p:tag name="VMAPS_WIDTH" val="11.98984"/>
  <p:tag name="VMAPS_HEIGHT" val="15.56843"/>
</p:tagLst>
</file>

<file path=ppt/tags/tag1156.xml><?xml version="1.0" encoding="utf-8"?>
<p:tagLst xmlns:a="http://schemas.openxmlformats.org/drawingml/2006/main" xmlns:r="http://schemas.openxmlformats.org/officeDocument/2006/relationships" xmlns:p="http://schemas.openxmlformats.org/presentationml/2006/main">
  <p:tag name="VMAPS" val="MAP"/>
  <p:tag name="VMAPS_LEFT" val="642.1873"/>
  <p:tag name="VMAPS_TOP" val="222.8806"/>
  <p:tag name="VMAPS_WIDTH" val="8.263386"/>
  <p:tag name="VMAPS_HEIGHT" val="4.140472"/>
</p:tagLst>
</file>

<file path=ppt/tags/tag1157.xml><?xml version="1.0" encoding="utf-8"?>
<p:tagLst xmlns:a="http://schemas.openxmlformats.org/drawingml/2006/main" xmlns:r="http://schemas.openxmlformats.org/officeDocument/2006/relationships" xmlns:p="http://schemas.openxmlformats.org/presentationml/2006/main">
  <p:tag name="VMAPS" val="MAP"/>
  <p:tag name="VMAPS_LEFT" val="625.9848"/>
  <p:tag name="VMAPS_TOP" val="274.7203"/>
  <p:tag name="VMAPS_WIDTH" val="5.022835"/>
  <p:tag name="VMAPS_HEIGHT" val="10.76535"/>
</p:tagLst>
</file>

<file path=ppt/tags/tag1158.xml><?xml version="1.0" encoding="utf-8"?>
<p:tagLst xmlns:a="http://schemas.openxmlformats.org/drawingml/2006/main" xmlns:r="http://schemas.openxmlformats.org/officeDocument/2006/relationships" xmlns:p="http://schemas.openxmlformats.org/presentationml/2006/main">
  <p:tag name="VMAPS" val="MAP"/>
  <p:tag name="VMAPS_LEFT" val="679.4531"/>
  <p:tag name="VMAPS_TOP" val="260.9737"/>
  <p:tag name="VMAPS_WIDTH" val="12.63795"/>
  <p:tag name="VMAPS_HEIGHT" val="11.9248"/>
</p:tagLst>
</file>

<file path=ppt/tags/tag1159.xml><?xml version="1.0" encoding="utf-8"?>
<p:tagLst xmlns:a="http://schemas.openxmlformats.org/drawingml/2006/main" xmlns:r="http://schemas.openxmlformats.org/officeDocument/2006/relationships" xmlns:p="http://schemas.openxmlformats.org/presentationml/2006/main">
  <p:tag name="VMAPS" val="MAP"/>
  <p:tag name="VMAPS_LEFT" val="594.7139"/>
  <p:tag name="VMAPS_TOP" val="201.0186"/>
  <p:tag name="VMAPS_WIDTH" val="67.56464"/>
  <p:tag name="VMAPS_HEIGHT" val="78.0078"/>
</p:tagLst>
</file>

<file path=ppt/tags/tag11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60.xml><?xml version="1.0" encoding="utf-8"?>
<p:tagLst xmlns:a="http://schemas.openxmlformats.org/drawingml/2006/main" xmlns:r="http://schemas.openxmlformats.org/officeDocument/2006/relationships" xmlns:p="http://schemas.openxmlformats.org/presentationml/2006/main">
  <p:tag name="VMAPS" val="MAP"/>
  <p:tag name="VMAPS_LEFT" val="718.0151"/>
  <p:tag name="VMAPS_TOP" val="230.8306"/>
  <p:tag name="VMAPS_WIDTH" val="3.402598"/>
  <p:tag name="VMAPS_HEIGHT" val="9.771653"/>
</p:tagLst>
</file>

<file path=ppt/tags/tag1161.xml><?xml version="1.0" encoding="utf-8"?>
<p:tagLst xmlns:a="http://schemas.openxmlformats.org/drawingml/2006/main" xmlns:r="http://schemas.openxmlformats.org/officeDocument/2006/relationships" xmlns:p="http://schemas.openxmlformats.org/presentationml/2006/main">
  <p:tag name="VMAPS" val="MAP"/>
  <p:tag name="VMAPS_LEFT" val="708.7798"/>
  <p:tag name="VMAPS_TOP" val="287.6387"/>
  <p:tag name="VMAPS_WIDTH" val="3.402598"/>
  <p:tag name="VMAPS_HEIGHT" val="2.815591"/>
</p:tagLst>
</file>

<file path=ppt/tags/tag1162.xml><?xml version="1.0" encoding="utf-8"?>
<p:tagLst xmlns:a="http://schemas.openxmlformats.org/drawingml/2006/main" xmlns:r="http://schemas.openxmlformats.org/officeDocument/2006/relationships" xmlns:p="http://schemas.openxmlformats.org/presentationml/2006/main">
  <p:tag name="VMAPS" val="MAP"/>
  <p:tag name="VMAPS_LEFT" val="721.2557"/>
  <p:tag name="VMAPS_TOP" val="194.2281"/>
  <p:tag name="VMAPS_WIDTH" val="8.425276"/>
  <p:tag name="VMAPS_HEIGHT" val="11.75913"/>
</p:tagLst>
</file>

<file path=ppt/tags/tag1163.xml><?xml version="1.0" encoding="utf-8"?>
<p:tagLst xmlns:a="http://schemas.openxmlformats.org/drawingml/2006/main" xmlns:r="http://schemas.openxmlformats.org/officeDocument/2006/relationships" xmlns:p="http://schemas.openxmlformats.org/presentationml/2006/main">
  <p:tag name="VMAPS" val="MAP"/>
  <p:tag name="VMAPS_LEFT" val="713.4785"/>
  <p:tag name="VMAPS_TOP" val="181.972"/>
  <p:tag name="VMAPS_WIDTH" val="10.69362"/>
  <p:tag name="VMAPS_HEIGHT" val="14.40913"/>
</p:tagLst>
</file>

<file path=ppt/tags/tag1164.xml><?xml version="1.0" encoding="utf-8"?>
<p:tagLst xmlns:a="http://schemas.openxmlformats.org/drawingml/2006/main" xmlns:r="http://schemas.openxmlformats.org/officeDocument/2006/relationships" xmlns:p="http://schemas.openxmlformats.org/presentationml/2006/main">
  <p:tag name="VMAPS" val="MAP"/>
  <p:tag name="VMAPS_LEFT" val="856.3847"/>
  <p:tag name="VMAPS_TOP" val="347.2625"/>
  <p:tag name="VMAPS_WIDTH" val="7.615275"/>
  <p:tag name="VMAPS_HEIGHT" val="5.465669"/>
</p:tagLst>
</file>

<file path=ppt/tags/tag1165.xml><?xml version="1.0" encoding="utf-8"?>
<p:tagLst xmlns:a="http://schemas.openxmlformats.org/drawingml/2006/main" xmlns:r="http://schemas.openxmlformats.org/officeDocument/2006/relationships" xmlns:p="http://schemas.openxmlformats.org/presentationml/2006/main">
  <p:tag name="VMAPS" val="MAP"/>
  <p:tag name="VMAPS_LEFT" val="823.4937"/>
  <p:tag name="VMAPS_TOP" val="358.856"/>
  <p:tag name="VMAPS_WIDTH" val="5.508898"/>
  <p:tag name="VMAPS_HEIGHT" val="5.796772"/>
</p:tagLst>
</file>

<file path=ppt/tags/tag1166.xml><?xml version="1.0" encoding="utf-8"?>
<p:tagLst xmlns:a="http://schemas.openxmlformats.org/drawingml/2006/main" xmlns:r="http://schemas.openxmlformats.org/officeDocument/2006/relationships" xmlns:p="http://schemas.openxmlformats.org/presentationml/2006/main">
  <p:tag name="VMAPS" val="MAP"/>
  <p:tag name="VMAPS_LEFT" val="533.9544"/>
  <p:tag name="VMAPS_TOP" val="266.2735"/>
  <p:tag name="VMAPS_WIDTH" val="3.564567"/>
  <p:tag name="VMAPS_HEIGHT" val="5.299921"/>
</p:tagLst>
</file>

<file path=ppt/tags/tag1167.xml><?xml version="1.0" encoding="utf-8"?>
<p:tagLst xmlns:a="http://schemas.openxmlformats.org/drawingml/2006/main" xmlns:r="http://schemas.openxmlformats.org/officeDocument/2006/relationships" xmlns:p="http://schemas.openxmlformats.org/presentationml/2006/main">
  <p:tag name="VMAPS" val="MAP"/>
  <p:tag name="VMAPS_LEFT" val="832.8911"/>
  <p:tag name="VMAPS_TOP" val="342.9563"/>
  <p:tag name="VMAPS_WIDTH" val="2.916457"/>
  <p:tag name="VMAPS_HEIGHT" val="5.134252"/>
</p:tagLst>
</file>

<file path=ppt/tags/tag1168.xml><?xml version="1.0" encoding="utf-8"?>
<p:tagLst xmlns:a="http://schemas.openxmlformats.org/drawingml/2006/main" xmlns:r="http://schemas.openxmlformats.org/officeDocument/2006/relationships" xmlns:p="http://schemas.openxmlformats.org/presentationml/2006/main">
  <p:tag name="VMAPS" val="MAP"/>
  <p:tag name="VMAPS_LEFT" val="448.7291"/>
  <p:tag name="VMAPS_TOP" val="161.7662"/>
  <p:tag name="VMAPS_WIDTH" val="0.972126"/>
  <p:tag name="VMAPS_HEIGHT" val="1.324961"/>
</p:tagLst>
</file>

<file path=ppt/tags/tag1169.xml><?xml version="1.0" encoding="utf-8"?>
<p:tagLst xmlns:a="http://schemas.openxmlformats.org/drawingml/2006/main" xmlns:r="http://schemas.openxmlformats.org/officeDocument/2006/relationships" xmlns:p="http://schemas.openxmlformats.org/presentationml/2006/main">
  <p:tag name="VMAPS" val="MAP"/>
  <p:tag name="VMAPS_LEFT" val="496.2025"/>
  <p:tag name="VMAPS_TOP" val="131.4575"/>
  <p:tag name="VMAPS_WIDTH" val="5.670945"/>
  <p:tag name="VMAPS_HEIGHT" val="4.63748"/>
</p:tagLst>
</file>

<file path=ppt/tags/tag1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70.xml><?xml version="1.0" encoding="utf-8"?>
<p:tagLst xmlns:a="http://schemas.openxmlformats.org/drawingml/2006/main" xmlns:r="http://schemas.openxmlformats.org/officeDocument/2006/relationships" xmlns:p="http://schemas.openxmlformats.org/presentationml/2006/main">
  <p:tag name="VMAPS" val="MAP"/>
  <p:tag name="VMAPS_LEFT" val="652.8809"/>
  <p:tag name="VMAPS_TOP" val="147.3572"/>
  <p:tag name="VMAPS_WIDTH" val="7.615275"/>
  <p:tag name="VMAPS_HEIGHT" val="10.9311"/>
</p:tagLst>
</file>

<file path=ppt/tags/tag1171.xml><?xml version="1.0" encoding="utf-8"?>
<p:tagLst xmlns:a="http://schemas.openxmlformats.org/drawingml/2006/main" xmlns:r="http://schemas.openxmlformats.org/officeDocument/2006/relationships" xmlns:p="http://schemas.openxmlformats.org/presentationml/2006/main">
  <p:tag name="VMAPS" val="MAP"/>
  <p:tag name="VMAPS_LEFT" val="510.321"/>
  <p:tag name="VMAPS_TOP" val="301.1337"/>
  <p:tag name="VMAPS_WIDTH" val="6.823543"/>
  <p:tag name="VMAPS_HEIGHT" val="8.97622"/>
</p:tagLst>
</file>

<file path=ppt/tags/tag1172.xml><?xml version="1.0" encoding="utf-8"?>
<p:tagLst xmlns:a="http://schemas.openxmlformats.org/drawingml/2006/main" xmlns:r="http://schemas.openxmlformats.org/officeDocument/2006/relationships" xmlns:p="http://schemas.openxmlformats.org/presentationml/2006/main">
  <p:tag name="VMAPS" val="MAP"/>
  <p:tag name="VMAPS_LEFT" val="514.132"/>
  <p:tag name="VMAPS_TOP" val="328.5081"/>
  <p:tag name="VMAPS_WIDTH" val="4.75622"/>
  <p:tag name="VMAPS_HEIGHT" val="13.73858"/>
</p:tagLst>
</file>

<file path=ppt/tags/tag1173.xml><?xml version="1.0" encoding="utf-8"?>
<p:tagLst xmlns:a="http://schemas.openxmlformats.org/drawingml/2006/main" xmlns:r="http://schemas.openxmlformats.org/officeDocument/2006/relationships" xmlns:p="http://schemas.openxmlformats.org/presentationml/2006/main">
  <p:tag name="VMAPS" val="MAP"/>
  <p:tag name="VMAPS_LEFT" val="504.7899"/>
  <p:tag name="VMAPS_TOP" val="305.0291"/>
  <p:tag name="VMAPS_WIDTH" val="25.92402"/>
  <p:tag name="VMAPS_HEIGHT" val="29.97748"/>
</p:tagLst>
</file>

<file path=ppt/tags/tag1174.xml><?xml version="1.0" encoding="utf-8"?>
<p:tagLst xmlns:a="http://schemas.openxmlformats.org/drawingml/2006/main" xmlns:r="http://schemas.openxmlformats.org/officeDocument/2006/relationships" xmlns:p="http://schemas.openxmlformats.org/presentationml/2006/main">
  <p:tag name="VMAPS" val="MAP"/>
  <p:tag name="VMAPS_LEFT" val="504.0588"/>
  <p:tag name="VMAPS_TOP" val="311.888"/>
  <p:tag name="VMAPS_WIDTH" val="4.534567"/>
  <p:tag name="VMAPS_HEIGHT" val="14.39142"/>
</p:tagLst>
</file>

<file path=ppt/tags/tag1175.xml><?xml version="1.0" encoding="utf-8"?>
<p:tagLst xmlns:a="http://schemas.openxmlformats.org/drawingml/2006/main" xmlns:r="http://schemas.openxmlformats.org/officeDocument/2006/relationships" xmlns:p="http://schemas.openxmlformats.org/presentationml/2006/main">
  <p:tag name="VMAPS" val="MAP"/>
  <p:tag name="VMAPS_LEFT" val="236.476"/>
  <p:tag name="VMAPS_TOP" val="103.7986"/>
  <p:tag name="VMAPS_WIDTH" val="28.6785"/>
  <p:tag name="VMAPS_HEIGHT" val="10.76535"/>
</p:tagLst>
</file>

<file path=ppt/tags/tag1176.xml><?xml version="1.0" encoding="utf-8"?>
<p:tagLst xmlns:a="http://schemas.openxmlformats.org/drawingml/2006/main" xmlns:r="http://schemas.openxmlformats.org/officeDocument/2006/relationships" xmlns:p="http://schemas.openxmlformats.org/presentationml/2006/main">
  <p:tag name="VMAPS" val="MAP"/>
  <p:tag name="VMAPS_LEFT" val="212.3343"/>
  <p:tag name="VMAPS_TOP" val="128.3106"/>
  <p:tag name="VMAPS_WIDTH" val="21.38732"/>
  <p:tag name="VMAPS_HEIGHT" val="5.465512"/>
</p:tagLst>
</file>

<file path=ppt/tags/tag1177.xml><?xml version="1.0" encoding="utf-8"?>
<p:tagLst xmlns:a="http://schemas.openxmlformats.org/drawingml/2006/main" xmlns:r="http://schemas.openxmlformats.org/officeDocument/2006/relationships" xmlns:p="http://schemas.openxmlformats.org/presentationml/2006/main">
  <p:tag name="VMAPS" val="MAP"/>
  <p:tag name="VMAPS_LEFT" val="220.7595"/>
  <p:tag name="VMAPS_TOP" val="136.0949"/>
  <p:tag name="VMAPS_WIDTH" val="10.6937"/>
  <p:tag name="VMAPS_HEIGHT" val="3.14685"/>
</p:tagLst>
</file>

<file path=ppt/tags/tag1178.xml><?xml version="1.0" encoding="utf-8"?>
<p:tagLst xmlns:a="http://schemas.openxmlformats.org/drawingml/2006/main" xmlns:r="http://schemas.openxmlformats.org/officeDocument/2006/relationships" xmlns:p="http://schemas.openxmlformats.org/presentationml/2006/main">
  <p:tag name="VMAPS" val="MAP"/>
  <p:tag name="VMAPS_LEFT" val="212.3343"/>
  <p:tag name="VMAPS_TOP" val="118.539"/>
  <p:tag name="VMAPS_WIDTH" val="14.90638"/>
  <p:tag name="VMAPS_HEIGHT" val="5.465512"/>
</p:tagLst>
</file>

<file path=ppt/tags/tag1179.xml><?xml version="1.0" encoding="utf-8"?>
<p:tagLst xmlns:a="http://schemas.openxmlformats.org/drawingml/2006/main" xmlns:r="http://schemas.openxmlformats.org/officeDocument/2006/relationships" xmlns:p="http://schemas.openxmlformats.org/presentationml/2006/main">
  <p:tag name="VMAPS" val="MAP"/>
  <p:tag name="VMAPS_LEFT" val="168.2633"/>
  <p:tag name="VMAPS_TOP" val="160.2757"/>
  <p:tag name="VMAPS_WIDTH" val="6.643071"/>
  <p:tag name="VMAPS_HEIGHT" val="6.624803"/>
</p:tagLst>
</file>

<file path=ppt/tags/tag11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180.xml><?xml version="1.0" encoding="utf-8"?>
<p:tagLst xmlns:a="http://schemas.openxmlformats.org/drawingml/2006/main" xmlns:r="http://schemas.openxmlformats.org/officeDocument/2006/relationships" xmlns:p="http://schemas.openxmlformats.org/presentationml/2006/main">
  <p:tag name="VMAPS" val="MAP"/>
  <p:tag name="VMAPS_LEFT" val="303.5544"/>
  <p:tag name="VMAPS_TOP" val="170.3787"/>
  <p:tag name="VMAPS_WIDTH" val="3.402598"/>
  <p:tag name="VMAPS_HEIGHT" val="3.974961"/>
</p:tagLst>
</file>

<file path=ppt/tags/tag1181.xml><?xml version="1.0" encoding="utf-8"?>
<p:tagLst xmlns:a="http://schemas.openxmlformats.org/drawingml/2006/main" xmlns:r="http://schemas.openxmlformats.org/officeDocument/2006/relationships" xmlns:p="http://schemas.openxmlformats.org/presentationml/2006/main">
  <p:tag name="VMAPS" val="MAP"/>
  <p:tag name="VMAPS_LEFT" val="300.962"/>
  <p:tag name="VMAPS_TOP" val="162.4287"/>
  <p:tag name="VMAPS_WIDTH" val="5.346929"/>
  <p:tag name="VMAPS_HEIGHT" val="2.15315"/>
</p:tagLst>
</file>

<file path=ppt/tags/tag1182.xml><?xml version="1.0" encoding="utf-8"?>
<p:tagLst xmlns:a="http://schemas.openxmlformats.org/drawingml/2006/main" xmlns:r="http://schemas.openxmlformats.org/officeDocument/2006/relationships" xmlns:p="http://schemas.openxmlformats.org/presentationml/2006/main">
  <p:tag name="VMAPS" val="MAP"/>
  <p:tag name="VMAPS_LEFT" val="297.8835"/>
  <p:tag name="VMAPS_TOP" val="170.3787"/>
  <p:tag name="VMAPS_WIDTH" val="4.860787"/>
  <p:tag name="VMAPS_HEIGHT" val="2.981181"/>
</p:tagLst>
</file>

<file path=ppt/tags/tag1183.xml><?xml version="1.0" encoding="utf-8"?>
<p:tagLst xmlns:a="http://schemas.openxmlformats.org/drawingml/2006/main" xmlns:r="http://schemas.openxmlformats.org/officeDocument/2006/relationships" xmlns:p="http://schemas.openxmlformats.org/presentationml/2006/main">
  <p:tag name="VMAPS" val="MAP"/>
  <p:tag name="VMAPS_LEFT" val="256.405"/>
  <p:tag name="VMAPS_TOP" val="173.3598"/>
  <p:tag name="VMAPS_WIDTH" val="2.754488"/>
  <p:tag name="VMAPS_HEIGHT" val="1.324961"/>
</p:tagLst>
</file>

<file path=ppt/tags/tag1184.xml><?xml version="1.0" encoding="utf-8"?>
<p:tagLst xmlns:a="http://schemas.openxmlformats.org/drawingml/2006/main" xmlns:r="http://schemas.openxmlformats.org/officeDocument/2006/relationships" xmlns:p="http://schemas.openxmlformats.org/presentationml/2006/main">
  <p:tag name="VMAPS" val="MAP"/>
  <p:tag name="VMAPS_LEFT" val="315.5443"/>
  <p:tag name="VMAPS_TOP" val="170.3787"/>
  <p:tag name="VMAPS_WIDTH" val="0.3240157"/>
  <p:tag name="VMAPS_HEIGHT" val="0.662441"/>
</p:tagLst>
</file>

<file path=ppt/tags/tag1185.xml><?xml version="1.0" encoding="utf-8"?>
<p:tagLst xmlns:a="http://schemas.openxmlformats.org/drawingml/2006/main" xmlns:r="http://schemas.openxmlformats.org/officeDocument/2006/relationships" xmlns:p="http://schemas.openxmlformats.org/presentationml/2006/main">
  <p:tag name="VMAPS" val="MAP"/>
  <p:tag name="VMAPS_LEFT" val="286.2178"/>
  <p:tag name="VMAPS_TOP" val="129.8013"/>
  <p:tag name="VMAPS_WIDTH" val="2.430394"/>
  <p:tag name="VMAPS_HEIGHT" val="1.98748"/>
</p:tagLst>
</file>

<file path=ppt/tags/tag1186.xml><?xml version="1.0" encoding="utf-8"?>
<p:tagLst xmlns:a="http://schemas.openxmlformats.org/drawingml/2006/main" xmlns:r="http://schemas.openxmlformats.org/officeDocument/2006/relationships" xmlns:p="http://schemas.openxmlformats.org/presentationml/2006/main">
  <p:tag name="VMAPS" val="MAP"/>
  <p:tag name="VMAPS_LEFT" val="280.0608"/>
  <p:tag name="VMAPS_TOP" val="128.3106"/>
  <p:tag name="VMAPS_WIDTH" val="4.050709"/>
  <p:tag name="VMAPS_HEIGHT" val="1.82189"/>
</p:tagLst>
</file>

<file path=ppt/tags/tag1187.xml><?xml version="1.0" encoding="utf-8"?>
<p:tagLst xmlns:a="http://schemas.openxmlformats.org/drawingml/2006/main" xmlns:r="http://schemas.openxmlformats.org/officeDocument/2006/relationships" xmlns:p="http://schemas.openxmlformats.org/presentationml/2006/main">
  <p:tag name="VMAPS" val="MAP"/>
  <p:tag name="VMAPS_LEFT" val="276.6582"/>
  <p:tag name="VMAPS_TOP" val="121.3546"/>
  <p:tag name="VMAPS_WIDTH" val="13.28606"/>
  <p:tag name="VMAPS_HEIGHT" val="6.624803"/>
</p:tagLst>
</file>

<file path=ppt/tags/tag1188.xml><?xml version="1.0" encoding="utf-8"?>
<p:tagLst xmlns:a="http://schemas.openxmlformats.org/drawingml/2006/main" xmlns:r="http://schemas.openxmlformats.org/officeDocument/2006/relationships" xmlns:p="http://schemas.openxmlformats.org/presentationml/2006/main">
  <p:tag name="VMAPS" val="MAP"/>
  <p:tag name="VMAPS_LEFT" val="245.3873"/>
  <p:tag name="VMAPS_TOP" val="94.52386"/>
  <p:tag name="VMAPS_WIDTH" val="14.74433"/>
  <p:tag name="VMAPS_HEIGHT" val="3.643622"/>
</p:tagLst>
</file>

<file path=ppt/tags/tag1189.xml><?xml version="1.0" encoding="utf-8"?>
<p:tagLst xmlns:a="http://schemas.openxmlformats.org/drawingml/2006/main" xmlns:r="http://schemas.openxmlformats.org/officeDocument/2006/relationships" xmlns:p="http://schemas.openxmlformats.org/presentationml/2006/main">
  <p:tag name="VMAPS" val="MAP"/>
  <p:tag name="VMAPS_LEFT" val="250.5722"/>
  <p:tag name="VMAPS_TOP" val="96.18008"/>
  <p:tag name="VMAPS_WIDTH" val="21.38732"/>
  <p:tag name="VMAPS_HEIGHT" val="4.968661"/>
</p:tagLst>
</file>

<file path=ppt/tags/tag1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190.xml><?xml version="1.0" encoding="utf-8"?>
<p:tagLst xmlns:a="http://schemas.openxmlformats.org/drawingml/2006/main" xmlns:r="http://schemas.openxmlformats.org/officeDocument/2006/relationships" xmlns:p="http://schemas.openxmlformats.org/presentationml/2006/main">
  <p:tag name="VMAPS" val="MAP"/>
  <p:tag name="VMAPS_LEFT" val="264.8305"/>
  <p:tag name="VMAPS_TOP" val="111.5829"/>
  <p:tag name="VMAPS_WIDTH" val="7.615275"/>
  <p:tag name="VMAPS_HEIGHT" val="2.981181"/>
</p:tagLst>
</file>

<file path=ppt/tags/tag1191.xml><?xml version="1.0" encoding="utf-8"?>
<p:tagLst xmlns:a="http://schemas.openxmlformats.org/drawingml/2006/main" xmlns:r="http://schemas.openxmlformats.org/officeDocument/2006/relationships" xmlns:p="http://schemas.openxmlformats.org/presentationml/2006/main">
  <p:tag name="VMAPS" val="MAP"/>
  <p:tag name="VMAPS_LEFT" val="263.3721"/>
  <p:tag name="VMAPS_TOP" val="103.1361"/>
  <p:tag name="VMAPS_WIDTH" val="4.212677"/>
  <p:tag name="VMAPS_HEIGHT" val="1.49063"/>
</p:tagLst>
</file>

<file path=ppt/tags/tag1192.xml><?xml version="1.0" encoding="utf-8"?>
<p:tagLst xmlns:a="http://schemas.openxmlformats.org/drawingml/2006/main" xmlns:r="http://schemas.openxmlformats.org/officeDocument/2006/relationships" xmlns:p="http://schemas.openxmlformats.org/presentationml/2006/main">
  <p:tag name="VMAPS" val="MAP"/>
  <p:tag name="VMAPS_LEFT" val="227.2406"/>
  <p:tag name="VMAPS_TOP" val="100.8175"/>
  <p:tag name="VMAPS_WIDTH" val="21.87346"/>
  <p:tag name="VMAPS_HEIGHT" val="8.115512"/>
</p:tagLst>
</file>

<file path=ppt/tags/tag1193.xml><?xml version="1.0" encoding="utf-8"?>
<p:tagLst xmlns:a="http://schemas.openxmlformats.org/drawingml/2006/main" xmlns:r="http://schemas.openxmlformats.org/officeDocument/2006/relationships" xmlns:p="http://schemas.openxmlformats.org/presentationml/2006/main">
  <p:tag name="VMAPS" val="MAP"/>
  <p:tag name="VMAPS_LEFT" val="249.1139"/>
  <p:tag name="VMAPS_TOP" val="97.8363"/>
  <p:tag name="VMAPS_WIDTH" val="4.374724"/>
  <p:tag name="VMAPS_HEIGHT" val="1.159291"/>
</p:tagLst>
</file>

<file path=ppt/tags/tag1194.xml><?xml version="1.0" encoding="utf-8"?>
<p:tagLst xmlns:a="http://schemas.openxmlformats.org/drawingml/2006/main" xmlns:r="http://schemas.openxmlformats.org/officeDocument/2006/relationships" xmlns:p="http://schemas.openxmlformats.org/presentationml/2006/main">
  <p:tag name="VMAPS" val="MAP"/>
  <p:tag name="VMAPS_LEFT" val="286.8659"/>
  <p:tag name="VMAPS_TOP" val="102.805"/>
  <p:tag name="VMAPS_WIDTH" val="42.28866"/>
  <p:tag name="VMAPS_HEIGHT" val="28.32134"/>
</p:tagLst>
</file>

<file path=ppt/tags/tag1195.xml><?xml version="1.0" encoding="utf-8"?>
<p:tagLst xmlns:a="http://schemas.openxmlformats.org/drawingml/2006/main" xmlns:r="http://schemas.openxmlformats.org/officeDocument/2006/relationships" xmlns:p="http://schemas.openxmlformats.org/presentationml/2006/main">
  <p:tag name="VMAPS" val="MAP"/>
  <p:tag name="VMAPS_LEFT" val="299.3418"/>
  <p:tag name="VMAPS_TOP" val="84.08968"/>
  <p:tag name="VMAPS_WIDTH" val="55.57473"/>
  <p:tag name="VMAPS_HEIGHT" val="13.74654"/>
</p:tagLst>
</file>

<file path=ppt/tags/tag1196.xml><?xml version="1.0" encoding="utf-8"?>
<p:tagLst xmlns:a="http://schemas.openxmlformats.org/drawingml/2006/main" xmlns:r="http://schemas.openxmlformats.org/officeDocument/2006/relationships" xmlns:p="http://schemas.openxmlformats.org/presentationml/2006/main">
  <p:tag name="VMAPS" val="MAP"/>
  <p:tag name="VMAPS_LEFT" val="301.7722"/>
  <p:tag name="VMAPS_TOP" val="114.8954"/>
  <p:tag name="VMAPS_WIDTH" val="4.860787"/>
  <p:tag name="VMAPS_HEIGHT" val="2.981181"/>
</p:tagLst>
</file>

<file path=ppt/tags/tag1197.xml><?xml version="1.0" encoding="utf-8"?>
<p:tagLst xmlns:a="http://schemas.openxmlformats.org/drawingml/2006/main" xmlns:r="http://schemas.openxmlformats.org/officeDocument/2006/relationships" xmlns:p="http://schemas.openxmlformats.org/presentationml/2006/main">
  <p:tag name="VMAPS" val="MAP"/>
  <p:tag name="VMAPS_LEFT" val="280.0608"/>
  <p:tag name="VMAPS_TOP" val="102.1424"/>
  <p:tag name="VMAPS_WIDTH" val="12.15197"/>
  <p:tag name="VMAPS_HEIGHT" val="4.306142"/>
</p:tagLst>
</file>

<file path=ppt/tags/tag1198.xml><?xml version="1.0" encoding="utf-8"?>
<p:tagLst xmlns:a="http://schemas.openxmlformats.org/drawingml/2006/main" xmlns:r="http://schemas.openxmlformats.org/officeDocument/2006/relationships" xmlns:p="http://schemas.openxmlformats.org/presentationml/2006/main">
  <p:tag name="VMAPS" val="MAP"/>
  <p:tag name="VMAPS_LEFT" val="298.2076"/>
  <p:tag name="VMAPS_TOP" val="87.23653"/>
  <p:tag name="VMAPS_WIDTH" val="15.23039"/>
  <p:tag name="VMAPS_HEIGHT" val="6.127953"/>
</p:tagLst>
</file>

<file path=ppt/tags/tag1199.xml><?xml version="1.0" encoding="utf-8"?>
<p:tagLst xmlns:a="http://schemas.openxmlformats.org/drawingml/2006/main" xmlns:r="http://schemas.openxmlformats.org/officeDocument/2006/relationships" xmlns:p="http://schemas.openxmlformats.org/presentationml/2006/main">
  <p:tag name="VMAPS" val="MAP"/>
  <p:tag name="VMAPS_LEFT" val="267.0988"/>
  <p:tag name="VMAPS_TOP" val="92.37079"/>
  <p:tag name="VMAPS_WIDTH" val="6.967165"/>
  <p:tag name="VMAPS_HEIGHT" val="0.662441"/>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00.xml><?xml version="1.0" encoding="utf-8"?>
<p:tagLst xmlns:a="http://schemas.openxmlformats.org/drawingml/2006/main" xmlns:r="http://schemas.openxmlformats.org/officeDocument/2006/relationships" xmlns:p="http://schemas.openxmlformats.org/presentationml/2006/main">
  <p:tag name="VMAPS" val="MAP"/>
  <p:tag name="VMAPS_LEFT" val="265.4785"/>
  <p:tag name="VMAPS_TOP" val="93.36449"/>
  <p:tag name="VMAPS_WIDTH" val="6.480945"/>
  <p:tag name="VMAPS_HEIGHT" val="1.656142"/>
</p:tagLst>
</file>

<file path=ppt/tags/tag1201.xml><?xml version="1.0" encoding="utf-8"?>
<p:tagLst xmlns:a="http://schemas.openxmlformats.org/drawingml/2006/main" xmlns:r="http://schemas.openxmlformats.org/officeDocument/2006/relationships" xmlns:p="http://schemas.openxmlformats.org/presentationml/2006/main">
  <p:tag name="VMAPS" val="MAP"/>
  <p:tag name="VMAPS_LEFT" val="280.8709"/>
  <p:tag name="VMAPS_TOP" val="91.04583"/>
  <p:tag name="VMAPS_WIDTH" val="8.74937"/>
  <p:tag name="VMAPS_HEIGHT" val="3.312441"/>
</p:tagLst>
</file>

<file path=ppt/tags/tag1202.xml><?xml version="1.0" encoding="utf-8"?>
<p:tagLst xmlns:a="http://schemas.openxmlformats.org/drawingml/2006/main" xmlns:r="http://schemas.openxmlformats.org/officeDocument/2006/relationships" xmlns:p="http://schemas.openxmlformats.org/presentationml/2006/main">
  <p:tag name="VMAPS" val="MAP"/>
  <p:tag name="VMAPS_LEFT" val="290.7545"/>
  <p:tag name="VMAPS_TOP" val="91.70834"/>
  <p:tag name="VMAPS_WIDTH" val="5.508898"/>
  <p:tag name="VMAPS_HEIGHT" val="2.65"/>
</p:tagLst>
</file>

<file path=ppt/tags/tag1203.xml><?xml version="1.0" encoding="utf-8"?>
<p:tagLst xmlns:a="http://schemas.openxmlformats.org/drawingml/2006/main" xmlns:r="http://schemas.openxmlformats.org/officeDocument/2006/relationships" xmlns:p="http://schemas.openxmlformats.org/presentationml/2006/main">
  <p:tag name="VMAPS" val="MAP"/>
  <p:tag name="VMAPS_LEFT" val="269.0431"/>
  <p:tag name="VMAPS_TOP" val="102.4737"/>
  <p:tag name="VMAPS_WIDTH" val="11.34173"/>
  <p:tag name="VMAPS_HEIGHT" val="5.962441"/>
</p:tagLst>
</file>

<file path=ppt/tags/tag1204.xml><?xml version="1.0" encoding="utf-8"?>
<p:tagLst xmlns:a="http://schemas.openxmlformats.org/drawingml/2006/main" xmlns:r="http://schemas.openxmlformats.org/officeDocument/2006/relationships" xmlns:p="http://schemas.openxmlformats.org/presentationml/2006/main">
  <p:tag name="VMAPS" val="MAP"/>
  <p:tag name="VMAPS_LEFT" val="288.4861"/>
  <p:tag name="VMAPS_TOP" val="95.68315"/>
  <p:tag name="VMAPS_WIDTH" val="23.81772"/>
  <p:tag name="VMAPS_HEIGHT" val="5.465512"/>
</p:tagLst>
</file>

<file path=ppt/tags/tag1205.xml><?xml version="1.0" encoding="utf-8"?>
<p:tagLst xmlns:a="http://schemas.openxmlformats.org/drawingml/2006/main" xmlns:r="http://schemas.openxmlformats.org/officeDocument/2006/relationships" xmlns:p="http://schemas.openxmlformats.org/presentationml/2006/main">
  <p:tag name="VMAPS" val="MAP"/>
  <p:tag name="VMAPS_LEFT" val="313.924"/>
  <p:tag name="VMAPS_TOP" val="131.4574"/>
  <p:tag name="VMAPS_WIDTH" val="1.620236"/>
  <p:tag name="VMAPS_HEIGHT" val="0.8281102"/>
</p:tagLst>
</file>

<file path=ppt/tags/tag1206.xml><?xml version="1.0" encoding="utf-8"?>
<p:tagLst xmlns:a="http://schemas.openxmlformats.org/drawingml/2006/main" xmlns:r="http://schemas.openxmlformats.org/officeDocument/2006/relationships" xmlns:p="http://schemas.openxmlformats.org/presentationml/2006/main">
  <p:tag name="VMAPS" val="MAP"/>
  <p:tag name="VMAPS_LEFT" val="306.3089"/>
  <p:tag name="VMAPS_TOP" val="103.1361"/>
  <p:tag name="VMAPS_WIDTH" val="7.129055"/>
  <p:tag name="VMAPS_HEIGHT" val="1.49063"/>
</p:tagLst>
</file>

<file path=ppt/tags/tag1207.xml><?xml version="1.0" encoding="utf-8"?>
<p:tagLst xmlns:a="http://schemas.openxmlformats.org/drawingml/2006/main" xmlns:r="http://schemas.openxmlformats.org/officeDocument/2006/relationships" xmlns:p="http://schemas.openxmlformats.org/presentationml/2006/main">
  <p:tag name="VMAPS" val="MAP"/>
  <p:tag name="VMAPS_LEFT" val="292.6987"/>
  <p:tag name="VMAPS_TOP" val="89.5552"/>
  <p:tag name="VMAPS_WIDTH" val="1.944331"/>
  <p:tag name="VMAPS_HEIGHT" val="0.4968504"/>
</p:tagLst>
</file>

<file path=ppt/tags/tag1208.xml><?xml version="1.0" encoding="utf-8"?>
<p:tagLst xmlns:a="http://schemas.openxmlformats.org/drawingml/2006/main" xmlns:r="http://schemas.openxmlformats.org/officeDocument/2006/relationships" xmlns:p="http://schemas.openxmlformats.org/presentationml/2006/main">
  <p:tag name="VMAPS" val="MAP"/>
  <p:tag name="VMAPS_LEFT" val="275.6861"/>
  <p:tag name="VMAPS_TOP" val="96.18008"/>
  <p:tag name="VMAPS_WIDTH" val="11.01772"/>
  <p:tag name="VMAPS_HEIGHT" val="3.974961"/>
</p:tagLst>
</file>

<file path=ppt/tags/tag1209.xml><?xml version="1.0" encoding="utf-8"?>
<p:tagLst xmlns:a="http://schemas.openxmlformats.org/drawingml/2006/main" xmlns:r="http://schemas.openxmlformats.org/officeDocument/2006/relationships" xmlns:p="http://schemas.openxmlformats.org/presentationml/2006/main">
  <p:tag name="VMAPS" val="MAP"/>
  <p:tag name="VMAPS_LEFT" val="275.362"/>
  <p:tag name="VMAPS_TOP" val="96.51126"/>
  <p:tag name="VMAPS_WIDTH" val="2.592441"/>
  <p:tag name="VMAPS_HEIGHT" val="0.8281102"/>
</p:tagLst>
</file>

<file path=ppt/tags/tag121.xml><?xml version="1.0" encoding="utf-8"?>
<p:tagLst xmlns:a="http://schemas.openxmlformats.org/drawingml/2006/main" xmlns:r="http://schemas.openxmlformats.org/officeDocument/2006/relationships" xmlns:p="http://schemas.openxmlformats.org/presentationml/2006/main">
  <p:tag name="SHAPETYPE" val="footer"/>
</p:tagLst>
</file>

<file path=ppt/tags/tag1210.xml><?xml version="1.0" encoding="utf-8"?>
<p:tagLst xmlns:a="http://schemas.openxmlformats.org/drawingml/2006/main" xmlns:r="http://schemas.openxmlformats.org/officeDocument/2006/relationships" xmlns:p="http://schemas.openxmlformats.org/presentationml/2006/main">
  <p:tag name="VMAPS" val="MAP"/>
  <p:tag name="VMAPS_LEFT" val="276.6582"/>
  <p:tag name="VMAPS_TOP" val="94.35819"/>
  <p:tag name="VMAPS_WIDTH" val="1.620236"/>
  <p:tag name="VMAPS_HEIGHT" val="0.9937008"/>
</p:tagLst>
</file>

<file path=ppt/tags/tag1211.xml><?xml version="1.0" encoding="utf-8"?>
<p:tagLst xmlns:a="http://schemas.openxmlformats.org/drawingml/2006/main" xmlns:r="http://schemas.openxmlformats.org/officeDocument/2006/relationships" xmlns:p="http://schemas.openxmlformats.org/presentationml/2006/main">
  <p:tag name="VMAPS" val="MAP"/>
  <p:tag name="VMAPS_LEFT" val="284.7595"/>
  <p:tag name="VMAPS_TOP" val="98.49882"/>
  <p:tag name="VMAPS_WIDTH" val="5.184803"/>
  <p:tag name="VMAPS_HEIGHT" val="1.98748"/>
</p:tagLst>
</file>

<file path=ppt/tags/tag1212.xml><?xml version="1.0" encoding="utf-8"?>
<p:tagLst xmlns:a="http://schemas.openxmlformats.org/drawingml/2006/main" xmlns:r="http://schemas.openxmlformats.org/officeDocument/2006/relationships" xmlns:p="http://schemas.openxmlformats.org/presentationml/2006/main">
  <p:tag name="VMAPS" val="MAP"/>
  <p:tag name="VMAPS_LEFT" val="292.2126"/>
  <p:tag name="VMAPS_TOP" val="94.35819"/>
  <p:tag name="VMAPS_WIDTH" val="4.374724"/>
  <p:tag name="VMAPS_HEIGHT" val="0.662441"/>
</p:tagLst>
</file>

<file path=ppt/tags/tag1213.xml><?xml version="1.0" encoding="utf-8"?>
<p:tagLst xmlns:a="http://schemas.openxmlformats.org/drawingml/2006/main" xmlns:r="http://schemas.openxmlformats.org/officeDocument/2006/relationships" xmlns:p="http://schemas.openxmlformats.org/presentationml/2006/main">
  <p:tag name="VMAPS" val="MAP"/>
  <p:tag name="VMAPS_LEFT" val="166.319"/>
  <p:tag name="VMAPS_TOP" val="106.7799"/>
  <p:tag name="VMAPS_WIDTH" val="156.6786"/>
  <p:tag name="VMAPS_HEIGHT" val="77.67661"/>
</p:tagLst>
</file>

<file path=ppt/tags/tag1214.xml><?xml version="1.0" encoding="utf-8"?>
<p:tagLst xmlns:a="http://schemas.openxmlformats.org/drawingml/2006/main" xmlns:r="http://schemas.openxmlformats.org/officeDocument/2006/relationships" xmlns:p="http://schemas.openxmlformats.org/presentationml/2006/main">
  <p:tag name="VMAPS" val="MAP"/>
  <p:tag name="VMAPS_LEFT" val="233.7216"/>
  <p:tag name="VMAPS_TOP" val="151.1665"/>
  <p:tag name="VMAPS_WIDTH" val="4.698819"/>
  <p:tag name="VMAPS_HEIGHT" val="10.10291"/>
</p:tagLst>
</file>

<file path=ppt/tags/tag1215.xml><?xml version="1.0" encoding="utf-8"?>
<p:tagLst xmlns:a="http://schemas.openxmlformats.org/drawingml/2006/main" xmlns:r="http://schemas.openxmlformats.org/officeDocument/2006/relationships" xmlns:p="http://schemas.openxmlformats.org/presentationml/2006/main">
  <p:tag name="VMAPS" val="MAP"/>
  <p:tag name="VMAPS_LEFT" val="761.2759"/>
  <p:tag name="VMAPS_TOP" val="340.9688"/>
  <p:tag name="VMAPS_WIDTH" val="0.8101575"/>
  <p:tag name="VMAPS_HEIGHT" val="1.656142"/>
</p:tagLst>
</file>

<file path=ppt/tags/tag1216.xml><?xml version="1.0" encoding="utf-8"?>
<p:tagLst xmlns:a="http://schemas.openxmlformats.org/drawingml/2006/main" xmlns:r="http://schemas.openxmlformats.org/officeDocument/2006/relationships" xmlns:p="http://schemas.openxmlformats.org/presentationml/2006/main">
  <p:tag name="VMAPS" val="MAP"/>
  <p:tag name="VMAPS_LEFT" val="747.1797"/>
  <p:tag name="VMAPS_TOP" val="334.0128"/>
  <p:tag name="VMAPS_WIDTH" val="2.592441"/>
  <p:tag name="VMAPS_HEIGHT" val="1.656142"/>
</p:tagLst>
</file>

<file path=ppt/tags/tag1217.xml><?xml version="1.0" encoding="utf-8"?>
<p:tagLst xmlns:a="http://schemas.openxmlformats.org/drawingml/2006/main" xmlns:r="http://schemas.openxmlformats.org/officeDocument/2006/relationships" xmlns:p="http://schemas.openxmlformats.org/presentationml/2006/main">
  <p:tag name="VMAPS" val="MAP"/>
  <p:tag name="VMAPS_LEFT" val="746.6936"/>
  <p:tag name="VMAPS_TOP" val="334.344"/>
  <p:tag name="VMAPS_WIDTH" val="0.972126"/>
  <p:tag name="VMAPS_HEIGHT" val="1.324961"/>
</p:tagLst>
</file>

<file path=ppt/tags/tag1218.xml><?xml version="1.0" encoding="utf-8"?>
<p:tagLst xmlns:a="http://schemas.openxmlformats.org/drawingml/2006/main" xmlns:r="http://schemas.openxmlformats.org/officeDocument/2006/relationships" xmlns:p="http://schemas.openxmlformats.org/presentationml/2006/main">
  <p:tag name="VMAPS" val="MAP"/>
  <p:tag name="VMAPS_LEFT" val="746.0455"/>
  <p:tag name="VMAPS_TOP" val="402.2489"/>
  <p:tag name="VMAPS_WIDTH" val="3.240551"/>
  <p:tag name="VMAPS_HEIGHT" val="0.662441"/>
</p:tagLst>
</file>

<file path=ppt/tags/tag1219.xml><?xml version="1.0" encoding="utf-8"?>
<p:tagLst xmlns:a="http://schemas.openxmlformats.org/drawingml/2006/main" xmlns:r="http://schemas.openxmlformats.org/officeDocument/2006/relationships" xmlns:p="http://schemas.openxmlformats.org/presentationml/2006/main">
  <p:tag name="VMAPS" val="MAP"/>
  <p:tag name="VMAPS_LEFT" val="767.1089"/>
  <p:tag name="VMAPS_TOP" val="348.5875"/>
  <p:tag name="VMAPS_WIDTH" val="1.29622"/>
  <p:tag name="VMAPS_HEIGHT" val="0.662441"/>
</p:tagLst>
</file>

<file path=ppt/tags/tag12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20.xml><?xml version="1.0" encoding="utf-8"?>
<p:tagLst xmlns:a="http://schemas.openxmlformats.org/drawingml/2006/main" xmlns:r="http://schemas.openxmlformats.org/officeDocument/2006/relationships" xmlns:p="http://schemas.openxmlformats.org/presentationml/2006/main">
  <p:tag name="VMAPS" val="MAP"/>
  <p:tag name="VMAPS_LEFT" val="698.5721"/>
  <p:tag name="VMAPS_TOP" val="332.0254"/>
  <p:tag name="VMAPS_WIDTH" val="95.75701"/>
  <p:tag name="VMAPS_HEIGHT" val="80.32645"/>
</p:tagLst>
</file>

<file path=ppt/tags/tag1221.xml><?xml version="1.0" encoding="utf-8"?>
<p:tagLst xmlns:a="http://schemas.openxmlformats.org/drawingml/2006/main" xmlns:r="http://schemas.openxmlformats.org/officeDocument/2006/relationships" xmlns:p="http://schemas.openxmlformats.org/presentationml/2006/main">
  <p:tag name="VMAPS" val="MAP"/>
  <p:tag name="VMAPS_LEFT" val="835.8076"/>
  <p:tag name="VMAPS_TOP" val="424.7735"/>
  <p:tag name="VMAPS_WIDTH" val="1.620236"/>
  <p:tag name="VMAPS_HEIGHT" val="0.8281102"/>
</p:tagLst>
</file>

<file path=ppt/tags/tag1222.xml><?xml version="1.0" encoding="utf-8"?>
<p:tagLst xmlns:a="http://schemas.openxmlformats.org/drawingml/2006/main" xmlns:r="http://schemas.openxmlformats.org/officeDocument/2006/relationships" xmlns:p="http://schemas.openxmlformats.org/presentationml/2006/main">
  <p:tag name="VMAPS" val="MAP"/>
  <p:tag name="VMAPS_LEFT" val="822.6835"/>
  <p:tag name="VMAPS_TOP" val="397.6115"/>
  <p:tag name="VMAPS_WIDTH" val="14.74433"/>
  <p:tag name="VMAPS_HEIGHT" val="20.3715"/>
</p:tagLst>
</file>

<file path=ppt/tags/tag1223.xml><?xml version="1.0" encoding="utf-8"?>
<p:tagLst xmlns:a="http://schemas.openxmlformats.org/drawingml/2006/main" xmlns:r="http://schemas.openxmlformats.org/officeDocument/2006/relationships" xmlns:p="http://schemas.openxmlformats.org/presentationml/2006/main">
  <p:tag name="VMAPS" val="MAP"/>
  <p:tag name="VMAPS_LEFT" val="795.1392"/>
  <p:tag name="VMAPS_TOP" val="415.8299"/>
  <p:tag name="VMAPS_WIDTH" val="26.57213"/>
  <p:tag name="VMAPS_HEIGHT" val="16.23095"/>
</p:tagLst>
</file>

<file path=ppt/tags/tag1224.xml><?xml version="1.0" encoding="utf-8"?>
<p:tagLst xmlns:a="http://schemas.openxmlformats.org/drawingml/2006/main" xmlns:r="http://schemas.openxmlformats.org/officeDocument/2006/relationships" xmlns:p="http://schemas.openxmlformats.org/presentationml/2006/main">
  <p:tag name="VMAPS" val="MAP"/>
  <p:tag name="VMAPS_LEFT" val="794.8151"/>
  <p:tag name="VMAPS_TOP" val="432.5578"/>
  <p:tag name="VMAPS_WIDTH" val="1.782283"/>
  <p:tag name="VMAPS_HEIGHT" val="1.656142"/>
</p:tagLst>
</file>

<file path=ppt/tags/tag1225.xml><?xml version="1.0" encoding="utf-8"?>
<p:tagLst xmlns:a="http://schemas.openxmlformats.org/drawingml/2006/main" xmlns:r="http://schemas.openxmlformats.org/officeDocument/2006/relationships" xmlns:p="http://schemas.openxmlformats.org/presentationml/2006/main">
  <p:tag name="VMAPS" val="MAP"/>
  <p:tag name="VMAPS_LEFT" val="788.3341"/>
  <p:tag name="VMAPS_TOP" val="307.1821"/>
  <p:tag name="VMAPS_WIDTH" val="0.972126"/>
  <p:tag name="VMAPS_HEIGHT" val="0.8281102"/>
</p:tagLst>
</file>

<file path=ppt/tags/tag1226.xml><?xml version="1.0" encoding="utf-8"?>
<p:tagLst xmlns:a="http://schemas.openxmlformats.org/drawingml/2006/main" xmlns:r="http://schemas.openxmlformats.org/officeDocument/2006/relationships" xmlns:p="http://schemas.openxmlformats.org/presentationml/2006/main">
  <p:tag name="VMAPS" val="MAP"/>
  <p:tag name="VMAPS_LEFT" val="774.238"/>
  <p:tag name="VMAPS_TOP" val="308.8384"/>
  <p:tag name="VMAPS_WIDTH" val="22.68346"/>
  <p:tag name="VMAPS_HEIGHT" val="22.85583"/>
</p:tagLst>
</file>

<file path=ppt/tags/tag1227.xml><?xml version="1.0" encoding="utf-8"?>
<p:tagLst xmlns:a="http://schemas.openxmlformats.org/drawingml/2006/main" xmlns:r="http://schemas.openxmlformats.org/officeDocument/2006/relationships" xmlns:p="http://schemas.openxmlformats.org/presentationml/2006/main">
  <p:tag name="VMAPS" val="MAP"/>
  <p:tag name="VMAPS_LEFT" val="792.0607"/>
  <p:tag name="VMAPS_TOP" val="313.807"/>
  <p:tag name="VMAPS_WIDTH" val="9.883543"/>
  <p:tag name="VMAPS_HEIGHT" val="5.631181"/>
</p:tagLst>
</file>

<file path=ppt/tags/tag1228.xml><?xml version="1.0" encoding="utf-8"?>
<p:tagLst xmlns:a="http://schemas.openxmlformats.org/drawingml/2006/main" xmlns:r="http://schemas.openxmlformats.org/officeDocument/2006/relationships" xmlns:p="http://schemas.openxmlformats.org/presentationml/2006/main">
  <p:tag name="VMAPS" val="MAP"/>
  <p:tag name="VMAPS_LEFT" val="802.2682"/>
  <p:tag name="VMAPS_TOP" val="311.9852"/>
  <p:tag name="VMAPS_WIDTH" val="1.29622"/>
  <p:tag name="VMAPS_HEIGHT" val="3.14685"/>
</p:tagLst>
</file>

<file path=ppt/tags/tag1229.xml><?xml version="1.0" encoding="utf-8"?>
<p:tagLst xmlns:a="http://schemas.openxmlformats.org/drawingml/2006/main" xmlns:r="http://schemas.openxmlformats.org/officeDocument/2006/relationships" xmlns:p="http://schemas.openxmlformats.org/presentationml/2006/main">
  <p:tag name="VMAPS" val="MAP"/>
  <p:tag name="VMAPS_LEFT" val="818.4709"/>
  <p:tag name="VMAPS_TOP" val="327.8847"/>
  <p:tag name="VMAPS_WIDTH" val="3.078504"/>
  <p:tag name="VMAPS_HEIGHT" val="1.656142"/>
</p:tagLst>
</file>

<file path=ppt/tags/tag1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30.xml><?xml version="1.0" encoding="utf-8"?>
<p:tagLst xmlns:a="http://schemas.openxmlformats.org/drawingml/2006/main" xmlns:r="http://schemas.openxmlformats.org/officeDocument/2006/relationships" xmlns:p="http://schemas.openxmlformats.org/presentationml/2006/main">
  <p:tag name="VMAPS" val="MAP"/>
  <p:tag name="VMAPS_LEFT" val="813.1241"/>
  <p:tag name="VMAPS_TOP" val="324.4067"/>
  <p:tag name="VMAPS_WIDTH" val="1.620236"/>
  <p:tag name="VMAPS_HEIGHT" val="1.159291"/>
</p:tagLst>
</file>

<file path=ppt/tags/tag1231.xml><?xml version="1.0" encoding="utf-8"?>
<p:tagLst xmlns:a="http://schemas.openxmlformats.org/drawingml/2006/main" xmlns:r="http://schemas.openxmlformats.org/officeDocument/2006/relationships" xmlns:p="http://schemas.openxmlformats.org/presentationml/2006/main">
  <p:tag name="VMAPS" val="MAP"/>
  <p:tag name="VMAPS_LEFT" val="807.6152"/>
  <p:tag name="VMAPS_TOP" val="316.9538"/>
  <p:tag name="VMAPS_WIDTH" val="2.430394"/>
  <p:tag name="VMAPS_HEIGHT" val="3.643622"/>
</p:tagLst>
</file>

<file path=ppt/tags/tag1232.xml><?xml version="1.0" encoding="utf-8"?>
<p:tagLst xmlns:a="http://schemas.openxmlformats.org/drawingml/2006/main" xmlns:r="http://schemas.openxmlformats.org/officeDocument/2006/relationships" xmlns:p="http://schemas.openxmlformats.org/presentationml/2006/main">
  <p:tag name="VMAPS" val="MAP"/>
  <p:tag name="VMAPS_LEFT" val="747.1797"/>
  <p:tag name="VMAPS_TOP" val="306.6853"/>
  <p:tag name="VMAPS_WIDTH" val="1.620236"/>
  <p:tag name="VMAPS_HEIGHT" val="0.4968504"/>
</p:tagLst>
</file>

<file path=ppt/tags/tag1233.xml><?xml version="1.0" encoding="utf-8"?>
<p:tagLst xmlns:a="http://schemas.openxmlformats.org/drawingml/2006/main" xmlns:r="http://schemas.openxmlformats.org/officeDocument/2006/relationships" xmlns:p="http://schemas.openxmlformats.org/presentationml/2006/main">
  <p:tag name="VMAPS" val="MAP"/>
  <p:tag name="VMAPS_LEFT" val="747.1797"/>
  <p:tag name="VMAPS_TOP" val="306.6853"/>
  <p:tag name="VMAPS_WIDTH" val="1.620236"/>
  <p:tag name="VMAPS_HEIGHT" val="0.4968504"/>
</p:tagLst>
</file>

<file path=ppt/tags/tag1234.xml><?xml version="1.0" encoding="utf-8"?>
<p:tagLst xmlns:a="http://schemas.openxmlformats.org/drawingml/2006/main" xmlns:r="http://schemas.openxmlformats.org/officeDocument/2006/relationships" xmlns:p="http://schemas.openxmlformats.org/presentationml/2006/main">
  <p:tag name="VMAPS" val="MAP"/>
  <p:tag name="VMAPS_LEFT" val="663.7367"/>
  <p:tag name="VMAPS_TOP" val="286.4794"/>
  <p:tag name="VMAPS_WIDTH" val="26.08614"/>
  <p:tag name="VMAPS_HEIGHT" val="31.79929"/>
</p:tagLst>
</file>

<file path=ppt/tags/tag1235.xml><?xml version="1.0" encoding="utf-8"?>
<p:tagLst xmlns:a="http://schemas.openxmlformats.org/drawingml/2006/main" xmlns:r="http://schemas.openxmlformats.org/officeDocument/2006/relationships" xmlns:p="http://schemas.openxmlformats.org/presentationml/2006/main">
  <p:tag name="VMAPS" val="MAP"/>
  <p:tag name="VMAPS_LEFT" val="672.324"/>
  <p:tag name="VMAPS_TOP" val="304.6978"/>
  <p:tag name="VMAPS_WIDTH" val="1.458268"/>
  <p:tag name="VMAPS_HEIGHT" val="1.98748"/>
</p:tagLst>
</file>

<file path=ppt/tags/tag1236.xml><?xml version="1.0" encoding="utf-8"?>
<p:tagLst xmlns:a="http://schemas.openxmlformats.org/drawingml/2006/main" xmlns:r="http://schemas.openxmlformats.org/officeDocument/2006/relationships" xmlns:p="http://schemas.openxmlformats.org/presentationml/2006/main">
  <p:tag name="VMAPS" val="MAP"/>
  <p:tag name="VMAPS_LEFT" val="669.0834"/>
  <p:tag name="VMAPS_TOP" val="297.9073"/>
  <p:tag name="VMAPS_WIDTH" val="1.29622"/>
  <p:tag name="VMAPS_HEIGHT" val="2.15315"/>
</p:tagLst>
</file>

<file path=ppt/tags/tag1237.xml><?xml version="1.0" encoding="utf-8"?>
<p:tagLst xmlns:a="http://schemas.openxmlformats.org/drawingml/2006/main" xmlns:r="http://schemas.openxmlformats.org/officeDocument/2006/relationships" xmlns:p="http://schemas.openxmlformats.org/presentationml/2006/main">
  <p:tag name="VMAPS" val="MAP"/>
  <p:tag name="VMAPS_LEFT" val="693.5494"/>
  <p:tag name="VMAPS_TOP" val="308.8383"/>
  <p:tag name="VMAPS_WIDTH" val="1.944331"/>
  <p:tag name="VMAPS_HEIGHT" val="1.98748"/>
</p:tagLst>
</file>

<file path=ppt/tags/tag1238.xml><?xml version="1.0" encoding="utf-8"?>
<p:tagLst xmlns:a="http://schemas.openxmlformats.org/drawingml/2006/main" xmlns:r="http://schemas.openxmlformats.org/officeDocument/2006/relationships" xmlns:p="http://schemas.openxmlformats.org/presentationml/2006/main">
  <p:tag name="VMAPS" val="MAP"/>
  <p:tag name="VMAPS_LEFT" val="688.0405"/>
  <p:tag name="VMAPS_TOP" val="306.0228"/>
  <p:tag name="VMAPS_WIDTH" val="3.726614"/>
  <p:tag name="VMAPS_HEIGHT" val="4.471732"/>
</p:tagLst>
</file>

<file path=ppt/tags/tag1239.xml><?xml version="1.0" encoding="utf-8"?>
<p:tagLst xmlns:a="http://schemas.openxmlformats.org/drawingml/2006/main" xmlns:r="http://schemas.openxmlformats.org/officeDocument/2006/relationships" xmlns:p="http://schemas.openxmlformats.org/presentationml/2006/main">
  <p:tag name="VMAPS" val="MAP"/>
  <p:tag name="VMAPS_LEFT" val="685.9341"/>
  <p:tag name="VMAPS_TOP" val="298.2385"/>
  <p:tag name="VMAPS_WIDTH" val="0.4861417"/>
  <p:tag name="VMAPS_HEIGHT" val="1.159291"/>
</p:tagLst>
</file>

<file path=ppt/tags/tag1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40.xml><?xml version="1.0" encoding="utf-8"?>
<p:tagLst xmlns:a="http://schemas.openxmlformats.org/drawingml/2006/main" xmlns:r="http://schemas.openxmlformats.org/officeDocument/2006/relationships" xmlns:p="http://schemas.openxmlformats.org/presentationml/2006/main">
  <p:tag name="VMAPS" val="MAP"/>
  <p:tag name="VMAPS_LEFT" val="750.2582"/>
  <p:tag name="VMAPS_TOP" val="303.0416"/>
  <p:tag name="VMAPS_WIDTH" val="24.30378"/>
  <p:tag name="VMAPS_HEIGHT" val="24.51205"/>
</p:tagLst>
</file>

<file path=ppt/tags/tag1241.xml><?xml version="1.0" encoding="utf-8"?>
<p:tagLst xmlns:a="http://schemas.openxmlformats.org/drawingml/2006/main" xmlns:r="http://schemas.openxmlformats.org/officeDocument/2006/relationships" xmlns:p="http://schemas.openxmlformats.org/presentationml/2006/main">
  <p:tag name="VMAPS" val="MAP"/>
  <p:tag name="VMAPS_LEFT" val="741.3467"/>
  <p:tag name="VMAPS_TOP" val="306.0228"/>
  <p:tag name="VMAPS_WIDTH" val="1.944331"/>
  <p:tag name="VMAPS_HEIGHT" val="0.8281102"/>
</p:tagLst>
</file>

<file path=ppt/tags/tag1242.xml><?xml version="1.0" encoding="utf-8"?>
<p:tagLst xmlns:a="http://schemas.openxmlformats.org/drawingml/2006/main" xmlns:r="http://schemas.openxmlformats.org/officeDocument/2006/relationships" xmlns:p="http://schemas.openxmlformats.org/presentationml/2006/main">
  <p:tag name="VMAPS" val="MAP"/>
  <p:tag name="VMAPS_LEFT" val="741.3467"/>
  <p:tag name="VMAPS_TOP" val="295.5886"/>
  <p:tag name="VMAPS_WIDTH" val="3.564567"/>
  <p:tag name="VMAPS_HEIGHT" val="8.446772"/>
</p:tagLst>
</file>

<file path=ppt/tags/tag1243.xml><?xml version="1.0" encoding="utf-8"?>
<p:tagLst xmlns:a="http://schemas.openxmlformats.org/drawingml/2006/main" xmlns:r="http://schemas.openxmlformats.org/officeDocument/2006/relationships" xmlns:p="http://schemas.openxmlformats.org/presentationml/2006/main">
  <p:tag name="VMAPS" val="MAP"/>
  <p:tag name="VMAPS_LEFT" val="738.1062"/>
  <p:tag name="VMAPS_TOP" val="310.4946"/>
  <p:tag name="VMAPS_WIDTH" val="2.916457"/>
  <p:tag name="VMAPS_HEIGHT" val="2.15315"/>
</p:tagLst>
</file>

<file path=ppt/tags/tag1244.xml><?xml version="1.0" encoding="utf-8"?>
<p:tagLst xmlns:a="http://schemas.openxmlformats.org/drawingml/2006/main" xmlns:r="http://schemas.openxmlformats.org/officeDocument/2006/relationships" xmlns:p="http://schemas.openxmlformats.org/presentationml/2006/main">
  <p:tag name="VMAPS" val="MAP"/>
  <p:tag name="VMAPS_LEFT" val="734.3797"/>
  <p:tag name="VMAPS_TOP" val="306.6853"/>
  <p:tag name="VMAPS_WIDTH" val="2.106378"/>
  <p:tag name="VMAPS_HEIGHT" val="0.9937008"/>
</p:tagLst>
</file>

<file path=ppt/tags/tag1245.xml><?xml version="1.0" encoding="utf-8"?>
<p:tagLst xmlns:a="http://schemas.openxmlformats.org/drawingml/2006/main" xmlns:r="http://schemas.openxmlformats.org/officeDocument/2006/relationships" xmlns:p="http://schemas.openxmlformats.org/presentationml/2006/main">
  <p:tag name="VMAPS" val="MAP"/>
  <p:tag name="VMAPS_LEFT" val="730.0049"/>
  <p:tag name="VMAPS_TOP" val="313.807"/>
  <p:tag name="VMAPS_WIDTH" val="1.134252"/>
  <p:tag name="VMAPS_HEIGHT" val="3.974961"/>
</p:tagLst>
</file>

<file path=ppt/tags/tag1246.xml><?xml version="1.0" encoding="utf-8"?>
<p:tagLst xmlns:a="http://schemas.openxmlformats.org/drawingml/2006/main" xmlns:r="http://schemas.openxmlformats.org/officeDocument/2006/relationships" xmlns:p="http://schemas.openxmlformats.org/presentationml/2006/main">
  <p:tag name="VMAPS" val="MAP"/>
  <p:tag name="VMAPS_LEFT" val="721.2556"/>
  <p:tag name="VMAPS_TOP" val="297.2448"/>
  <p:tag name="VMAPS_WIDTH" val="14.9063"/>
  <p:tag name="VMAPS_HEIGHT" val="20.53701"/>
</p:tagLst>
</file>

<file path=ppt/tags/tag1247.xml><?xml version="1.0" encoding="utf-8"?>
<p:tagLst xmlns:a="http://schemas.openxmlformats.org/drawingml/2006/main" xmlns:r="http://schemas.openxmlformats.org/officeDocument/2006/relationships" xmlns:p="http://schemas.openxmlformats.org/presentationml/2006/main">
  <p:tag name="VMAPS" val="MAP"/>
  <p:tag name="VMAPS_LEFT" val="709.7518"/>
  <p:tag name="VMAPS_TOP" val="324.4068"/>
  <p:tag name="VMAPS_WIDTH" val="2.430394"/>
  <p:tag name="VMAPS_HEIGHT" val="1.82189"/>
</p:tagLst>
</file>

<file path=ppt/tags/tag1248.xml><?xml version="1.0" encoding="utf-8"?>
<p:tagLst xmlns:a="http://schemas.openxmlformats.org/drawingml/2006/main" xmlns:r="http://schemas.openxmlformats.org/officeDocument/2006/relationships" xmlns:p="http://schemas.openxmlformats.org/presentationml/2006/main">
  <p:tag name="VMAPS" val="MAP"/>
  <p:tag name="VMAPS_LEFT" val="712.9924"/>
  <p:tag name="VMAPS_TOP" val="325.4005"/>
  <p:tag name="VMAPS_WIDTH" val="1.944331"/>
  <p:tag name="VMAPS_HEIGHT" val="1.324961"/>
</p:tagLst>
</file>

<file path=ppt/tags/tag1249.xml><?xml version="1.0" encoding="utf-8"?>
<p:tagLst xmlns:a="http://schemas.openxmlformats.org/drawingml/2006/main" xmlns:r="http://schemas.openxmlformats.org/officeDocument/2006/relationships" xmlns:p="http://schemas.openxmlformats.org/presentationml/2006/main">
  <p:tag name="VMAPS" val="MAP"/>
  <p:tag name="VMAPS_LEFT" val="715.4227"/>
  <p:tag name="VMAPS_TOP" val="324.4068"/>
  <p:tag name="VMAPS_WIDTH" val="5.832913"/>
  <p:tag name="VMAPS_HEIGHT" val="3.14685"/>
</p:tagLst>
</file>

<file path=ppt/tags/tag1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50.xml><?xml version="1.0" encoding="utf-8"?>
<p:tagLst xmlns:a="http://schemas.openxmlformats.org/drawingml/2006/main" xmlns:r="http://schemas.openxmlformats.org/officeDocument/2006/relationships" xmlns:p="http://schemas.openxmlformats.org/presentationml/2006/main">
  <p:tag name="VMAPS" val="MAP"/>
  <p:tag name="VMAPS_LEFT" val="720.2834"/>
  <p:tag name="VMAPS_TOP" val="327.8847"/>
  <p:tag name="VMAPS_WIDTH" val="4.212677"/>
  <p:tag name="VMAPS_HEIGHT" val="2.981181"/>
</p:tagLst>
</file>

<file path=ppt/tags/tag1251.xml><?xml version="1.0" encoding="utf-8"?>
<p:tagLst xmlns:a="http://schemas.openxmlformats.org/drawingml/2006/main" xmlns:r="http://schemas.openxmlformats.org/officeDocument/2006/relationships" xmlns:p="http://schemas.openxmlformats.org/presentationml/2006/main">
  <p:tag name="VMAPS" val="MAP"/>
  <p:tag name="VMAPS_LEFT" val="722.5518"/>
  <p:tag name="VMAPS_TOP" val="324.4068"/>
  <p:tag name="VMAPS_WIDTH" val="7.45315"/>
  <p:tag name="VMAPS_HEIGHT" val="2.815591"/>
</p:tagLst>
</file>

<file path=ppt/tags/tag1252.xml><?xml version="1.0" encoding="utf-8"?>
<p:tagLst xmlns:a="http://schemas.openxmlformats.org/drawingml/2006/main" xmlns:r="http://schemas.openxmlformats.org/officeDocument/2006/relationships" xmlns:p="http://schemas.openxmlformats.org/presentationml/2006/main">
  <p:tag name="VMAPS" val="MAP"/>
  <p:tag name="VMAPS_LEFT" val="730.8152"/>
  <p:tag name="VMAPS_TOP" val="325.5661"/>
  <p:tag name="VMAPS_WIDTH" val="9.39748"/>
  <p:tag name="VMAPS_HEIGHT" val="5.299921"/>
</p:tagLst>
</file>

<file path=ppt/tags/tag1253.xml><?xml version="1.0" encoding="utf-8"?>
<p:tagLst xmlns:a="http://schemas.openxmlformats.org/drawingml/2006/main" xmlns:r="http://schemas.openxmlformats.org/officeDocument/2006/relationships" xmlns:p="http://schemas.openxmlformats.org/presentationml/2006/main">
  <p:tag name="VMAPS" val="MAP"/>
  <p:tag name="VMAPS_LEFT" val="737.2961"/>
  <p:tag name="VMAPS_TOP" val="323.7443"/>
  <p:tag name="VMAPS_WIDTH" val="1.944331"/>
  <p:tag name="VMAPS_HEIGHT" val="0.662441"/>
</p:tagLst>
</file>

<file path=ppt/tags/tag1254.xml><?xml version="1.0" encoding="utf-8"?>
<p:tagLst xmlns:a="http://schemas.openxmlformats.org/drawingml/2006/main" xmlns:r="http://schemas.openxmlformats.org/officeDocument/2006/relationships" xmlns:p="http://schemas.openxmlformats.org/presentationml/2006/main">
  <p:tag name="VMAPS" val="MAP"/>
  <p:tag name="VMAPS_LEFT" val="749.772"/>
  <p:tag name="VMAPS_TOP" val="322.088"/>
  <p:tag name="VMAPS_WIDTH" val="1.620236"/>
  <p:tag name="VMAPS_HEIGHT" val="2.318661"/>
</p:tagLst>
</file>

<file path=ppt/tags/tag1255.xml><?xml version="1.0" encoding="utf-8"?>
<p:tagLst xmlns:a="http://schemas.openxmlformats.org/drawingml/2006/main" xmlns:r="http://schemas.openxmlformats.org/officeDocument/2006/relationships" xmlns:p="http://schemas.openxmlformats.org/presentationml/2006/main">
  <p:tag name="VMAPS" val="MAP"/>
  <p:tag name="VMAPS_LEFT" val="758.0353"/>
  <p:tag name="VMAPS_TOP" val="317.4506"/>
  <p:tag name="VMAPS_WIDTH" val="0.8101575"/>
  <p:tag name="VMAPS_HEIGHT" val="2.318661"/>
</p:tagLst>
</file>

<file path=ppt/tags/tag1256.xml><?xml version="1.0" encoding="utf-8"?>
<p:tagLst xmlns:a="http://schemas.openxmlformats.org/drawingml/2006/main" xmlns:r="http://schemas.openxmlformats.org/officeDocument/2006/relationships" xmlns:p="http://schemas.openxmlformats.org/presentationml/2006/main">
  <p:tag name="VMAPS" val="MAP"/>
  <p:tag name="VMAPS_LEFT" val="742.8051"/>
  <p:tag name="VMAPS_TOP" val="309.9977"/>
  <p:tag name="VMAPS_WIDTH" val="6.967165"/>
  <p:tag name="VMAPS_HEIGHT" val="2.318661"/>
</p:tagLst>
</file>

<file path=ppt/tags/tag1257.xml><?xml version="1.0" encoding="utf-8"?>
<p:tagLst xmlns:a="http://schemas.openxmlformats.org/drawingml/2006/main" xmlns:r="http://schemas.openxmlformats.org/officeDocument/2006/relationships" xmlns:p="http://schemas.openxmlformats.org/presentationml/2006/main">
  <p:tag name="VMAPS" val="MAP"/>
  <p:tag name="VMAPS_LEFT" val="747.1797"/>
  <p:tag name="VMAPS_TOP" val="306.6853"/>
  <p:tag name="VMAPS_WIDTH" val="1.620236"/>
  <p:tag name="VMAPS_HEIGHT" val="0.4968504"/>
</p:tagLst>
</file>

<file path=ppt/tags/tag1258.xml><?xml version="1.0" encoding="utf-8"?>
<p:tagLst xmlns:a="http://schemas.openxmlformats.org/drawingml/2006/main" xmlns:r="http://schemas.openxmlformats.org/officeDocument/2006/relationships" xmlns:p="http://schemas.openxmlformats.org/presentationml/2006/main">
  <p:tag name="VMAPS" val="MAP"/>
  <p:tag name="VMAPS_LEFT" val="696.9518"/>
  <p:tag name="VMAPS_TOP" val="289.295"/>
  <p:tag name="VMAPS_WIDTH" val="24.30378"/>
  <p:tag name="VMAPS_HEIGHT" val="24.34638"/>
</p:tagLst>
</file>

<file path=ppt/tags/tag1259.xml><?xml version="1.0" encoding="utf-8"?>
<p:tagLst xmlns:a="http://schemas.openxmlformats.org/drawingml/2006/main" xmlns:r="http://schemas.openxmlformats.org/officeDocument/2006/relationships" xmlns:p="http://schemas.openxmlformats.org/presentationml/2006/main">
  <p:tag name="VMAPS" val="MAP"/>
  <p:tag name="VMAPS_LEFT" val="688.0405"/>
  <p:tag name="VMAPS_TOP" val="318.61"/>
  <p:tag name="VMAPS_WIDTH" val="21.71134"/>
  <p:tag name="VMAPS_HEIGHT" val="7.618583"/>
</p:tagLst>
</file>

<file path=ppt/tags/tag1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60.xml><?xml version="1.0" encoding="utf-8"?>
<p:tagLst xmlns:a="http://schemas.openxmlformats.org/drawingml/2006/main" xmlns:r="http://schemas.openxmlformats.org/officeDocument/2006/relationships" xmlns:p="http://schemas.openxmlformats.org/presentationml/2006/main">
  <p:tag name="VMAPS" val="MAP"/>
  <p:tag name="VMAPS_LEFT" val="728.8708"/>
  <p:tag name="VMAPS_TOP" val="315.132"/>
  <p:tag name="VMAPS_WIDTH" val="0.8101575"/>
  <p:tag name="VMAPS_HEIGHT" val="1.82189"/>
</p:tagLst>
</file>

<file path=ppt/tags/tag1261.xml><?xml version="1.0" encoding="utf-8"?>
<p:tagLst xmlns:a="http://schemas.openxmlformats.org/drawingml/2006/main" xmlns:r="http://schemas.openxmlformats.org/officeDocument/2006/relationships" xmlns:p="http://schemas.openxmlformats.org/presentationml/2006/main">
  <p:tag name="VMAPS" val="MAP"/>
  <p:tag name="VMAPS_LEFT" val="733.4075"/>
  <p:tag name="VMAPS_TOP" val="325.0693"/>
  <p:tag name="VMAPS_WIDTH" val="1.782283"/>
  <p:tag name="VMAPS_HEIGHT" val="0.4968504"/>
</p:tagLst>
</file>

<file path=ppt/tags/tag1262.xml><?xml version="1.0" encoding="utf-8"?>
<p:tagLst xmlns:a="http://schemas.openxmlformats.org/drawingml/2006/main" xmlns:r="http://schemas.openxmlformats.org/officeDocument/2006/relationships" xmlns:p="http://schemas.openxmlformats.org/presentationml/2006/main">
  <p:tag name="VMAPS" val="MAP"/>
  <p:tag name="VMAPS_LEFT" val="757.5493"/>
  <p:tag name="VMAPS_TOP" val="319.4381"/>
  <p:tag name="VMAPS_WIDTH" val="0.6481102"/>
  <p:tag name="VMAPS_HEIGHT" val="1.82189"/>
</p:tagLst>
</file>

<file path=ppt/tags/tag1263.xml><?xml version="1.0" encoding="utf-8"?>
<p:tagLst xmlns:a="http://schemas.openxmlformats.org/drawingml/2006/main" xmlns:r="http://schemas.openxmlformats.org/officeDocument/2006/relationships" xmlns:p="http://schemas.openxmlformats.org/presentationml/2006/main">
  <p:tag name="VMAPS" val="MAP"/>
  <p:tag name="VMAPS_LEFT" val="490.8556"/>
  <p:tag name="VMAPS_TOP" val="94.35819"/>
  <p:tag name="VMAPS_WIDTH" val="296.0203"/>
  <p:tag name="VMAPS_HEIGHT" val="91.75449"/>
</p:tagLst>
</file>

<file path=ppt/tags/tag1264.xml><?xml version="1.0" encoding="utf-8"?>
<p:tagLst xmlns:a="http://schemas.openxmlformats.org/drawingml/2006/main" xmlns:r="http://schemas.openxmlformats.org/officeDocument/2006/relationships" xmlns:p="http://schemas.openxmlformats.org/presentationml/2006/main">
  <p:tag name="VMAPS" val="MAP"/>
  <p:tag name="VMAPS_LEFT" val="542.3796"/>
  <p:tag name="VMAPS_TOP" val="109.9268"/>
  <p:tag name="VMAPS_WIDTH" val="4.050709"/>
  <p:tag name="VMAPS_HEIGHT" val="1.98748"/>
</p:tagLst>
</file>

<file path=ppt/tags/tag1265.xml><?xml version="1.0" encoding="utf-8"?>
<p:tagLst xmlns:a="http://schemas.openxmlformats.org/drawingml/2006/main" xmlns:r="http://schemas.openxmlformats.org/officeDocument/2006/relationships" xmlns:p="http://schemas.openxmlformats.org/presentationml/2006/main">
  <p:tag name="VMAPS" val="MAP"/>
  <p:tag name="VMAPS_LEFT" val="530.7138"/>
  <p:tag name="VMAPS_TOP" val="108.1049"/>
  <p:tag name="VMAPS_WIDTH" val="1.944331"/>
  <p:tag name="VMAPS_HEIGHT" val="1.324961"/>
</p:tagLst>
</file>

<file path=ppt/tags/tag1266.xml><?xml version="1.0" encoding="utf-8"?>
<p:tagLst xmlns:a="http://schemas.openxmlformats.org/drawingml/2006/main" xmlns:r="http://schemas.openxmlformats.org/officeDocument/2006/relationships" xmlns:p="http://schemas.openxmlformats.org/presentationml/2006/main">
  <p:tag name="VMAPS" val="MAP"/>
  <p:tag name="VMAPS_LEFT" val="530.7138"/>
  <p:tag name="VMAPS_TOP" val="95.68323"/>
  <p:tag name="VMAPS_WIDTH" val="21.87346"/>
  <p:tag name="VMAPS_HEIGHT" val="8.446772"/>
</p:tagLst>
</file>

<file path=ppt/tags/tag1267.xml><?xml version="1.0" encoding="utf-8"?>
<p:tagLst xmlns:a="http://schemas.openxmlformats.org/drawingml/2006/main" xmlns:r="http://schemas.openxmlformats.org/officeDocument/2006/relationships" xmlns:p="http://schemas.openxmlformats.org/presentationml/2006/main">
  <p:tag name="VMAPS" val="MAP"/>
  <p:tag name="VMAPS_LEFT" val="528.4454"/>
  <p:tag name="VMAPS_TOP" val="104.1299"/>
  <p:tag name="VMAPS_WIDTH" val="11.98984"/>
  <p:tag name="VMAPS_HEIGHT" val="5.796772"/>
</p:tagLst>
</file>

<file path=ppt/tags/tag1268.xml><?xml version="1.0" encoding="utf-8"?>
<p:tagLst xmlns:a="http://schemas.openxmlformats.org/drawingml/2006/main" xmlns:r="http://schemas.openxmlformats.org/officeDocument/2006/relationships" xmlns:p="http://schemas.openxmlformats.org/presentationml/2006/main">
  <p:tag name="VMAPS" val="MAP"/>
  <p:tag name="VMAPS_LEFT" val="525.6911"/>
  <p:tag name="VMAPS_TOP" val="112.7422"/>
  <p:tag name="VMAPS_WIDTH" val="3.402598"/>
  <p:tag name="VMAPS_HEIGHT" val="1.656142"/>
</p:tagLst>
</file>

<file path=ppt/tags/tag1269.xml><?xml version="1.0" encoding="utf-8"?>
<p:tagLst xmlns:a="http://schemas.openxmlformats.org/drawingml/2006/main" xmlns:r="http://schemas.openxmlformats.org/officeDocument/2006/relationships" xmlns:p="http://schemas.openxmlformats.org/presentationml/2006/main">
  <p:tag name="VMAPS" val="MAP"/>
  <p:tag name="VMAPS_LEFT" val="583.8581"/>
  <p:tag name="VMAPS_TOP" val="89.5552"/>
  <p:tag name="VMAPS_WIDTH" val="11.98984"/>
  <p:tag name="VMAPS_HEIGHT" val="2.815591"/>
</p:tagLst>
</file>

<file path=ppt/tags/tag1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270.xml><?xml version="1.0" encoding="utf-8"?>
<p:tagLst xmlns:a="http://schemas.openxmlformats.org/drawingml/2006/main" xmlns:r="http://schemas.openxmlformats.org/officeDocument/2006/relationships" xmlns:p="http://schemas.openxmlformats.org/presentationml/2006/main">
  <p:tag name="VMAPS" val="MAP"/>
  <p:tag name="VMAPS_LEFT" val="580.2935"/>
  <p:tag name="VMAPS_TOP" val="87.56772"/>
  <p:tag name="VMAPS_WIDTH" val="8.74937"/>
  <p:tag name="VMAPS_HEIGHT" val="1.98748"/>
</p:tagLst>
</file>

<file path=ppt/tags/tag1271.xml><?xml version="1.0" encoding="utf-8"?>
<p:tagLst xmlns:a="http://schemas.openxmlformats.org/drawingml/2006/main" xmlns:r="http://schemas.openxmlformats.org/officeDocument/2006/relationships" xmlns:p="http://schemas.openxmlformats.org/presentationml/2006/main">
  <p:tag name="VMAPS" val="MAP"/>
  <p:tag name="VMAPS_LEFT" val="580.7797"/>
  <p:tag name="VMAPS_TOP" val="89.5552"/>
  <p:tag name="VMAPS_WIDTH" val="3.888661"/>
  <p:tag name="VMAPS_HEIGHT" val="0.9937008"/>
</p:tagLst>
</file>

<file path=ppt/tags/tag1272.xml><?xml version="1.0" encoding="utf-8"?>
<p:tagLst xmlns:a="http://schemas.openxmlformats.org/drawingml/2006/main" xmlns:r="http://schemas.openxmlformats.org/officeDocument/2006/relationships" xmlns:p="http://schemas.openxmlformats.org/presentationml/2006/main">
  <p:tag name="VMAPS" val="MAP"/>
  <p:tag name="VMAPS_LEFT" val="597.3063"/>
  <p:tag name="VMAPS_TOP" val="90.71457"/>
  <p:tag name="VMAPS_WIDTH" val="8.10126"/>
  <p:tag name="VMAPS_HEIGHT" val="3.312441"/>
</p:tagLst>
</file>

<file path=ppt/tags/tag1273.xml><?xml version="1.0" encoding="utf-8"?>
<p:tagLst xmlns:a="http://schemas.openxmlformats.org/drawingml/2006/main" xmlns:r="http://schemas.openxmlformats.org/officeDocument/2006/relationships" xmlns:p="http://schemas.openxmlformats.org/presentationml/2006/main">
  <p:tag name="VMAPS" val="MAP"/>
  <p:tag name="VMAPS_LEFT" val="727.0886"/>
  <p:tag name="VMAPS_TOP" val="151.1665"/>
  <p:tag name="VMAPS_WIDTH" val="18.63299"/>
  <p:tag name="VMAPS_HEIGHT" val="22.19331"/>
</p:tagLst>
</file>

<file path=ppt/tags/tag1274.xml><?xml version="1.0" encoding="utf-8"?>
<p:tagLst xmlns:a="http://schemas.openxmlformats.org/drawingml/2006/main" xmlns:r="http://schemas.openxmlformats.org/officeDocument/2006/relationships" xmlns:p="http://schemas.openxmlformats.org/presentationml/2006/main">
  <p:tag name="VMAPS" val="MAP"/>
  <p:tag name="VMAPS_LEFT" val="747.9899"/>
  <p:tag name="VMAPS_TOP" val="107.7736"/>
  <p:tag name="VMAPS_WIDTH" val="5.832913"/>
  <p:tag name="VMAPS_HEIGHT" val="1.656142"/>
</p:tagLst>
</file>

<file path=ppt/tags/tag1275.xml><?xml version="1.0" encoding="utf-8"?>
<p:tagLst xmlns:a="http://schemas.openxmlformats.org/drawingml/2006/main" xmlns:r="http://schemas.openxmlformats.org/officeDocument/2006/relationships" xmlns:p="http://schemas.openxmlformats.org/presentationml/2006/main">
  <p:tag name="VMAPS" val="MAP"/>
  <p:tag name="VMAPS_LEFT" val="733.7316"/>
  <p:tag name="VMAPS_TOP" val="111.0861"/>
  <p:tag name="VMAPS_WIDTH" val="3.240551"/>
  <p:tag name="VMAPS_HEIGHT" val="1.324961"/>
</p:tagLst>
</file>

<file path=ppt/tags/tag1276.xml><?xml version="1.0" encoding="utf-8"?>
<p:tagLst xmlns:a="http://schemas.openxmlformats.org/drawingml/2006/main" xmlns:r="http://schemas.openxmlformats.org/officeDocument/2006/relationships" xmlns:p="http://schemas.openxmlformats.org/presentationml/2006/main">
  <p:tag name="VMAPS" val="MAP"/>
  <p:tag name="VMAPS_LEFT" val="675.0784"/>
  <p:tag name="VMAPS_TOP" val="102.4737"/>
  <p:tag name="VMAPS_WIDTH" val="6.480945"/>
  <p:tag name="VMAPS_HEIGHT" val="1.656142"/>
</p:tagLst>
</file>

<file path=ppt/tags/tag1277.xml><?xml version="1.0" encoding="utf-8"?>
<p:tagLst xmlns:a="http://schemas.openxmlformats.org/drawingml/2006/main" xmlns:r="http://schemas.openxmlformats.org/officeDocument/2006/relationships" xmlns:p="http://schemas.openxmlformats.org/presentationml/2006/main">
  <p:tag name="VMAPS" val="MAP"/>
  <p:tag name="VMAPS_LEFT" val="678.9671"/>
  <p:tag name="VMAPS_TOP" val="98.99567"/>
  <p:tag name="VMAPS_WIDTH" val="9.073386"/>
  <p:tag name="VMAPS_HEIGHT" val="1.49063"/>
</p:tagLst>
</file>

<file path=ppt/tags/tag1278.xml><?xml version="1.0" encoding="utf-8"?>
<p:tagLst xmlns:a="http://schemas.openxmlformats.org/drawingml/2006/main" xmlns:r="http://schemas.openxmlformats.org/officeDocument/2006/relationships" xmlns:p="http://schemas.openxmlformats.org/presentationml/2006/main">
  <p:tag name="VMAPS" val="MAP"/>
  <p:tag name="VMAPS_LEFT" val="672.8101"/>
  <p:tag name="VMAPS_TOP" val="98.16756"/>
  <p:tag name="VMAPS_WIDTH" val="5.508898"/>
  <p:tag name="VMAPS_HEIGHT" val="1.98748"/>
</p:tagLst>
</file>

<file path=ppt/tags/tag1279.xml><?xml version="1.0" encoding="utf-8"?>
<p:tagLst xmlns:a="http://schemas.openxmlformats.org/drawingml/2006/main" xmlns:r="http://schemas.openxmlformats.org/officeDocument/2006/relationships" xmlns:p="http://schemas.openxmlformats.org/presentationml/2006/main">
  <p:tag name="VMAPS" val="MAP"/>
  <p:tag name="VMAPS_LEFT" val="662.7645"/>
  <p:tag name="VMAPS_TOP" val="97.33953"/>
  <p:tag name="VMAPS_WIDTH" val="13.12409"/>
  <p:tag name="VMAPS_HEIGHT" val="3.14685"/>
</p:tagLst>
</file>

<file path=ppt/tags/tag128.xml><?xml version="1.0" encoding="utf-8"?>
<p:tagLst xmlns:a="http://schemas.openxmlformats.org/drawingml/2006/main" xmlns:r="http://schemas.openxmlformats.org/officeDocument/2006/relationships" xmlns:p="http://schemas.openxmlformats.org/presentationml/2006/main">
  <p:tag name="SHAPETYPE" val="footer"/>
</p:tagLst>
</file>

<file path=ppt/tags/tag1280.xml><?xml version="1.0" encoding="utf-8"?>
<p:tagLst xmlns:a="http://schemas.openxmlformats.org/drawingml/2006/main" xmlns:r="http://schemas.openxmlformats.org/officeDocument/2006/relationships" xmlns:p="http://schemas.openxmlformats.org/presentationml/2006/main">
  <p:tag name="VMAPS" val="MAP"/>
  <p:tag name="VMAPS_LEFT" val="660.4962"/>
  <p:tag name="VMAPS_TOP" val="98.16756"/>
  <p:tag name="VMAPS_WIDTH" val="1.782283"/>
  <p:tag name="VMAPS_HEIGHT" val="1.159291"/>
</p:tagLst>
</file>

<file path=ppt/tags/tag1281.xml><?xml version="1.0" encoding="utf-8"?>
<p:tagLst xmlns:a="http://schemas.openxmlformats.org/drawingml/2006/main" xmlns:r="http://schemas.openxmlformats.org/officeDocument/2006/relationships" xmlns:p="http://schemas.openxmlformats.org/presentationml/2006/main">
  <p:tag name="VMAPS" val="MAP"/>
  <p:tag name="VMAPS_LEFT" val="763.2202"/>
  <p:tag name="VMAPS_TOP" val="160.9382"/>
  <p:tag name="VMAPS_WIDTH" val="0.8101575"/>
  <p:tag name="VMAPS_HEIGHT" val="1.159291"/>
</p:tagLst>
</file>

<file path=ppt/tags/tag1282.xml><?xml version="1.0" encoding="utf-8"?>
<p:tagLst xmlns:a="http://schemas.openxmlformats.org/drawingml/2006/main" xmlns:r="http://schemas.openxmlformats.org/officeDocument/2006/relationships" xmlns:p="http://schemas.openxmlformats.org/presentationml/2006/main">
  <p:tag name="VMAPS" val="MAP"/>
  <p:tag name="VMAPS_LEFT" val="758.1974"/>
  <p:tag name="VMAPS_TOP" val="138.0824"/>
  <p:tag name="VMAPS_WIDTH" val="1.944331"/>
  <p:tag name="VMAPS_HEIGHT" val="1.82189"/>
</p:tagLst>
</file>

<file path=ppt/tags/tag1283.xml><?xml version="1.0" encoding="utf-8"?>
<p:tagLst xmlns:a="http://schemas.openxmlformats.org/drawingml/2006/main" xmlns:r="http://schemas.openxmlformats.org/officeDocument/2006/relationships" xmlns:p="http://schemas.openxmlformats.org/presentationml/2006/main">
  <p:tag name="VMAPS" val="MAP"/>
  <p:tag name="VMAPS_LEFT" val="676.6987"/>
  <p:tag name="VMAPS_TOP" val="105.1236"/>
  <p:tag name="VMAPS_WIDTH" val="1.944331"/>
  <p:tag name="VMAPS_HEIGHT" val="0.9937008"/>
</p:tagLst>
</file>

<file path=ppt/tags/tag1284.xml><?xml version="1.0" encoding="utf-8"?>
<p:tagLst xmlns:a="http://schemas.openxmlformats.org/drawingml/2006/main" xmlns:r="http://schemas.openxmlformats.org/officeDocument/2006/relationships" xmlns:p="http://schemas.openxmlformats.org/presentationml/2006/main">
  <p:tag name="VMAPS" val="MAP"/>
  <p:tag name="VMAPS_LEFT" val="673.2961"/>
  <p:tag name="VMAPS_TOP" val="102.1424"/>
  <p:tag name="VMAPS_WIDTH" val="1.29622"/>
  <p:tag name="VMAPS_HEIGHT" val="0.3311811"/>
</p:tagLst>
</file>

<file path=ppt/tags/tag1285.xml><?xml version="1.0" encoding="utf-8"?>
<p:tagLst xmlns:a="http://schemas.openxmlformats.org/drawingml/2006/main" xmlns:r="http://schemas.openxmlformats.org/officeDocument/2006/relationships" xmlns:p="http://schemas.openxmlformats.org/presentationml/2006/main">
  <p:tag name="VMAPS" val="MAP"/>
  <p:tag name="VMAPS_LEFT" val="715.7467"/>
  <p:tag name="VMAPS_TOP" val="148.5165"/>
  <p:tag name="VMAPS_WIDTH" val="1.458268"/>
  <p:tag name="VMAPS_HEIGHT" val="1.159291"/>
</p:tagLst>
</file>

<file path=ppt/tags/tag1286.xml><?xml version="1.0" encoding="utf-8"?>
<p:tagLst xmlns:a="http://schemas.openxmlformats.org/drawingml/2006/main" xmlns:r="http://schemas.openxmlformats.org/officeDocument/2006/relationships" xmlns:p="http://schemas.openxmlformats.org/presentationml/2006/main">
  <p:tag name="VMAPS" val="MAP"/>
  <p:tag name="VMAPS_LEFT" val="734.3797"/>
  <p:tag name="VMAPS_TOP" val="226.6899"/>
  <p:tag name="VMAPS_WIDTH" val="0.8101575"/>
  <p:tag name="VMAPS_HEIGHT" val="1.98748"/>
</p:tagLst>
</file>

<file path=ppt/tags/tag1287.xml><?xml version="1.0" encoding="utf-8"?>
<p:tagLst xmlns:a="http://schemas.openxmlformats.org/drawingml/2006/main" xmlns:r="http://schemas.openxmlformats.org/officeDocument/2006/relationships" xmlns:p="http://schemas.openxmlformats.org/presentationml/2006/main">
  <p:tag name="VMAPS" val="MAP"/>
  <p:tag name="VMAPS_LEFT" val="732.7595"/>
  <p:tag name="VMAPS_TOP" val="207.3122"/>
  <p:tag name="VMAPS_WIDTH" val="5.670945"/>
  <p:tag name="VMAPS_HEIGHT" val="7.949764"/>
</p:tagLst>
</file>

<file path=ppt/tags/tag1288.xml><?xml version="1.0" encoding="utf-8"?>
<p:tagLst xmlns:a="http://schemas.openxmlformats.org/drawingml/2006/main" xmlns:r="http://schemas.openxmlformats.org/officeDocument/2006/relationships" xmlns:p="http://schemas.openxmlformats.org/presentationml/2006/main">
  <p:tag name="VMAPS" val="MAP"/>
  <p:tag name="VMAPS_LEFT" val="738.4303"/>
  <p:tag name="VMAPS_TOP" val="205.9872"/>
  <p:tag name="VMAPS_WIDTH" val="5.832913"/>
  <p:tag name="VMAPS_HEIGHT" val="4.471732"/>
</p:tagLst>
</file>

<file path=ppt/tags/tag1289.xml><?xml version="1.0" encoding="utf-8"?>
<p:tagLst xmlns:a="http://schemas.openxmlformats.org/drawingml/2006/main" xmlns:r="http://schemas.openxmlformats.org/officeDocument/2006/relationships" xmlns:p="http://schemas.openxmlformats.org/presentationml/2006/main">
  <p:tag name="VMAPS" val="MAP"/>
  <p:tag name="VMAPS_LEFT" val="743.291"/>
  <p:tag name="VMAPS_TOP" val="174.8503"/>
  <p:tag name="VMAPS_WIDTH" val="12.31394"/>
  <p:tag name="VMAPS_HEIGHT" val="11.26228"/>
</p:tagLst>
</file>

<file path=ppt/tags/tag12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290.xml><?xml version="1.0" encoding="utf-8"?>
<p:tagLst xmlns:a="http://schemas.openxmlformats.org/drawingml/2006/main" xmlns:r="http://schemas.openxmlformats.org/officeDocument/2006/relationships" xmlns:p="http://schemas.openxmlformats.org/presentationml/2006/main">
  <p:tag name="VMAPS" val="MAP"/>
  <p:tag name="VMAPS_LEFT" val="756.2531"/>
  <p:tag name="VMAPS_TOP" val="174.8503"/>
  <p:tag name="VMAPS_WIDTH" val="2.592441"/>
  <p:tag name="VMAPS_HEIGHT" val="2.815591"/>
</p:tagLst>
</file>

<file path=ppt/tags/tag1291.xml><?xml version="1.0" encoding="utf-8"?>
<p:tagLst xmlns:a="http://schemas.openxmlformats.org/drawingml/2006/main" xmlns:r="http://schemas.openxmlformats.org/officeDocument/2006/relationships" xmlns:p="http://schemas.openxmlformats.org/presentationml/2006/main">
  <p:tag name="VMAPS" val="MAP"/>
  <p:tag name="VMAPS_LEFT" val="754.4709"/>
  <p:tag name="VMAPS_TOP" val="177.6659"/>
  <p:tag name="VMAPS_WIDTH" val="0.6481102"/>
  <p:tag name="VMAPS_HEIGHT" val="1.98748"/>
</p:tagLst>
</file>

<file path=ppt/tags/tag1292.xml><?xml version="1.0" encoding="utf-8"?>
<p:tagLst xmlns:a="http://schemas.openxmlformats.org/drawingml/2006/main" xmlns:r="http://schemas.openxmlformats.org/officeDocument/2006/relationships" xmlns:p="http://schemas.openxmlformats.org/presentationml/2006/main">
  <p:tag name="VMAPS" val="MAP"/>
  <p:tag name="VMAPS_LEFT" val="734.7038"/>
  <p:tag name="VMAPS_TOP" val="186.1127"/>
  <p:tag name="VMAPS_WIDTH" val="21.38732"/>
  <p:tag name="VMAPS_HEIGHT" val="22.3589"/>
</p:tagLst>
</file>

<file path=ppt/tags/tag1293.xml><?xml version="1.0" encoding="utf-8"?>
<p:tagLst xmlns:a="http://schemas.openxmlformats.org/drawingml/2006/main" xmlns:r="http://schemas.openxmlformats.org/officeDocument/2006/relationships" xmlns:p="http://schemas.openxmlformats.org/presentationml/2006/main">
  <p:tag name="VMAPS" val="MAP"/>
  <p:tag name="VMAPS_LEFT" val="716.2329"/>
  <p:tag name="VMAPS_TOP" val="270.0828"/>
  <p:tag name="VMAPS_WIDTH" val="5.184803"/>
  <p:tag name="VMAPS_HEIGHT" val="7.949764"/>
</p:tagLst>
</file>

<file path=ppt/tags/tag1294.xml><?xml version="1.0" encoding="utf-8"?>
<p:tagLst xmlns:a="http://schemas.openxmlformats.org/drawingml/2006/main" xmlns:r="http://schemas.openxmlformats.org/officeDocument/2006/relationships" xmlns:p="http://schemas.openxmlformats.org/presentationml/2006/main">
  <p:tag name="VMAPS" val="MAP"/>
  <p:tag name="VMAPS_LEFT" val="727.7367"/>
  <p:tag name="VMAPS_TOP" val="274.7202"/>
  <p:tag name="VMAPS_WIDTH" val="11.34173"/>
  <p:tag name="VMAPS_HEIGHT" val="11.75913"/>
</p:tagLst>
</file>

<file path=ppt/tags/tag1295.xml><?xml version="1.0" encoding="utf-8"?>
<p:tagLst xmlns:a="http://schemas.openxmlformats.org/drawingml/2006/main" xmlns:r="http://schemas.openxmlformats.org/officeDocument/2006/relationships" xmlns:p="http://schemas.openxmlformats.org/presentationml/2006/main">
  <p:tag name="VMAPS" val="MAP"/>
  <p:tag name="VMAPS_LEFT" val="728.5469"/>
  <p:tag name="VMAPS_TOP" val="271.5735"/>
  <p:tag name="VMAPS_WIDTH" val="2.268347"/>
  <p:tag name="VMAPS_HEIGHT" val="4.968661"/>
</p:tagLst>
</file>

<file path=ppt/tags/tag1296.xml><?xml version="1.0" encoding="utf-8"?>
<p:tagLst xmlns:a="http://schemas.openxmlformats.org/drawingml/2006/main" xmlns:r="http://schemas.openxmlformats.org/officeDocument/2006/relationships" xmlns:p="http://schemas.openxmlformats.org/presentationml/2006/main">
  <p:tag name="VMAPS" val="MAP"/>
  <p:tag name="VMAPS_LEFT" val="726.7645"/>
  <p:tag name="VMAPS_TOP" val="268.4266"/>
  <p:tag name="VMAPS_WIDTH" val="2.916457"/>
  <p:tag name="VMAPS_HEIGHT" val="4.471732"/>
</p:tagLst>
</file>

<file path=ppt/tags/tag1297.xml><?xml version="1.0" encoding="utf-8"?>
<p:tagLst xmlns:a="http://schemas.openxmlformats.org/drawingml/2006/main" xmlns:r="http://schemas.openxmlformats.org/officeDocument/2006/relationships" xmlns:p="http://schemas.openxmlformats.org/presentationml/2006/main">
  <p:tag name="VMAPS" val="MAP"/>
  <p:tag name="VMAPS_LEFT" val="720.2834"/>
  <p:tag name="VMAPS_TOP" val="250.0426"/>
  <p:tag name="VMAPS_WIDTH" val="11.17976"/>
  <p:tag name="VMAPS_HEIGHT" val="16.89338"/>
</p:tagLst>
</file>

<file path=ppt/tags/tag1298.xml><?xml version="1.0" encoding="utf-8"?>
<p:tagLst xmlns:a="http://schemas.openxmlformats.org/drawingml/2006/main" xmlns:r="http://schemas.openxmlformats.org/officeDocument/2006/relationships" xmlns:p="http://schemas.openxmlformats.org/presentationml/2006/main">
  <p:tag name="VMAPS" val="MAP"/>
  <p:tag name="VMAPS_LEFT" val="731.4633"/>
  <p:tag name="VMAPS_TOP" val="273.3952"/>
  <p:tag name="VMAPS_WIDTH" val="1.944331"/>
  <p:tag name="VMAPS_HEIGHT" val="1.324961"/>
</p:tagLst>
</file>

<file path=ppt/tags/tag1299.xml><?xml version="1.0" encoding="utf-8"?>
<p:tagLst xmlns:a="http://schemas.openxmlformats.org/drawingml/2006/main" xmlns:r="http://schemas.openxmlformats.org/officeDocument/2006/relationships" xmlns:p="http://schemas.openxmlformats.org/presentationml/2006/main">
  <p:tag name="VMAPS" val="MAP"/>
  <p:tag name="VMAPS_LEFT" val="732.4354"/>
  <p:tag name="VMAPS_TOP" val="269.5859"/>
  <p:tag name="VMAPS_WIDTH" val="2.754488"/>
  <p:tag name="VMAPS_HEIGHT" val="4.306142"/>
</p:tagLst>
</file>

<file path=ppt/tags/tag13.xml><?xml version="1.0" encoding="utf-8"?>
<p:tagLst xmlns:a="http://schemas.openxmlformats.org/drawingml/2006/main" xmlns:r="http://schemas.openxmlformats.org/officeDocument/2006/relationships" xmlns:p="http://schemas.openxmlformats.org/presentationml/2006/main">
  <p:tag name="SHAPETYPE" val="footer"/>
</p:tagLst>
</file>

<file path=ppt/tags/tag1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00.xml><?xml version="1.0" encoding="utf-8"?>
<p:tagLst xmlns:a="http://schemas.openxmlformats.org/drawingml/2006/main" xmlns:r="http://schemas.openxmlformats.org/officeDocument/2006/relationships" xmlns:p="http://schemas.openxmlformats.org/presentationml/2006/main">
  <p:tag name="VMAPS" val="MAP"/>
  <p:tag name="VMAPS_LEFT" val="732.4354"/>
  <p:tag name="VMAPS_TOP" val="266.936"/>
  <p:tag name="VMAPS_WIDTH" val="3.726614"/>
  <p:tag name="VMAPS_HEIGHT" val="3.809291"/>
</p:tagLst>
</file>

<file path=ppt/tags/tag1301.xml><?xml version="1.0" encoding="utf-8"?>
<p:tagLst xmlns:a="http://schemas.openxmlformats.org/drawingml/2006/main" xmlns:r="http://schemas.openxmlformats.org/officeDocument/2006/relationships" xmlns:p="http://schemas.openxmlformats.org/presentationml/2006/main">
  <p:tag name="VMAPS" val="MAP"/>
  <p:tag name="VMAPS_LEFT" val="729.681"/>
  <p:tag name="VMAPS_TOP" val="266.6047"/>
  <p:tag name="VMAPS_WIDTH" val="1.782283"/>
  <p:tag name="VMAPS_HEIGHT" val="2.15315"/>
</p:tagLst>
</file>

<file path=ppt/tags/tag1302.xml><?xml version="1.0" encoding="utf-8"?>
<p:tagLst xmlns:a="http://schemas.openxmlformats.org/drawingml/2006/main" xmlns:r="http://schemas.openxmlformats.org/officeDocument/2006/relationships" xmlns:p="http://schemas.openxmlformats.org/presentationml/2006/main">
  <p:tag name="VMAPS" val="MAP"/>
  <p:tag name="VMAPS_LEFT" val="722.5518"/>
  <p:tag name="VMAPS_TOP" val="264.1205"/>
  <p:tag name="VMAPS_WIDTH" val="3.240551"/>
  <p:tag name="VMAPS_HEIGHT" val="3.478031"/>
</p:tagLst>
</file>

<file path=ppt/tags/tag1303.xml><?xml version="1.0" encoding="utf-8"?>
<p:tagLst xmlns:a="http://schemas.openxmlformats.org/drawingml/2006/main" xmlns:r="http://schemas.openxmlformats.org/officeDocument/2006/relationships" xmlns:p="http://schemas.openxmlformats.org/presentationml/2006/main">
  <p:tag name="VMAPS" val="MAP"/>
  <p:tag name="VMAPS_LEFT" val="730.8152"/>
  <p:tag name="VMAPS_TOP" val="270.4141"/>
  <p:tag name="VMAPS_WIDTH" val="0.972126"/>
  <p:tag name="VMAPS_HEIGHT" val="4.802992"/>
</p:tagLst>
</file>

<file path=ppt/tags/tag1304.xml><?xml version="1.0" encoding="utf-8"?>
<p:tagLst xmlns:a="http://schemas.openxmlformats.org/drawingml/2006/main" xmlns:r="http://schemas.openxmlformats.org/officeDocument/2006/relationships" xmlns:p="http://schemas.openxmlformats.org/presentationml/2006/main">
  <p:tag name="VMAPS" val="MAP"/>
  <p:tag name="VMAPS_LEFT" val="675.5645"/>
  <p:tag name="VMAPS_TOP" val="283.4982"/>
  <p:tag name="VMAPS_WIDTH" val="10.36961"/>
  <p:tag name="VMAPS_HEIGHT" val="14.74039"/>
</p:tagLst>
</file>

<file path=ppt/tags/tag1305.xml><?xml version="1.0" encoding="utf-8"?>
<p:tagLst xmlns:a="http://schemas.openxmlformats.org/drawingml/2006/main" xmlns:r="http://schemas.openxmlformats.org/officeDocument/2006/relationships" xmlns:p="http://schemas.openxmlformats.org/presentationml/2006/main">
  <p:tag name="VMAPS" val="MAP"/>
  <p:tag name="VMAPS_LEFT" val="698.572"/>
  <p:tag name="VMAPS_TOP" val="282.5044"/>
  <p:tag name="VMAPS_WIDTH" val="22.84559"/>
  <p:tag name="VMAPS_HEIGHT" val="16.5622"/>
</p:tagLst>
</file>

<file path=ppt/tags/tag1306.xml><?xml version="1.0" encoding="utf-8"?>
<p:tagLst xmlns:a="http://schemas.openxmlformats.org/drawingml/2006/main" xmlns:r="http://schemas.openxmlformats.org/officeDocument/2006/relationships" xmlns:p="http://schemas.openxmlformats.org/presentationml/2006/main">
  <p:tag name="VMAPS" val="MAP"/>
  <p:tag name="VMAPS_LEFT" val="539.6253"/>
  <p:tag name="VMAPS_TOP" val="335.8347"/>
  <p:tag name="VMAPS_WIDTH" val="0.8101575"/>
  <p:tag name="VMAPS_HEIGHT" val="0.9937008"/>
</p:tagLst>
</file>

<file path=ppt/tags/tag1307.xml><?xml version="1.0" encoding="utf-8"?>
<p:tagLst xmlns:a="http://schemas.openxmlformats.org/drawingml/2006/main" xmlns:r="http://schemas.openxmlformats.org/officeDocument/2006/relationships" xmlns:p="http://schemas.openxmlformats.org/presentationml/2006/main">
  <p:tag name="VMAPS" val="MAP"/>
  <p:tag name="VMAPS_LEFT" val="535.8987"/>
  <p:tag name="VMAPS_TOP" val="335.8347"/>
  <p:tag name="VMAPS_WIDTH" val="17.82283"/>
  <p:tag name="VMAPS_HEIGHT" val="38.09299"/>
</p:tagLst>
</file>

<file path=ppt/tags/tag1308.xml><?xml version="1.0" encoding="utf-8"?>
<p:tagLst xmlns:a="http://schemas.openxmlformats.org/drawingml/2006/main" xmlns:r="http://schemas.openxmlformats.org/officeDocument/2006/relationships" xmlns:p="http://schemas.openxmlformats.org/presentationml/2006/main">
  <p:tag name="VMAPS" val="MAP"/>
  <p:tag name="VMAPS_LEFT" val="493.9342"/>
  <p:tag name="VMAPS_TOP" val="183.9596"/>
  <p:tag name="VMAPS_WIDTH" val="42.12661"/>
  <p:tag name="VMAPS_HEIGHT" val="17.55591"/>
</p:tagLst>
</file>

<file path=ppt/tags/tag1309.xml><?xml version="1.0" encoding="utf-8"?>
<p:tagLst xmlns:a="http://schemas.openxmlformats.org/drawingml/2006/main" xmlns:r="http://schemas.openxmlformats.org/officeDocument/2006/relationships" xmlns:p="http://schemas.openxmlformats.org/presentationml/2006/main">
  <p:tag name="VMAPS" val="MAP"/>
  <p:tag name="VMAPS_LEFT" val="493.2861"/>
  <p:tag name="VMAPS_TOP" val="184.7877"/>
  <p:tag name="VMAPS_WIDTH" val="6.643071"/>
  <p:tag name="VMAPS_HEIGHT" val="5.134331"/>
</p:tagLst>
</file>

<file path=ppt/tags/tag131.xml><?xml version="1.0" encoding="utf-8"?>
<p:tagLst xmlns:a="http://schemas.openxmlformats.org/drawingml/2006/main" xmlns:r="http://schemas.openxmlformats.org/officeDocument/2006/relationships" xmlns:p="http://schemas.openxmlformats.org/presentationml/2006/main">
  <p:tag name="SHAPETYPE" val="footer"/>
</p:tagLst>
</file>

<file path=ppt/tags/tag1310.xml><?xml version="1.0" encoding="utf-8"?>
<p:tagLst xmlns:a="http://schemas.openxmlformats.org/drawingml/2006/main" xmlns:r="http://schemas.openxmlformats.org/officeDocument/2006/relationships" xmlns:p="http://schemas.openxmlformats.org/presentationml/2006/main">
  <p:tag name="VMAPS" val="MAP"/>
  <p:tag name="VMAPS_LEFT" val="488.5873"/>
  <p:tag name="VMAPS_TOP" val="202.3436"/>
  <p:tag name="VMAPS_WIDTH" val="6.319055"/>
  <p:tag name="VMAPS_HEIGHT" val="1.98748"/>
</p:tagLst>
</file>

<file path=ppt/tags/tag1311.xml><?xml version="1.0" encoding="utf-8"?>
<p:tagLst xmlns:a="http://schemas.openxmlformats.org/drawingml/2006/main" xmlns:r="http://schemas.openxmlformats.org/officeDocument/2006/relationships" xmlns:p="http://schemas.openxmlformats.org/presentationml/2006/main">
  <p:tag name="VMAPS" val="MAP"/>
  <p:tag name="VMAPS_LEFT" val="482.5924"/>
  <p:tag name="VMAPS_TOP" val="194.8906"/>
  <p:tag name="VMAPS_WIDTH" val="5.346929"/>
  <p:tag name="VMAPS_HEIGHT" val="5.134331"/>
</p:tagLst>
</file>

<file path=ppt/tags/tag1312.xml><?xml version="1.0" encoding="utf-8"?>
<p:tagLst xmlns:a="http://schemas.openxmlformats.org/drawingml/2006/main" xmlns:r="http://schemas.openxmlformats.org/officeDocument/2006/relationships" xmlns:p="http://schemas.openxmlformats.org/presentationml/2006/main">
  <p:tag name="VMAPS" val="MAP"/>
  <p:tag name="VMAPS_LEFT" val="480.486"/>
  <p:tag name="VMAPS_TOP" val="185.1189"/>
  <p:tag name="VMAPS_WIDTH" val="13.93425"/>
  <p:tag name="VMAPS_HEIGHT" val="11.26228"/>
</p:tagLst>
</file>

<file path=ppt/tags/tag1313.xml><?xml version="1.0" encoding="utf-8"?>
<p:tagLst xmlns:a="http://schemas.openxmlformats.org/drawingml/2006/main" xmlns:r="http://schemas.openxmlformats.org/officeDocument/2006/relationships" xmlns:p="http://schemas.openxmlformats.org/presentationml/2006/main">
  <p:tag name="VMAPS" val="MAP"/>
  <p:tag name="VMAPS_LEFT" val="526.1772"/>
  <p:tag name="VMAPS_TOP" val="87.23653"/>
  <p:tag name="VMAPS_WIDTH" val="2.916457"/>
  <p:tag name="VMAPS_HEIGHT" val="0.3311811"/>
</p:tagLst>
</file>

<file path=ppt/tags/tag1314.xml><?xml version="1.0" encoding="utf-8"?>
<p:tagLst xmlns:a="http://schemas.openxmlformats.org/drawingml/2006/main" xmlns:r="http://schemas.openxmlformats.org/officeDocument/2006/relationships" xmlns:p="http://schemas.openxmlformats.org/presentationml/2006/main">
  <p:tag name="VMAPS" val="MAP"/>
  <p:tag name="VMAPS_LEFT" val="536.0607"/>
  <p:tag name="VMAPS_TOP" val="87.23653"/>
  <p:tag name="VMAPS_WIDTH" val="4.698819"/>
  <p:tag name="VMAPS_HEIGHT" val="1.159291"/>
</p:tagLst>
</file>

<file path=ppt/tags/tag1315.xml><?xml version="1.0" encoding="utf-8"?>
<p:tagLst xmlns:a="http://schemas.openxmlformats.org/drawingml/2006/main" xmlns:r="http://schemas.openxmlformats.org/officeDocument/2006/relationships" xmlns:p="http://schemas.openxmlformats.org/presentationml/2006/main">
  <p:tag name="VMAPS" val="MAP"/>
  <p:tag name="VMAPS_LEFT" val="532.1721"/>
  <p:tag name="VMAPS_TOP" val="88.3959"/>
  <p:tag name="VMAPS_WIDTH" val="3.888661"/>
  <p:tag name="VMAPS_HEIGHT" val="0.8281102"/>
</p:tagLst>
</file>

<file path=ppt/tags/tag1316.xml><?xml version="1.0" encoding="utf-8"?>
<p:tagLst xmlns:a="http://schemas.openxmlformats.org/drawingml/2006/main" xmlns:r="http://schemas.openxmlformats.org/officeDocument/2006/relationships" xmlns:p="http://schemas.openxmlformats.org/presentationml/2006/main">
  <p:tag name="VMAPS" val="MAP"/>
  <p:tag name="VMAPS_LEFT" val="527.3114"/>
  <p:tag name="VMAPS_TOP" val="89.22401"/>
  <p:tag name="VMAPS_WIDTH" val="1.782283"/>
  <p:tag name="VMAPS_HEIGHT" val="0.3311811"/>
</p:tagLst>
</file>

<file path=ppt/tags/tag1317.xml><?xml version="1.0" encoding="utf-8"?>
<p:tagLst xmlns:a="http://schemas.openxmlformats.org/drawingml/2006/main" xmlns:r="http://schemas.openxmlformats.org/officeDocument/2006/relationships" xmlns:p="http://schemas.openxmlformats.org/presentationml/2006/main">
  <p:tag name="VMAPS" val="MAP"/>
  <p:tag name="VMAPS_LEFT" val="522.4506"/>
  <p:tag name="VMAPS_TOP" val="89.22401"/>
  <p:tag name="VMAPS_WIDTH" val="1.134252"/>
  <p:tag name="VMAPS_HEIGHT" val="0.3311811"/>
</p:tagLst>
</file>

<file path=ppt/tags/tag1318.xml><?xml version="1.0" encoding="utf-8"?>
<p:tagLst xmlns:a="http://schemas.openxmlformats.org/drawingml/2006/main" xmlns:r="http://schemas.openxmlformats.org/officeDocument/2006/relationships" xmlns:p="http://schemas.openxmlformats.org/presentationml/2006/main">
  <p:tag name="VMAPS" val="MAP"/>
  <p:tag name="VMAPS_LEFT" val="513.0532"/>
  <p:tag name="VMAPS_TOP" val="87.89906"/>
  <p:tag name="VMAPS_WIDTH" val="7.291181"/>
  <p:tag name="VMAPS_HEIGHT" val="1.656142"/>
</p:tagLst>
</file>

<file path=ppt/tags/tag1319.xml><?xml version="1.0" encoding="utf-8"?>
<p:tagLst xmlns:a="http://schemas.openxmlformats.org/drawingml/2006/main" xmlns:r="http://schemas.openxmlformats.org/officeDocument/2006/relationships" xmlns:p="http://schemas.openxmlformats.org/presentationml/2006/main">
  <p:tag name="VMAPS" val="MAP"/>
  <p:tag name="VMAPS_LEFT" val="509.4886"/>
  <p:tag name="VMAPS_TOP" val="87.89906"/>
  <p:tag name="VMAPS_WIDTH" val="6.643071"/>
  <p:tag name="VMAPS_HEIGHT" val="0.8281102"/>
</p:tagLst>
</file>

<file path=ppt/tags/tag1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20.xml><?xml version="1.0" encoding="utf-8"?>
<p:tagLst xmlns:a="http://schemas.openxmlformats.org/drawingml/2006/main" xmlns:r="http://schemas.openxmlformats.org/officeDocument/2006/relationships" xmlns:p="http://schemas.openxmlformats.org/presentationml/2006/main">
  <p:tag name="VMAPS" val="MAP"/>
  <p:tag name="VMAPS_LEFT" val="470.6025"/>
  <p:tag name="VMAPS_TOP" val="88.3959"/>
  <p:tag name="VMAPS_WIDTH" val="13.28606"/>
  <p:tag name="VMAPS_HEIGHT" val="2.65"/>
</p:tagLst>
</file>

<file path=ppt/tags/tag1321.xml><?xml version="1.0" encoding="utf-8"?>
<p:tagLst xmlns:a="http://schemas.openxmlformats.org/drawingml/2006/main" xmlns:r="http://schemas.openxmlformats.org/officeDocument/2006/relationships" xmlns:p="http://schemas.openxmlformats.org/presentationml/2006/main">
  <p:tag name="VMAPS" val="MAP"/>
  <p:tag name="VMAPS_LEFT" val="475.1392"/>
  <p:tag name="VMAPS_TOP" val="93.03331"/>
  <p:tag name="VMAPS_WIDTH" val="6.157008"/>
  <p:tag name="VMAPS_HEIGHT" val="2.31874"/>
</p:tagLst>
</file>

<file path=ppt/tags/tag1322.xml><?xml version="1.0" encoding="utf-8"?>
<p:tagLst xmlns:a="http://schemas.openxmlformats.org/drawingml/2006/main" xmlns:r="http://schemas.openxmlformats.org/officeDocument/2006/relationships" xmlns:p="http://schemas.openxmlformats.org/presentationml/2006/main">
  <p:tag name="VMAPS" val="MAP"/>
  <p:tag name="VMAPS_LEFT" val="459.0987"/>
  <p:tag name="VMAPS_TOP" val="89.55527"/>
  <p:tag name="VMAPS_WIDTH" val="16.85063"/>
  <p:tag name="VMAPS_HEIGHT" val="6.956142"/>
</p:tagLst>
</file>

<file path=ppt/tags/tag1323.xml><?xml version="1.0" encoding="utf-8"?>
<p:tagLst xmlns:a="http://schemas.openxmlformats.org/drawingml/2006/main" xmlns:r="http://schemas.openxmlformats.org/officeDocument/2006/relationships" xmlns:p="http://schemas.openxmlformats.org/presentationml/2006/main">
  <p:tag name="VMAPS" val="MAP"/>
  <p:tag name="VMAPS_LEFT" val="474.005"/>
  <p:tag name="VMAPS_TOP" val="92.37086"/>
  <p:tag name="VMAPS_WIDTH" val="3.240551"/>
  <p:tag name="VMAPS_HEIGHT" val="0.662441"/>
</p:tagLst>
</file>

<file path=ppt/tags/tag1324.xml><?xml version="1.0" encoding="utf-8"?>
<p:tagLst xmlns:a="http://schemas.openxmlformats.org/drawingml/2006/main" xmlns:r="http://schemas.openxmlformats.org/officeDocument/2006/relationships" xmlns:p="http://schemas.openxmlformats.org/presentationml/2006/main">
  <p:tag name="VMAPS" val="MAP"/>
  <p:tag name="VMAPS_LEFT" val="457.3165"/>
  <p:tag name="VMAPS_TOP" val="147.5227"/>
  <p:tag name="VMAPS_WIDTH" val="2.592441"/>
  <p:tag name="VMAPS_HEIGHT" val="1.656142"/>
</p:tagLst>
</file>

<file path=ppt/tags/tag1325.xml><?xml version="1.0" encoding="utf-8"?>
<p:tagLst xmlns:a="http://schemas.openxmlformats.org/drawingml/2006/main" xmlns:r="http://schemas.openxmlformats.org/officeDocument/2006/relationships" xmlns:p="http://schemas.openxmlformats.org/presentationml/2006/main">
  <p:tag name="VMAPS" val="MAP"/>
  <p:tag name="VMAPS_LEFT" val="459.9088"/>
  <p:tag name="VMAPS_TOP" val="145.8665"/>
  <p:tag name="VMAPS_WIDTH" val="3.240551"/>
  <p:tag name="VMAPS_HEIGHT" val="3.312441"/>
</p:tagLst>
</file>

<file path=ppt/tags/tag1326.xml><?xml version="1.0" encoding="utf-8"?>
<p:tagLst xmlns:a="http://schemas.openxmlformats.org/drawingml/2006/main" xmlns:r="http://schemas.openxmlformats.org/officeDocument/2006/relationships" xmlns:p="http://schemas.openxmlformats.org/presentationml/2006/main">
  <p:tag name="VMAPS" val="MAP"/>
  <p:tag name="VMAPS_LEFT" val="454.076"/>
  <p:tag name="VMAPS_TOP" val="141.8916"/>
  <p:tag name="VMAPS_WIDTH" val="5.184803"/>
  <p:tag name="VMAPS_HEIGHT" val="7.452913"/>
</p:tagLst>
</file>

<file path=ppt/tags/tag1327.xml><?xml version="1.0" encoding="utf-8"?>
<p:tagLst xmlns:a="http://schemas.openxmlformats.org/drawingml/2006/main" xmlns:r="http://schemas.openxmlformats.org/officeDocument/2006/relationships" xmlns:p="http://schemas.openxmlformats.org/presentationml/2006/main">
  <p:tag name="VMAPS" val="MAP"/>
  <p:tag name="VMAPS_LEFT" val="481.6202"/>
  <p:tag name="VMAPS_TOP" val="139.573"/>
  <p:tag name="VMAPS_WIDTH" val="2.592441"/>
  <p:tag name="VMAPS_HEIGHT" val="1.82189"/>
</p:tagLst>
</file>

<file path=ppt/tags/tag1328.xml><?xml version="1.0" encoding="utf-8"?>
<p:tagLst xmlns:a="http://schemas.openxmlformats.org/drawingml/2006/main" xmlns:r="http://schemas.openxmlformats.org/officeDocument/2006/relationships" xmlns:p="http://schemas.openxmlformats.org/presentationml/2006/main">
  <p:tag name="VMAPS" val="MAP"/>
  <p:tag name="VMAPS_LEFT" val="484.2127"/>
  <p:tag name="VMAPS_TOP" val="136.5917"/>
  <p:tag name="VMAPS_WIDTH" val="9.559527"/>
  <p:tag name="VMAPS_HEIGHT" val="4.968661"/>
</p:tagLst>
</file>

<file path=ppt/tags/tag1329.xml><?xml version="1.0" encoding="utf-8"?>
<p:tagLst xmlns:a="http://schemas.openxmlformats.org/drawingml/2006/main" xmlns:r="http://schemas.openxmlformats.org/officeDocument/2006/relationships" xmlns:p="http://schemas.openxmlformats.org/presentationml/2006/main">
  <p:tag name="VMAPS" val="MAP"/>
  <p:tag name="VMAPS_LEFT" val="474.005"/>
  <p:tag name="VMAPS_TOP" val="141.3948"/>
  <p:tag name="VMAPS_WIDTH" val="1.458268"/>
  <p:tag name="VMAPS_HEIGHT" val="2.484331"/>
</p:tagLst>
</file>

<file path=ppt/tags/tag1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30.xml><?xml version="1.0" encoding="utf-8"?>
<p:tagLst xmlns:a="http://schemas.openxmlformats.org/drawingml/2006/main" xmlns:r="http://schemas.openxmlformats.org/officeDocument/2006/relationships" xmlns:p="http://schemas.openxmlformats.org/presentationml/2006/main">
  <p:tag name="VMAPS" val="MAP"/>
  <p:tag name="VMAPS_LEFT" val="460.2329"/>
  <p:tag name="VMAPS_TOP" val="113.5704"/>
  <p:tag name="VMAPS_WIDTH" val="23.65567"/>
  <p:tag name="VMAPS_HEIGHT" val="34.2837"/>
</p:tagLst>
</file>

<file path=ppt/tags/tag1331.xml><?xml version="1.0" encoding="utf-8"?>
<p:tagLst xmlns:a="http://schemas.openxmlformats.org/drawingml/2006/main" xmlns:r="http://schemas.openxmlformats.org/officeDocument/2006/relationships" xmlns:p="http://schemas.openxmlformats.org/presentationml/2006/main">
  <p:tag name="VMAPS" val="MAP"/>
  <p:tag name="VMAPS_LEFT" val="425.7215"/>
  <p:tag name="VMAPS_TOP" val="144.7072"/>
  <p:tag name="VMAPS_WIDTH" val="0.972126"/>
  <p:tag name="VMAPS_HEIGHT" val="0.8281102"/>
</p:tagLst>
</file>

<file path=ppt/tags/tag1332.xml><?xml version="1.0" encoding="utf-8"?>
<p:tagLst xmlns:a="http://schemas.openxmlformats.org/drawingml/2006/main" xmlns:r="http://schemas.openxmlformats.org/officeDocument/2006/relationships" xmlns:p="http://schemas.openxmlformats.org/presentationml/2006/main">
  <p:tag name="VMAPS" val="MAP"/>
  <p:tag name="VMAPS_LEFT" val="435.6051"/>
  <p:tag name="VMAPS_TOP" val="134.1074"/>
  <p:tag name="VMAPS_WIDTH" val="0.6481102"/>
  <p:tag name="VMAPS_HEIGHT" val="1.98748"/>
</p:tagLst>
</file>

<file path=ppt/tags/tag1333.xml><?xml version="1.0" encoding="utf-8"?>
<p:tagLst xmlns:a="http://schemas.openxmlformats.org/drawingml/2006/main" xmlns:r="http://schemas.openxmlformats.org/officeDocument/2006/relationships" xmlns:p="http://schemas.openxmlformats.org/presentationml/2006/main">
  <p:tag name="VMAPS" val="MAP"/>
  <p:tag name="VMAPS_LEFT" val="424.7494"/>
  <p:tag name="VMAPS_TOP" val="141.8916"/>
  <p:tag name="VMAPS_WIDTH" val="1.944331"/>
  <p:tag name="VMAPS_HEIGHT" val="1.656142"/>
</p:tagLst>
</file>

<file path=ppt/tags/tag1334.xml><?xml version="1.0" encoding="utf-8"?>
<p:tagLst xmlns:a="http://schemas.openxmlformats.org/drawingml/2006/main" xmlns:r="http://schemas.openxmlformats.org/officeDocument/2006/relationships" xmlns:p="http://schemas.openxmlformats.org/presentationml/2006/main">
  <p:tag name="VMAPS" val="MAP"/>
  <p:tag name="VMAPS_LEFT" val="248.4658"/>
  <p:tag name="VMAPS_TOP" val="226.6899"/>
  <p:tag name="VMAPS_WIDTH" val="2.430394"/>
  <p:tag name="VMAPS_HEIGHT" val="0.8281102"/>
</p:tagLst>
</file>

<file path=ppt/tags/tag1335.xml><?xml version="1.0" encoding="utf-8"?>
<p:tagLst xmlns:a="http://schemas.openxmlformats.org/drawingml/2006/main" xmlns:r="http://schemas.openxmlformats.org/officeDocument/2006/relationships" xmlns:p="http://schemas.openxmlformats.org/presentationml/2006/main">
  <p:tag name="VMAPS" val="MAP"/>
  <p:tag name="VMAPS_LEFT" val="257.5392"/>
  <p:tag name="VMAPS_TOP" val="238.1179"/>
  <p:tag name="VMAPS_WIDTH" val="1.134252"/>
  <p:tag name="VMAPS_HEIGHT" val="1.324961"/>
</p:tagLst>
</file>

<file path=ppt/tags/tag1336.xml><?xml version="1.0" encoding="utf-8"?>
<p:tagLst xmlns:a="http://schemas.openxmlformats.org/drawingml/2006/main" xmlns:r="http://schemas.openxmlformats.org/officeDocument/2006/relationships" xmlns:p="http://schemas.openxmlformats.org/presentationml/2006/main">
  <p:tag name="VMAPS" val="MAP"/>
  <p:tag name="VMAPS_LEFT" val="248.7898"/>
  <p:tag name="VMAPS_TOP" val="231.6586"/>
  <p:tag name="VMAPS_WIDTH" val="1.29622"/>
  <p:tag name="VMAPS_HEIGHT" val="1.98748"/>
</p:tagLst>
</file>

<file path=ppt/tags/tag1337.xml><?xml version="1.0" encoding="utf-8"?>
<p:tagLst xmlns:a="http://schemas.openxmlformats.org/drawingml/2006/main" xmlns:r="http://schemas.openxmlformats.org/officeDocument/2006/relationships" xmlns:p="http://schemas.openxmlformats.org/presentationml/2006/main">
  <p:tag name="VMAPS" val="MAP"/>
  <p:tag name="VMAPS_LEFT" val="250.0861"/>
  <p:tag name="VMAPS_TOP" val="234.1429"/>
  <p:tag name="VMAPS_WIDTH" val="0.3240157"/>
  <p:tag name="VMAPS_HEIGHT" val="1.159291"/>
</p:tagLst>
</file>

<file path=ppt/tags/tag1338.xml><?xml version="1.0" encoding="utf-8"?>
<p:tagLst xmlns:a="http://schemas.openxmlformats.org/drawingml/2006/main" xmlns:r="http://schemas.openxmlformats.org/officeDocument/2006/relationships" xmlns:p="http://schemas.openxmlformats.org/presentationml/2006/main">
  <p:tag name="VMAPS" val="MAP"/>
  <p:tag name="VMAPS_LEFT" val="96"/>
  <p:tag name="VMAPS_TOP" val="134.1073"/>
  <p:tag name="VMAPS_WIDTH" val="78.42023"/>
  <p:tag name="VMAPS_HEIGHT" val="22.85575"/>
</p:tagLst>
</file>

<file path=ppt/tags/tag1339.xml><?xml version="1.0" encoding="utf-8"?>
<p:tagLst xmlns:a="http://schemas.openxmlformats.org/drawingml/2006/main" xmlns:r="http://schemas.openxmlformats.org/officeDocument/2006/relationships" xmlns:p="http://schemas.openxmlformats.org/presentationml/2006/main">
  <p:tag name="VMAPS" val="MAP"/>
  <p:tag name="VMAPS_LEFT" val="107.0177"/>
  <p:tag name="VMAPS_TOP" val="108.1049"/>
  <p:tag name="VMAPS_WIDTH" val="87.16961"/>
  <p:tag name="VMAPS_HEIGHT" val="41.23977"/>
</p:tagLst>
</file>

<file path=ppt/tags/tag134.xml><?xml version="1.0" encoding="utf-8"?>
<p:tagLst xmlns:a="http://schemas.openxmlformats.org/drawingml/2006/main" xmlns:r="http://schemas.openxmlformats.org/officeDocument/2006/relationships" xmlns:p="http://schemas.openxmlformats.org/presentationml/2006/main">
  <p:tag name="SHAPETYPE" val="Background"/>
</p:tagLst>
</file>

<file path=ppt/tags/tag1340.xml><?xml version="1.0" encoding="utf-8"?>
<p:tagLst xmlns:a="http://schemas.openxmlformats.org/drawingml/2006/main" xmlns:r="http://schemas.openxmlformats.org/officeDocument/2006/relationships" xmlns:p="http://schemas.openxmlformats.org/presentationml/2006/main">
  <p:tag name="VMAPS" val="MAP"/>
  <p:tag name="VMAPS_LEFT" val="313.924"/>
  <p:tag name="VMAPS_TOP" val="445.145"/>
  <p:tag name="VMAPS_WIDTH" val="2.916457"/>
  <p:tag name="VMAPS_HEIGHT" val="3.14685"/>
</p:tagLst>
</file>

<file path=ppt/tags/tag1341.xml><?xml version="1.0" encoding="utf-8"?>
<p:tagLst xmlns:a="http://schemas.openxmlformats.org/drawingml/2006/main" xmlns:r="http://schemas.openxmlformats.org/officeDocument/2006/relationships" xmlns:p="http://schemas.openxmlformats.org/presentationml/2006/main">
  <p:tag name="VMAPS" val="MAP"/>
  <p:tag name="VMAPS_LEFT" val="311.3317"/>
  <p:tag name="VMAPS_TOP" val="445.8075"/>
  <p:tag name="VMAPS_WIDTH" val="2.106378"/>
  <p:tag name="VMAPS_HEIGHT" val="1.324961"/>
</p:tagLst>
</file>

<file path=ppt/tags/tag1342.xml><?xml version="1.0" encoding="utf-8"?>
<p:tagLst xmlns:a="http://schemas.openxmlformats.org/drawingml/2006/main" xmlns:r="http://schemas.openxmlformats.org/officeDocument/2006/relationships" xmlns:p="http://schemas.openxmlformats.org/presentationml/2006/main">
  <p:tag name="VMAPS" val="MAP"/>
  <p:tag name="VMAPS_LEFT" val="264.6683"/>
  <p:tag name="VMAPS_TOP" val="267.2673"/>
  <p:tag name="VMAPS_WIDTH" val="1.29622"/>
  <p:tag name="VMAPS_HEIGHT" val="1.324961"/>
</p:tagLst>
</file>

<file path=ppt/tags/tag1343.xml><?xml version="1.0" encoding="utf-8"?>
<p:tagLst xmlns:a="http://schemas.openxmlformats.org/drawingml/2006/main" xmlns:r="http://schemas.openxmlformats.org/officeDocument/2006/relationships" xmlns:p="http://schemas.openxmlformats.org/presentationml/2006/main">
  <p:tag name="VMAPS" val="MAP"/>
  <p:tag name="VMAPS_LEFT" val="267.7468"/>
  <p:tag name="VMAPS_TOP" val="268.5921"/>
  <p:tag name="VMAPS_WIDTH" val="1.29622"/>
  <p:tag name="VMAPS_HEIGHT" val="1.324961"/>
</p:tagLst>
</file>

<file path=ppt/tags/tag1344.xml><?xml version="1.0" encoding="utf-8"?>
<p:tagLst xmlns:a="http://schemas.openxmlformats.org/drawingml/2006/main" xmlns:r="http://schemas.openxmlformats.org/officeDocument/2006/relationships" xmlns:p="http://schemas.openxmlformats.org/presentationml/2006/main">
  <p:tag name="VMAPS" val="MAP"/>
  <p:tag name="VMAPS_LEFT" val="270.6633"/>
  <p:tag name="VMAPS_TOP" val="268.4266"/>
  <p:tag name="VMAPS_WIDTH" val="1.29622"/>
  <p:tag name="VMAPS_HEIGHT" val="1.324961"/>
</p:tagLst>
</file>

<file path=ppt/tags/tag1345.xml><?xml version="1.0" encoding="utf-8"?>
<p:tagLst xmlns:a="http://schemas.openxmlformats.org/drawingml/2006/main" xmlns:r="http://schemas.openxmlformats.org/officeDocument/2006/relationships" xmlns:p="http://schemas.openxmlformats.org/presentationml/2006/main">
  <p:tag name="VMAPS" val="MAP"/>
  <p:tag name="VMAPS_LEFT" val="284.1113"/>
  <p:tag name="VMAPS_TOP" val="272.0703"/>
  <p:tag name="VMAPS_WIDTH" val="2.592441"/>
  <p:tag name="VMAPS_HEIGHT" val="1.82189"/>
</p:tagLst>
</file>

<file path=ppt/tags/tag1346.xml><?xml version="1.0" encoding="utf-8"?>
<p:tagLst xmlns:a="http://schemas.openxmlformats.org/drawingml/2006/main" xmlns:r="http://schemas.openxmlformats.org/officeDocument/2006/relationships" xmlns:p="http://schemas.openxmlformats.org/presentationml/2006/main">
  <p:tag name="VMAPS" val="MAP"/>
  <p:tag name="VMAPS_LEFT" val="284.7595"/>
  <p:tag name="VMAPS_TOP" val="269.7516"/>
  <p:tag name="VMAPS_WIDTH" val="1.29622"/>
  <p:tag name="VMAPS_HEIGHT" val="1.98748"/>
</p:tagLst>
</file>

<file path=ppt/tags/tag1347.xml><?xml version="1.0" encoding="utf-8"?>
<p:tagLst xmlns:a="http://schemas.openxmlformats.org/drawingml/2006/main" xmlns:r="http://schemas.openxmlformats.org/officeDocument/2006/relationships" xmlns:p="http://schemas.openxmlformats.org/presentationml/2006/main">
  <p:tag name="VMAPS" val="MAP"/>
  <p:tag name="VMAPS_LEFT" val="278.2784"/>
  <p:tag name="VMAPS_TOP" val="270.7453"/>
  <p:tag name="VMAPS_WIDTH" val="1.29622"/>
  <p:tag name="VMAPS_HEIGHT" val="1.324961"/>
</p:tagLst>
</file>

<file path=ppt/tags/tag1348.xml><?xml version="1.0" encoding="utf-8"?>
<p:tagLst xmlns:a="http://schemas.openxmlformats.org/drawingml/2006/main" xmlns:r="http://schemas.openxmlformats.org/officeDocument/2006/relationships" xmlns:p="http://schemas.openxmlformats.org/presentationml/2006/main">
  <p:tag name="VMAPS" val="MAP"/>
  <p:tag name="VMAPS_LEFT" val="286.7038"/>
  <p:tag name="VMAPS_TOP" val="268.4266"/>
  <p:tag name="VMAPS_WIDTH" val="1.29622"/>
  <p:tag name="VMAPS_HEIGHT" val="1.98748"/>
</p:tagLst>
</file>

<file path=ppt/tags/tag1349.xml><?xml version="1.0" encoding="utf-8"?>
<p:tagLst xmlns:a="http://schemas.openxmlformats.org/drawingml/2006/main" xmlns:r="http://schemas.openxmlformats.org/officeDocument/2006/relationships" xmlns:p="http://schemas.openxmlformats.org/presentationml/2006/main">
  <p:tag name="VMAPS" val="MAP"/>
  <p:tag name="VMAPS_LEFT" val="256.405"/>
  <p:tag name="VMAPS_TOP" val="268.261"/>
  <p:tag name="VMAPS_WIDTH" val="32.56717"/>
  <p:tag name="VMAPS_HEIGHT" val="31.79929"/>
</p:tagLst>
</file>

<file path=ppt/tags/tag1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50.xml><?xml version="1.0" encoding="utf-8"?>
<p:tagLst xmlns:a="http://schemas.openxmlformats.org/drawingml/2006/main" xmlns:r="http://schemas.openxmlformats.org/officeDocument/2006/relationships" xmlns:p="http://schemas.openxmlformats.org/presentationml/2006/main">
  <p:tag name="VMAPS" val="MAP"/>
  <p:tag name="VMAPS_LEFT" val="273.2557"/>
  <p:tag name="VMAPS_TOP" val="250.5394"/>
  <p:tag name="VMAPS_WIDTH" val="3.402598"/>
  <p:tag name="VMAPS_HEIGHT" val="1.159291"/>
</p:tagLst>
</file>

<file path=ppt/tags/tag1351.xml><?xml version="1.0" encoding="utf-8"?>
<p:tagLst xmlns:a="http://schemas.openxmlformats.org/drawingml/2006/main" xmlns:r="http://schemas.openxmlformats.org/officeDocument/2006/relationships" xmlns:p="http://schemas.openxmlformats.org/presentationml/2006/main">
  <p:tag name="VMAPS" val="MAP"/>
  <p:tag name="VMAPS_LEFT" val="255.9189"/>
  <p:tag name="VMAPS_TOP" val="246.7302"/>
  <p:tag name="VMAPS_WIDTH" val="7.129055"/>
  <p:tag name="VMAPS_HEIGHT" val="4.471732"/>
</p:tagLst>
</file>

<file path=ppt/tags/tag1352.xml><?xml version="1.0" encoding="utf-8"?>
<p:tagLst xmlns:a="http://schemas.openxmlformats.org/drawingml/2006/main" xmlns:r="http://schemas.openxmlformats.org/officeDocument/2006/relationships" xmlns:p="http://schemas.openxmlformats.org/presentationml/2006/main">
  <p:tag name="VMAPS" val="MAP"/>
  <p:tag name="VMAPS_LEFT" val="262.0759"/>
  <p:tag name="VMAPS_TOP" val="246.7302"/>
  <p:tag name="VMAPS_WIDTH" val="8.425276"/>
  <p:tag name="VMAPS_HEIGHT" val="5.796772"/>
</p:tagLst>
</file>

<file path=ppt/tags/tag1353.xml><?xml version="1.0" encoding="utf-8"?>
<p:tagLst xmlns:a="http://schemas.openxmlformats.org/drawingml/2006/main" xmlns:r="http://schemas.openxmlformats.org/officeDocument/2006/relationships" xmlns:p="http://schemas.openxmlformats.org/presentationml/2006/main">
  <p:tag name="VMAPS" val="MAP"/>
  <p:tag name="VMAPS_LEFT" val="273.2557"/>
  <p:tag name="VMAPS_TOP" val="250.5394"/>
  <p:tag name="VMAPS_WIDTH" val="3.402598"/>
  <p:tag name="VMAPS_HEIGHT" val="1.159291"/>
</p:tagLst>
</file>

<file path=ppt/tags/tag1354.xml><?xml version="1.0" encoding="utf-8"?>
<p:tagLst xmlns:a="http://schemas.openxmlformats.org/drawingml/2006/main" xmlns:r="http://schemas.openxmlformats.org/officeDocument/2006/relationships" xmlns:p="http://schemas.openxmlformats.org/presentationml/2006/main">
  <p:tag name="VMAPS" val="MAP"/>
  <p:tag name="VMAPS_LEFT" val="255.9189"/>
  <p:tag name="VMAPS_TOP" val="246.7302"/>
  <p:tag name="VMAPS_WIDTH" val="7.129055"/>
  <p:tag name="VMAPS_HEIGHT" val="4.471732"/>
</p:tagLst>
</file>

<file path=ppt/tags/tag1355.xml><?xml version="1.0" encoding="utf-8"?>
<p:tagLst xmlns:a="http://schemas.openxmlformats.org/drawingml/2006/main" xmlns:r="http://schemas.openxmlformats.org/officeDocument/2006/relationships" xmlns:p="http://schemas.openxmlformats.org/presentationml/2006/main">
  <p:tag name="VMAPS" val="MAP"/>
  <p:tag name="VMAPS_LEFT" val="262.0759"/>
  <p:tag name="VMAPS_TOP" val="246.7302"/>
  <p:tag name="VMAPS_WIDTH" val="8.425276"/>
  <p:tag name="VMAPS_HEIGHT" val="5.796772"/>
</p:tagLst>
</file>

<file path=ppt/tags/tag1356.xml><?xml version="1.0" encoding="utf-8"?>
<p:tagLst xmlns:a="http://schemas.openxmlformats.org/drawingml/2006/main" xmlns:r="http://schemas.openxmlformats.org/officeDocument/2006/relationships" xmlns:p="http://schemas.openxmlformats.org/presentationml/2006/main">
  <p:tag name="VMAPS" val="MAP"/>
  <p:tag name="VMAPS_LEFT" val="270.9873"/>
  <p:tag name="VMAPS_TOP" val="249.5457"/>
  <p:tag name="VMAPS_WIDTH" val="1.134252"/>
  <p:tag name="VMAPS_HEIGHT" val="1.324961"/>
</p:tagLst>
</file>

<file path=ppt/tags/tag1357.xml><?xml version="1.0" encoding="utf-8"?>
<p:tagLst xmlns:a="http://schemas.openxmlformats.org/drawingml/2006/main" xmlns:r="http://schemas.openxmlformats.org/officeDocument/2006/relationships" xmlns:p="http://schemas.openxmlformats.org/presentationml/2006/main">
  <p:tag name="VMAPS" val="MAP"/>
  <p:tag name="VMAPS_LEFT" val="247.1696"/>
  <p:tag name="VMAPS_TOP" val="238.9461"/>
  <p:tag name="VMAPS_WIDTH" val="1.944331"/>
  <p:tag name="VMAPS_HEIGHT" val="1.656142"/>
</p:tagLst>
</file>

<file path=ppt/tags/tag1358.xml><?xml version="1.0" encoding="utf-8"?>
<p:tagLst xmlns:a="http://schemas.openxmlformats.org/drawingml/2006/main" xmlns:r="http://schemas.openxmlformats.org/officeDocument/2006/relationships" xmlns:p="http://schemas.openxmlformats.org/presentationml/2006/main">
  <p:tag name="VMAPS" val="MAP"/>
  <p:tag name="VMAPS_LEFT" val="236.476"/>
  <p:tag name="VMAPS_TOP" val="240.6022"/>
  <p:tag name="VMAPS_WIDTH" val="0.972126"/>
  <p:tag name="VMAPS_HEIGHT" val="1.324961"/>
</p:tagLst>
</file>

<file path=ppt/tags/tag1359.xml><?xml version="1.0" encoding="utf-8"?>
<p:tagLst xmlns:a="http://schemas.openxmlformats.org/drawingml/2006/main" xmlns:r="http://schemas.openxmlformats.org/officeDocument/2006/relationships" xmlns:p="http://schemas.openxmlformats.org/presentationml/2006/main">
  <p:tag name="VMAPS" val="MAP"/>
  <p:tag name="VMAPS_LEFT" val="242.795"/>
  <p:tag name="VMAPS_TOP" val="243.4176"/>
  <p:tag name="VMAPS_WIDTH" val="0.972126"/>
  <p:tag name="VMAPS_HEIGHT" val="1.324961"/>
</p:tagLst>
</file>

<file path=ppt/tags/tag1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60.xml><?xml version="1.0" encoding="utf-8"?>
<p:tagLst xmlns:a="http://schemas.openxmlformats.org/drawingml/2006/main" xmlns:r="http://schemas.openxmlformats.org/officeDocument/2006/relationships" xmlns:p="http://schemas.openxmlformats.org/presentationml/2006/main">
  <p:tag name="VMAPS" val="MAP"/>
  <p:tag name="VMAPS_LEFT" val="232.5873"/>
  <p:tag name="VMAPS_TOP" val="236.7929"/>
  <p:tag name="VMAPS_WIDTH" val="24.62787"/>
  <p:tag name="VMAPS_HEIGHT" val="9.937244"/>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fcHFMyzDE1T8RxwYDKZrOA"/>
</p:tagLst>
</file>

<file path=ppt/tags/tag1365.xml><?xml version="1.0" encoding="utf-8"?>
<p:tagLst xmlns:a="http://schemas.openxmlformats.org/drawingml/2006/main" xmlns:r="http://schemas.openxmlformats.org/officeDocument/2006/relationships" xmlns:p="http://schemas.openxmlformats.org/presentationml/2006/main">
  <p:tag name="SHAPETYPE" val="Background"/>
  <p:tag name="NAME" val="SR_business_finance_GettyImages-940449960"/>
  <p:tag name="CATEGORY" val="Business &amp; Finance"/>
  <p:tag name="FILENAME" val="C:\Program Files\Brandic\PowerPoint\Images\169\Title1\Business &amp; Finance\SR_business_finance_GettyImages-940449960.jpg"/>
</p:tagLst>
</file>

<file path=ppt/tags/tag136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utgPpBR9TCmzincM8cUjGQ"/>
</p:tagLst>
</file>

<file path=ppt/tags/tag1369.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xml><?xml version="1.0" encoding="utf-8"?>
<p:tagLst xmlns:a="http://schemas.openxmlformats.org/drawingml/2006/main" xmlns:r="http://schemas.openxmlformats.org/officeDocument/2006/relationships" xmlns:p="http://schemas.openxmlformats.org/presentationml/2006/main">
  <p:tag name="SHAPETYPE" val="footer"/>
</p:tagLst>
</file>

<file path=ppt/tags/tag1370.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1.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2.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3.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4.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5.xml><?xml version="1.0" encoding="utf-8"?>
<p:tagLst xmlns:a="http://schemas.openxmlformats.org/drawingml/2006/main" xmlns:r="http://schemas.openxmlformats.org/officeDocument/2006/relationships" xmlns:p="http://schemas.openxmlformats.org/presentationml/2006/main">
  <p:tag name="SHAPETYPE" val="Background"/>
  <p:tag name="NAME" val="SR_Cities_Architecture_SB-20170622-SRNext-0038"/>
  <p:tag name="CATEGORY" val="Cities &amp; Architecture"/>
  <p:tag name="FILENAME" val="C:\Program Files\Brandic\PowerPoint\Images\169\Title1\Cities &amp; Architecture\SR_Cities_Architecture_SB-20170622-SRNext-0038.jp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xmLACRTlJAetWlsWU3WhqA"/>
</p:tagLst>
</file>

<file path=ppt/tags/tag1378.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gaW.X7YHLogXEDA8iUrCjg"/>
</p:tagLst>
</file>

<file path=ppt/tags/tag138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CwAtYoXCQlMhS_BnrOETMQ"/>
</p:tagLst>
</file>

<file path=ppt/tags/tag138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39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kfIBtQmCR8y6MWZIqdQv5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ihBrks6i3m11.dJgtJLOW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ihBrks6i3m11.dJgtJLOW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Z8cXZqtMRCu2lYlOfvrV8Q"/>
</p:tagLst>
</file>

<file path=ppt/tags/tag1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7cJPqKOokJeXftzUR9964Q"/>
</p:tagLst>
</file>

<file path=ppt/tags/tag1402.xml><?xml version="1.0" encoding="utf-8"?>
<p:tagLst xmlns:a="http://schemas.openxmlformats.org/drawingml/2006/main" xmlns:r="http://schemas.openxmlformats.org/officeDocument/2006/relationships" xmlns:p="http://schemas.openxmlformats.org/presentationml/2006/main">
  <p:tag name="SHAPETYPE" val="Background"/>
  <p:tag name="NAME" val="SR_Metaphor_Symbols_GettyImages-1016975942"/>
  <p:tag name="CATEGORY" val="Metaphors &amp; Symbolic"/>
  <p:tag name="FILENAME" val="C:\Program Files\Brandic\PowerPoint\Images\169\Title1\Metaphors &amp; Symbolic\SR_Metaphor_Symbols_GettyImages-1016975942.jpg"/>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kfIBtQmCR8y6MWZIqdQv5Q"/>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ihBrks6i3m11.dJgtJLOW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ihBrks6i3m11.dJgtJLOWQ"/>
</p:tagLst>
</file>

<file path=ppt/tags/tag141.xml><?xml version="1.0" encoding="utf-8"?>
<p:tagLst xmlns:a="http://schemas.openxmlformats.org/drawingml/2006/main" xmlns:r="http://schemas.openxmlformats.org/officeDocument/2006/relationships" xmlns:p="http://schemas.openxmlformats.org/presentationml/2006/main">
  <p:tag name="SHAPETYPE" val="footer"/>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3.xml><?xml version="1.0" encoding="utf-8"?>
<p:tagLst xmlns:a="http://schemas.openxmlformats.org/drawingml/2006/main" xmlns:r="http://schemas.openxmlformats.org/officeDocument/2006/relationships" xmlns:p="http://schemas.openxmlformats.org/presentationml/2006/main">
  <p:tag name="SHAPETYPE" val="Background"/>
  <p:tag name="NAME" val="SR_Metaphor_Symbols_GettyImages-538848475"/>
  <p:tag name="CATEGORY" val="Metaphors &amp; Symbolic"/>
  <p:tag name="FILENAME" val="C:\Program Files\Brandic\PowerPoint\Brands\SR\Images\169\Title1\Metaphors &amp; Symbolic\SR_Metaphor_Symbols_GettyImages-538848475.jp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5.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JOUMq6cMxPDL9.AbljNe.g"/>
</p:tagLst>
</file>

<file path=ppt/tags/tag1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1.xml><?xml version="1.0" encoding="utf-8"?>
<p:tagLst xmlns:a="http://schemas.openxmlformats.org/drawingml/2006/main" xmlns:r="http://schemas.openxmlformats.org/officeDocument/2006/relationships" xmlns:p="http://schemas.openxmlformats.org/presentationml/2006/main">
  <p:tag name="SHAPETYPE" val="footer"/>
</p:tagLst>
</file>

<file path=ppt/tags/tag1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1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56.xml><?xml version="1.0" encoding="utf-8"?>
<p:tagLst xmlns:a="http://schemas.openxmlformats.org/drawingml/2006/main" xmlns:r="http://schemas.openxmlformats.org/officeDocument/2006/relationships" xmlns:p="http://schemas.openxmlformats.org/presentationml/2006/main">
  <p:tag name="SHAPETYPE" val="Gradient"/>
</p:tagLst>
</file>

<file path=ppt/tags/tag1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59.xml><?xml version="1.0" encoding="utf-8"?>
<p:tagLst xmlns:a="http://schemas.openxmlformats.org/drawingml/2006/main" xmlns:r="http://schemas.openxmlformats.org/officeDocument/2006/relationships" xmlns:p="http://schemas.openxmlformats.org/presentationml/2006/main">
  <p:tag name="SHAPETYPE" val="Gradient"/>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6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6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72.xml><?xml version="1.0" encoding="utf-8"?>
<p:tagLst xmlns:a="http://schemas.openxmlformats.org/drawingml/2006/main" xmlns:r="http://schemas.openxmlformats.org/officeDocument/2006/relationships" xmlns:p="http://schemas.openxmlformats.org/presentationml/2006/main">
  <p:tag name="SHAPETYPE" val="Gradient"/>
</p:tagLst>
</file>

<file path=ppt/tags/tag1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7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xml><?xml version="1.0" encoding="utf-8"?>
<p:tagLst xmlns:a="http://schemas.openxmlformats.org/drawingml/2006/main" xmlns:r="http://schemas.openxmlformats.org/officeDocument/2006/relationships" xmlns:p="http://schemas.openxmlformats.org/presentationml/2006/main">
  <p:tag name="SHAPETYPE" val="footer"/>
</p:tagLst>
</file>

<file path=ppt/tags/tag1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4.xml><?xml version="1.0" encoding="utf-8"?>
<p:tagLst xmlns:a="http://schemas.openxmlformats.org/drawingml/2006/main" xmlns:r="http://schemas.openxmlformats.org/officeDocument/2006/relationships" xmlns:p="http://schemas.openxmlformats.org/presentationml/2006/main">
  <p:tag name="SHAPETYPE" val="footer"/>
</p:tagLst>
</file>

<file path=ppt/tags/tag1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8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1.xml><?xml version="1.0" encoding="utf-8"?>
<p:tagLst xmlns:a="http://schemas.openxmlformats.org/drawingml/2006/main" xmlns:r="http://schemas.openxmlformats.org/officeDocument/2006/relationships" xmlns:p="http://schemas.openxmlformats.org/presentationml/2006/main">
  <p:tag name="SHAPETYPE" val="footer"/>
</p:tagLst>
</file>

<file path=ppt/tags/tag1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1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5.xml><?xml version="1.0" encoding="utf-8"?>
<p:tagLst xmlns:a="http://schemas.openxmlformats.org/drawingml/2006/main" xmlns:r="http://schemas.openxmlformats.org/officeDocument/2006/relationships" xmlns:p="http://schemas.openxmlformats.org/presentationml/2006/main">
  <p:tag name="SHAPETYPE" val="footer"/>
</p:tagLst>
</file>

<file path=ppt/tags/tag20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08.xml><?xml version="1.0" encoding="utf-8"?>
<p:tagLst xmlns:a="http://schemas.openxmlformats.org/drawingml/2006/main" xmlns:r="http://schemas.openxmlformats.org/officeDocument/2006/relationships" xmlns:p="http://schemas.openxmlformats.org/presentationml/2006/main">
  <p:tag name="SHAPETYPE" val="footer"/>
</p:tagLst>
</file>

<file path=ppt/tags/tag20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3.xml><?xml version="1.0" encoding="utf-8"?>
<p:tagLst xmlns:a="http://schemas.openxmlformats.org/drawingml/2006/main" xmlns:r="http://schemas.openxmlformats.org/officeDocument/2006/relationships" xmlns:p="http://schemas.openxmlformats.org/presentationml/2006/main">
  <p:tag name="SHAPETYPE" val="footer"/>
</p:tagLst>
</file>

<file path=ppt/tags/tag21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6.xml><?xml version="1.0" encoding="utf-8"?>
<p:tagLst xmlns:a="http://schemas.openxmlformats.org/drawingml/2006/main" xmlns:r="http://schemas.openxmlformats.org/officeDocument/2006/relationships" xmlns:p="http://schemas.openxmlformats.org/presentationml/2006/main">
  <p:tag name="SHAPETYPE" val="footer"/>
</p:tagLst>
</file>

<file path=ppt/tags/tag2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9.xml><?xml version="1.0" encoding="utf-8"?>
<p:tagLst xmlns:a="http://schemas.openxmlformats.org/drawingml/2006/main" xmlns:r="http://schemas.openxmlformats.org/officeDocument/2006/relationships" xmlns:p="http://schemas.openxmlformats.org/presentationml/2006/main">
  <p:tag name="SHAPETYPE" val="footer"/>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2.xml><?xml version="1.0" encoding="utf-8"?>
<p:tagLst xmlns:a="http://schemas.openxmlformats.org/drawingml/2006/main" xmlns:r="http://schemas.openxmlformats.org/officeDocument/2006/relationships" xmlns:p="http://schemas.openxmlformats.org/presentationml/2006/main">
  <p:tag name="SHAPETYPE" val="footer"/>
</p:tagLst>
</file>

<file path=ppt/tags/tag223.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2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IdJ6AH1.8H7tV3YxdXv0w"/>
</p:tagLst>
</file>

<file path=ppt/tags/tag2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28.xml><?xml version="1.0" encoding="utf-8"?>
<p:tagLst xmlns:a="http://schemas.openxmlformats.org/drawingml/2006/main" xmlns:r="http://schemas.openxmlformats.org/officeDocument/2006/relationships" xmlns:p="http://schemas.openxmlformats.org/presentationml/2006/main">
  <p:tag name="SHAPETYPE" val="footer"/>
</p:tagLst>
</file>

<file path=ppt/tags/tag2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3.xml><?xml version="1.0" encoding="utf-8"?>
<p:tagLst xmlns:a="http://schemas.openxmlformats.org/drawingml/2006/main" xmlns:r="http://schemas.openxmlformats.org/officeDocument/2006/relationships" xmlns:p="http://schemas.openxmlformats.org/presentationml/2006/main">
  <p:tag name="SHAPETYPE" val="Background"/>
</p:tagLst>
</file>

<file path=ppt/tags/tag2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36.xml><?xml version="1.0" encoding="utf-8"?>
<p:tagLst xmlns:a="http://schemas.openxmlformats.org/drawingml/2006/main" xmlns:r="http://schemas.openxmlformats.org/officeDocument/2006/relationships" xmlns:p="http://schemas.openxmlformats.org/presentationml/2006/main">
  <p:tag name="SHAPETYPE" val="footer"/>
</p:tagLst>
</file>

<file path=ppt/tags/tag23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footer"/>
</p:tagLst>
</file>

<file path=ppt/tags/tag2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1.xml><?xml version="1.0" encoding="utf-8"?>
<p:tagLst xmlns:a="http://schemas.openxmlformats.org/drawingml/2006/main" xmlns:r="http://schemas.openxmlformats.org/officeDocument/2006/relationships" xmlns:p="http://schemas.openxmlformats.org/presentationml/2006/main">
  <p:tag name="SHAPETYPE" val="footer"/>
</p:tagLst>
</file>

<file path=ppt/tags/tag24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47.xml><?xml version="1.0" encoding="utf-8"?>
<p:tagLst xmlns:a="http://schemas.openxmlformats.org/drawingml/2006/main" xmlns:r="http://schemas.openxmlformats.org/officeDocument/2006/relationships" xmlns:p="http://schemas.openxmlformats.org/presentationml/2006/main">
  <p:tag name="SHAPETYPE" val="footer"/>
</p:tagLst>
</file>

<file path=ppt/tags/tag24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4.xml><?xml version="1.0" encoding="utf-8"?>
<p:tagLst xmlns:a="http://schemas.openxmlformats.org/drawingml/2006/main" xmlns:r="http://schemas.openxmlformats.org/officeDocument/2006/relationships" xmlns:p="http://schemas.openxmlformats.org/presentationml/2006/main">
  <p:tag name="SHAPETYPE" val="footer"/>
</p:tagLst>
</file>

<file path=ppt/tags/tag25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7.xml><?xml version="1.0" encoding="utf-8"?>
<p:tagLst xmlns:a="http://schemas.openxmlformats.org/drawingml/2006/main" xmlns:r="http://schemas.openxmlformats.org/officeDocument/2006/relationships" xmlns:p="http://schemas.openxmlformats.org/presentationml/2006/main">
  <p:tag name="SHAPETYPE" val="footer"/>
</p:tagLst>
</file>

<file path=ppt/tags/tag25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0.xml><?xml version="1.0" encoding="utf-8"?>
<p:tagLst xmlns:a="http://schemas.openxmlformats.org/drawingml/2006/main" xmlns:r="http://schemas.openxmlformats.org/officeDocument/2006/relationships" xmlns:p="http://schemas.openxmlformats.org/presentationml/2006/main">
  <p:tag name="SHAPETYPE" val="Background"/>
</p:tagLst>
</file>

<file path=ppt/tags/tag2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3.xml><?xml version="1.0" encoding="utf-8"?>
<p:tagLst xmlns:a="http://schemas.openxmlformats.org/drawingml/2006/main" xmlns:r="http://schemas.openxmlformats.org/officeDocument/2006/relationships" xmlns:p="http://schemas.openxmlformats.org/presentationml/2006/main">
  <p:tag name="SHAPETYPE" val="footer"/>
</p:tagLst>
</file>

<file path=ppt/tags/tag26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67.xml><?xml version="1.0" encoding="utf-8"?>
<p:tagLst xmlns:a="http://schemas.openxmlformats.org/drawingml/2006/main" xmlns:r="http://schemas.openxmlformats.org/officeDocument/2006/relationships" xmlns:p="http://schemas.openxmlformats.org/presentationml/2006/main">
  <p:tag name="SHAPETYPE" val="footer"/>
</p:tagLst>
</file>

<file path=ppt/tags/tag2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4.xml><?xml version="1.0" encoding="utf-8"?>
<p:tagLst xmlns:a="http://schemas.openxmlformats.org/drawingml/2006/main" xmlns:r="http://schemas.openxmlformats.org/officeDocument/2006/relationships" xmlns:p="http://schemas.openxmlformats.org/presentationml/2006/main">
  <p:tag name="SHAPETYPE" val="footer"/>
</p:tagLst>
</file>

<file path=ppt/tags/tag2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6.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2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7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79.xml><?xml version="1.0" encoding="utf-8"?>
<p:tagLst xmlns:a="http://schemas.openxmlformats.org/drawingml/2006/main" xmlns:r="http://schemas.openxmlformats.org/officeDocument/2006/relationships" xmlns:p="http://schemas.openxmlformats.org/presentationml/2006/main">
  <p:tag name="SHAPETYPE" val="Gradient"/>
</p:tagLst>
</file>

<file path=ppt/tags/tag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8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2.xml><?xml version="1.0" encoding="utf-8"?>
<p:tagLst xmlns:a="http://schemas.openxmlformats.org/drawingml/2006/main" xmlns:r="http://schemas.openxmlformats.org/officeDocument/2006/relationships" xmlns:p="http://schemas.openxmlformats.org/presentationml/2006/main">
  <p:tag name="SHAPETYPE" val="Gradient"/>
</p:tagLst>
</file>

<file path=ppt/tags/tag2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3.xml><?xml version="1.0" encoding="utf-8"?>
<p:tagLst xmlns:a="http://schemas.openxmlformats.org/drawingml/2006/main" xmlns:r="http://schemas.openxmlformats.org/officeDocument/2006/relationships" xmlns:p="http://schemas.openxmlformats.org/presentationml/2006/main">
  <p:tag name="SHAPETYPE" val="footer"/>
</p:tagLst>
</file>

<file path=ppt/tags/tag2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9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97.xml><?xml version="1.0" encoding="utf-8"?>
<p:tagLst xmlns:a="http://schemas.openxmlformats.org/drawingml/2006/main" xmlns:r="http://schemas.openxmlformats.org/officeDocument/2006/relationships" xmlns:p="http://schemas.openxmlformats.org/presentationml/2006/main">
  <p:tag name="SHAPETYPE" val="footer"/>
</p:tagLst>
</file>

<file path=ppt/tags/tag2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299.xml><?xml version="1.0" encoding="utf-8"?>
<p:tagLst xmlns:a="http://schemas.openxmlformats.org/drawingml/2006/main" xmlns:r="http://schemas.openxmlformats.org/officeDocument/2006/relationships" xmlns:p="http://schemas.openxmlformats.org/presentationml/2006/main">
  <p:tag name="SHAPETYPE" val="Gradien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dJ6AH1.8H7tV3YxdXv0w"/>
</p:tagLst>
</file>

<file path=ppt/tags/tag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2.xml><?xml version="1.0" encoding="utf-8"?>
<p:tagLst xmlns:a="http://schemas.openxmlformats.org/drawingml/2006/main" xmlns:r="http://schemas.openxmlformats.org/officeDocument/2006/relationships" xmlns:p="http://schemas.openxmlformats.org/presentationml/2006/main">
  <p:tag name="SHAPETYPE" val="footer"/>
</p:tagLst>
</file>

<file path=ppt/tags/tag3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06.xml><?xml version="1.0" encoding="utf-8"?>
<p:tagLst xmlns:a="http://schemas.openxmlformats.org/drawingml/2006/main" xmlns:r="http://schemas.openxmlformats.org/officeDocument/2006/relationships" xmlns:p="http://schemas.openxmlformats.org/presentationml/2006/main">
  <p:tag name="SHAPETYPE" val="footer"/>
</p:tagLst>
</file>

<file path=ppt/tags/tag3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xml><?xml version="1.0" encoding="utf-8"?>
<p:tagLst xmlns:a="http://schemas.openxmlformats.org/drawingml/2006/main" xmlns:r="http://schemas.openxmlformats.org/officeDocument/2006/relationships" xmlns:p="http://schemas.openxmlformats.org/presentationml/2006/main">
  <p:tag name="SHAPETYPE" val="footer"/>
</p:tagLst>
</file>

<file path=ppt/tags/tag3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6.xml><?xml version="1.0" encoding="utf-8"?>
<p:tagLst xmlns:a="http://schemas.openxmlformats.org/drawingml/2006/main" xmlns:r="http://schemas.openxmlformats.org/officeDocument/2006/relationships" xmlns:p="http://schemas.openxmlformats.org/presentationml/2006/main">
  <p:tag name="SHAPETYPE" val="footer"/>
</p:tagLst>
</file>

<file path=ppt/tags/tag3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9.xml><?xml version="1.0" encoding="utf-8"?>
<p:tagLst xmlns:a="http://schemas.openxmlformats.org/drawingml/2006/main" xmlns:r="http://schemas.openxmlformats.org/officeDocument/2006/relationships" xmlns:p="http://schemas.openxmlformats.org/presentationml/2006/main">
  <p:tag name="SHAPETYPE" val="footer"/>
</p:tagLst>
</file>

<file path=ppt/tags/tag3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2.xml><?xml version="1.0" encoding="utf-8"?>
<p:tagLst xmlns:a="http://schemas.openxmlformats.org/drawingml/2006/main" xmlns:r="http://schemas.openxmlformats.org/officeDocument/2006/relationships" xmlns:p="http://schemas.openxmlformats.org/presentationml/2006/main">
  <p:tag name="SHAPETYPE" val="footer"/>
</p:tagLst>
</file>

<file path=ppt/tags/tag3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28.xml><?xml version="1.0" encoding="utf-8"?>
<p:tagLst xmlns:a="http://schemas.openxmlformats.org/drawingml/2006/main" xmlns:r="http://schemas.openxmlformats.org/officeDocument/2006/relationships" xmlns:p="http://schemas.openxmlformats.org/presentationml/2006/main">
  <p:tag name="SHAPETYPE" val="footer"/>
</p:tagLst>
</file>

<file path=ppt/tags/tag3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39.xml><?xml version="1.0" encoding="utf-8"?>
<p:tagLst xmlns:a="http://schemas.openxmlformats.org/drawingml/2006/main" xmlns:r="http://schemas.openxmlformats.org/officeDocument/2006/relationships" xmlns:p="http://schemas.openxmlformats.org/presentationml/2006/main">
  <p:tag name="SHAPETYPE" val="footer"/>
</p:tagLst>
</file>

<file path=ppt/tags/tag34.xml><?xml version="1.0" encoding="utf-8"?>
<p:tagLst xmlns:a="http://schemas.openxmlformats.org/drawingml/2006/main" xmlns:r="http://schemas.openxmlformats.org/officeDocument/2006/relationships" xmlns:p="http://schemas.openxmlformats.org/presentationml/2006/main">
  <p:tag name="SHAPETYPE" val="footer"/>
</p:tagLst>
</file>

<file path=ppt/tags/tag3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2.xml><?xml version="1.0" encoding="utf-8"?>
<p:tagLst xmlns:a="http://schemas.openxmlformats.org/drawingml/2006/main" xmlns:r="http://schemas.openxmlformats.org/officeDocument/2006/relationships" xmlns:p="http://schemas.openxmlformats.org/presentationml/2006/main">
  <p:tag name="SHAPETYPE" val="footer"/>
</p:tagLst>
</file>

<file path=ppt/tags/tag3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5.xml><?xml version="1.0" encoding="utf-8"?>
<p:tagLst xmlns:a="http://schemas.openxmlformats.org/drawingml/2006/main" xmlns:r="http://schemas.openxmlformats.org/officeDocument/2006/relationships" xmlns:p="http://schemas.openxmlformats.org/presentationml/2006/main">
  <p:tag name="SHAPETYPE" val="footer"/>
</p:tagLst>
</file>

<file path=ppt/tags/tag3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48.xml><?xml version="1.0" encoding="utf-8"?>
<p:tagLst xmlns:a="http://schemas.openxmlformats.org/drawingml/2006/main" xmlns:r="http://schemas.openxmlformats.org/officeDocument/2006/relationships" xmlns:p="http://schemas.openxmlformats.org/presentationml/2006/main">
  <p:tag name="SHAPETYPE" val="footer"/>
</p:tagLst>
</file>

<file path=ppt/tags/tag34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57.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3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1.xml><?xml version="1.0" encoding="utf-8"?>
<p:tagLst xmlns:a="http://schemas.openxmlformats.org/drawingml/2006/main" xmlns:r="http://schemas.openxmlformats.org/officeDocument/2006/relationships" xmlns:p="http://schemas.openxmlformats.org/presentationml/2006/main">
  <p:tag name="SHAPETYPE" val="footer"/>
</p:tagLst>
</file>

<file path=ppt/tags/tag3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6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36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6.xml><?xml version="1.0" encoding="utf-8"?>
<p:tagLst xmlns:a="http://schemas.openxmlformats.org/drawingml/2006/main" xmlns:r="http://schemas.openxmlformats.org/officeDocument/2006/relationships" xmlns:p="http://schemas.openxmlformats.org/presentationml/2006/main">
  <p:tag name="SHAPETYPE" val="Gradient"/>
</p:tagLst>
</file>

<file path=ppt/tags/tag36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69.xml><?xml version="1.0" encoding="utf-8"?>
<p:tagLst xmlns:a="http://schemas.openxmlformats.org/drawingml/2006/main" xmlns:r="http://schemas.openxmlformats.org/officeDocument/2006/relationships" xmlns:p="http://schemas.openxmlformats.org/presentationml/2006/main">
  <p:tag name="SHAPETYPE" val="Gradient"/>
</p:tagLst>
</file>

<file path=ppt/tags/tag37.xml><?xml version="1.0" encoding="utf-8"?>
<p:tagLst xmlns:a="http://schemas.openxmlformats.org/drawingml/2006/main" xmlns:r="http://schemas.openxmlformats.org/officeDocument/2006/relationships" xmlns:p="http://schemas.openxmlformats.org/presentationml/2006/main">
  <p:tag name="SHAPETYPE" val="Background"/>
</p:tagLst>
</file>

<file path=ppt/tags/tag37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7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0.xml><?xml version="1.0" encoding="utf-8"?>
<p:tagLst xmlns:a="http://schemas.openxmlformats.org/drawingml/2006/main" xmlns:r="http://schemas.openxmlformats.org/officeDocument/2006/relationships" xmlns:p="http://schemas.openxmlformats.org/presentationml/2006/main">
  <p:tag name="SHAPETYPE" val="footer"/>
</p:tagLst>
</file>

<file path=ppt/tags/tag3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4.xml><?xml version="1.0" encoding="utf-8"?>
<p:tagLst xmlns:a="http://schemas.openxmlformats.org/drawingml/2006/main" xmlns:r="http://schemas.openxmlformats.org/officeDocument/2006/relationships" xmlns:p="http://schemas.openxmlformats.org/presentationml/2006/main">
  <p:tag name="SHAPETYPE" val="footer"/>
</p:tagLst>
</file>

<file path=ppt/tags/tag3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86.xml><?xml version="1.0" encoding="utf-8"?>
<p:tagLst xmlns:a="http://schemas.openxmlformats.org/drawingml/2006/main" xmlns:r="http://schemas.openxmlformats.org/officeDocument/2006/relationships" xmlns:p="http://schemas.openxmlformats.org/presentationml/2006/main">
  <p:tag name="SHAPETYPE" val="Gradient"/>
</p:tagLst>
</file>

<file path=ppt/tags/tag3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8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89.xml><?xml version="1.0" encoding="utf-8"?>
<p:tagLst xmlns:a="http://schemas.openxmlformats.org/drawingml/2006/main" xmlns:r="http://schemas.openxmlformats.org/officeDocument/2006/relationships" xmlns:p="http://schemas.openxmlformats.org/presentationml/2006/main">
  <p:tag name="SHAPETYPE" val="footer"/>
</p:tagLst>
</file>

<file path=ppt/tags/tag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93.xml><?xml version="1.0" encoding="utf-8"?>
<p:tagLst xmlns:a="http://schemas.openxmlformats.org/drawingml/2006/main" xmlns:r="http://schemas.openxmlformats.org/officeDocument/2006/relationships" xmlns:p="http://schemas.openxmlformats.org/presentationml/2006/main">
  <p:tag name="SHAPETYPE" val="footer"/>
</p:tagLst>
</file>

<file path=ppt/tags/tag3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3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0.xml><?xml version="1.0" encoding="utf-8"?>
<p:tagLst xmlns:a="http://schemas.openxmlformats.org/drawingml/2006/main" xmlns:r="http://schemas.openxmlformats.org/officeDocument/2006/relationships" xmlns:p="http://schemas.openxmlformats.org/presentationml/2006/main">
  <p:tag name="SHAPETYPE" val="footer"/>
</p:tagLst>
</file>

<file path=ppt/tags/tag4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3.xml><?xml version="1.0" encoding="utf-8"?>
<p:tagLst xmlns:a="http://schemas.openxmlformats.org/drawingml/2006/main" xmlns:r="http://schemas.openxmlformats.org/officeDocument/2006/relationships" xmlns:p="http://schemas.openxmlformats.org/presentationml/2006/main">
  <p:tag name="SHAPETYPE" val="footer"/>
</p:tagLst>
</file>

<file path=ppt/tags/tag40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6.xml><?xml version="1.0" encoding="utf-8"?>
<p:tagLst xmlns:a="http://schemas.openxmlformats.org/drawingml/2006/main" xmlns:r="http://schemas.openxmlformats.org/officeDocument/2006/relationships" xmlns:p="http://schemas.openxmlformats.org/presentationml/2006/main">
  <p:tag name="SHAPETYPE" val="footer"/>
</p:tagLst>
</file>

<file path=ppt/tags/tag4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9.xml><?xml version="1.0" encoding="utf-8"?>
<p:tagLst xmlns:a="http://schemas.openxmlformats.org/drawingml/2006/main" xmlns:r="http://schemas.openxmlformats.org/officeDocument/2006/relationships" xmlns:p="http://schemas.openxmlformats.org/presentationml/2006/main">
  <p:tag name="SHAPETYPE" val="footer"/>
</p:tagLst>
</file>

<file path=ppt/tags/tag4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4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15.xml><?xml version="1.0" encoding="utf-8"?>
<p:tagLst xmlns:a="http://schemas.openxmlformats.org/drawingml/2006/main" xmlns:r="http://schemas.openxmlformats.org/officeDocument/2006/relationships" xmlns:p="http://schemas.openxmlformats.org/presentationml/2006/main">
  <p:tag name="SHAPETYPE" val="footer"/>
</p:tagLst>
</file>

<file path=ppt/tags/tag4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1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6.xml><?xml version="1.0" encoding="utf-8"?>
<p:tagLst xmlns:a="http://schemas.openxmlformats.org/drawingml/2006/main" xmlns:r="http://schemas.openxmlformats.org/officeDocument/2006/relationships" xmlns:p="http://schemas.openxmlformats.org/presentationml/2006/main">
  <p:tag name="SHAPETYPE" val="footer"/>
</p:tagLst>
</file>

<file path=ppt/tags/tag4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29.xml><?xml version="1.0" encoding="utf-8"?>
<p:tagLst xmlns:a="http://schemas.openxmlformats.org/drawingml/2006/main" xmlns:r="http://schemas.openxmlformats.org/officeDocument/2006/relationships" xmlns:p="http://schemas.openxmlformats.org/presentationml/2006/main">
  <p:tag name="SHAPETYPE" val="footer"/>
</p:tagLst>
</file>

<file path=ppt/tags/tag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2.xml><?xml version="1.0" encoding="utf-8"?>
<p:tagLst xmlns:a="http://schemas.openxmlformats.org/drawingml/2006/main" xmlns:r="http://schemas.openxmlformats.org/officeDocument/2006/relationships" xmlns:p="http://schemas.openxmlformats.org/presentationml/2006/main">
  <p:tag name="SHAPETYPE" val="footer"/>
</p:tagLst>
</file>

<file path=ppt/tags/tag43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3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5.xml><?xml version="1.0" encoding="utf-8"?>
<p:tagLst xmlns:a="http://schemas.openxmlformats.org/drawingml/2006/main" xmlns:r="http://schemas.openxmlformats.org/officeDocument/2006/relationships" xmlns:p="http://schemas.openxmlformats.org/presentationml/2006/main">
  <p:tag name="SHAPETYPE" val="footer"/>
</p:tagLst>
</file>

<file path=ppt/tags/tag4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3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44.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4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4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2.xml><?xml version="1.0" encoding="utf-8"?>
<p:tagLst xmlns:a="http://schemas.openxmlformats.org/drawingml/2006/main" xmlns:r="http://schemas.openxmlformats.org/officeDocument/2006/relationships" xmlns:p="http://schemas.openxmlformats.org/presentationml/2006/main">
  <p:tag name="SHAPETYPE" val="Gradient"/>
</p:tagLst>
</file>

<file path=ppt/tags/tag4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5.xml><?xml version="1.0" encoding="utf-8"?>
<p:tagLst xmlns:a="http://schemas.openxmlformats.org/drawingml/2006/main" xmlns:r="http://schemas.openxmlformats.org/officeDocument/2006/relationships" xmlns:p="http://schemas.openxmlformats.org/presentationml/2006/main">
  <p:tag name="SHAPETYPE" val="Gradient"/>
</p:tagLst>
</file>

<file path=ppt/tags/tag4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5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66.xml><?xml version="1.0" encoding="utf-8"?>
<p:tagLst xmlns:a="http://schemas.openxmlformats.org/drawingml/2006/main" xmlns:r="http://schemas.openxmlformats.org/officeDocument/2006/relationships" xmlns:p="http://schemas.openxmlformats.org/presentationml/2006/main">
  <p:tag name="SHAPETYPE" val="footer"/>
</p:tagLst>
</file>

<file path=ppt/tags/tag46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6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71.xml><?xml version="1.0" encoding="utf-8"?>
<p:tagLst xmlns:a="http://schemas.openxmlformats.org/drawingml/2006/main" xmlns:r="http://schemas.openxmlformats.org/officeDocument/2006/relationships" xmlns:p="http://schemas.openxmlformats.org/presentationml/2006/main">
  <p:tag name="SHAPETYPE" val="Gradient"/>
</p:tagLst>
</file>

<file path=ppt/tags/tag4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4.xml><?xml version="1.0" encoding="utf-8"?>
<p:tagLst xmlns:a="http://schemas.openxmlformats.org/drawingml/2006/main" xmlns:r="http://schemas.openxmlformats.org/officeDocument/2006/relationships" xmlns:p="http://schemas.openxmlformats.org/presentationml/2006/main">
  <p:tag name="SHAPETYPE" val="footer"/>
</p:tagLst>
</file>

<file path=ppt/tags/tag4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78.xml><?xml version="1.0" encoding="utf-8"?>
<p:tagLst xmlns:a="http://schemas.openxmlformats.org/drawingml/2006/main" xmlns:r="http://schemas.openxmlformats.org/officeDocument/2006/relationships" xmlns:p="http://schemas.openxmlformats.org/presentationml/2006/main">
  <p:tag name="SHAPETYPE" val="footer"/>
</p:tagLst>
</file>

<file path=ppt/tags/tag4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89.xml><?xml version="1.0" encoding="utf-8"?>
<p:tagLst xmlns:a="http://schemas.openxmlformats.org/drawingml/2006/main" xmlns:r="http://schemas.openxmlformats.org/officeDocument/2006/relationships" xmlns:p="http://schemas.openxmlformats.org/presentationml/2006/main">
  <p:tag name="SHAPETYPE" val="footer"/>
</p:tagLst>
</file>

<file path=ppt/tags/tag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2.xml><?xml version="1.0" encoding="utf-8"?>
<p:tagLst xmlns:a="http://schemas.openxmlformats.org/drawingml/2006/main" xmlns:r="http://schemas.openxmlformats.org/officeDocument/2006/relationships" xmlns:p="http://schemas.openxmlformats.org/presentationml/2006/main">
  <p:tag name="SHAPETYPE" val="footer"/>
</p:tagLst>
</file>

<file path=ppt/tags/tag49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5.xml><?xml version="1.0" encoding="utf-8"?>
<p:tagLst xmlns:a="http://schemas.openxmlformats.org/drawingml/2006/main" xmlns:r="http://schemas.openxmlformats.org/officeDocument/2006/relationships" xmlns:p="http://schemas.openxmlformats.org/presentationml/2006/main">
  <p:tag name="SHAPETYPE" val="footer"/>
</p:tagLst>
</file>

<file path=ppt/tags/tag49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4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footer"/>
</p:tagLst>
</file>

<file path=ppt/tags/tag50.xml><?xml version="1.0" encoding="utf-8"?>
<p:tagLst xmlns:a="http://schemas.openxmlformats.org/drawingml/2006/main" xmlns:r="http://schemas.openxmlformats.org/officeDocument/2006/relationships" xmlns:p="http://schemas.openxmlformats.org/presentationml/2006/main">
  <p:tag name="SHAPETYPE" val="footer"/>
</p:tagLst>
</file>

<file path=ppt/tags/tag50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1.xml><?xml version="1.0" encoding="utf-8"?>
<p:tagLst xmlns:a="http://schemas.openxmlformats.org/drawingml/2006/main" xmlns:r="http://schemas.openxmlformats.org/officeDocument/2006/relationships" xmlns:p="http://schemas.openxmlformats.org/presentationml/2006/main">
  <p:tag name="SHAPETYPE" val="footer"/>
</p:tagLst>
</file>

<file path=ppt/tags/tag50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2.xml><?xml version="1.0" encoding="utf-8"?>
<p:tagLst xmlns:a="http://schemas.openxmlformats.org/drawingml/2006/main" xmlns:r="http://schemas.openxmlformats.org/officeDocument/2006/relationships" xmlns:p="http://schemas.openxmlformats.org/presentationml/2006/main">
  <p:tag name="SHAPETYPE" val="footer"/>
</p:tagLst>
</file>

<file path=ppt/tags/tag5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5.xml><?xml version="1.0" encoding="utf-8"?>
<p:tagLst xmlns:a="http://schemas.openxmlformats.org/drawingml/2006/main" xmlns:r="http://schemas.openxmlformats.org/officeDocument/2006/relationships" xmlns:p="http://schemas.openxmlformats.org/presentationml/2006/main">
  <p:tag name="SHAPETYPE" val="footer"/>
</p:tagLst>
</file>

<file path=ppt/tags/tag5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18.xml><?xml version="1.0" encoding="utf-8"?>
<p:tagLst xmlns:a="http://schemas.openxmlformats.org/drawingml/2006/main" xmlns:r="http://schemas.openxmlformats.org/officeDocument/2006/relationships" xmlns:p="http://schemas.openxmlformats.org/presentationml/2006/main">
  <p:tag name="SHAPETYPE" val="footer"/>
</p:tagLst>
</file>

<file path=ppt/tags/tag5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1.xml><?xml version="1.0" encoding="utf-8"?>
<p:tagLst xmlns:a="http://schemas.openxmlformats.org/drawingml/2006/main" xmlns:r="http://schemas.openxmlformats.org/officeDocument/2006/relationships" xmlns:p="http://schemas.openxmlformats.org/presentationml/2006/main">
  <p:tag name="SHAPETYPE" val="footer"/>
</p:tagLst>
</file>

<file path=ppt/tags/tag52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2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2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dJ6AH1.8H7tV3YxdXv0w"/>
</p:tagLst>
</file>

<file path=ppt/tags/tag530.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53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2.xml><?xml version="1.0" encoding="utf-8"?>
<p:tagLst xmlns:a="http://schemas.openxmlformats.org/drawingml/2006/main" xmlns:r="http://schemas.openxmlformats.org/officeDocument/2006/relationships" xmlns:p="http://schemas.openxmlformats.org/presentationml/2006/main">
  <p:tag name="SHAPETYPE" val="Background"/>
</p:tagLst>
</file>

<file path=ppt/tags/tag5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37.xml><?xml version="1.0" encoding="utf-8"?>
<p:tagLst xmlns:a="http://schemas.openxmlformats.org/drawingml/2006/main" xmlns:r="http://schemas.openxmlformats.org/officeDocument/2006/relationships" xmlns:p="http://schemas.openxmlformats.org/presentationml/2006/main">
  <p:tag name="SHAPETYPE" val="footer"/>
</p:tagLst>
</file>

<file path=ppt/tags/tag5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3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0.xml><?xml version="1.0" encoding="utf-8"?>
<p:tagLst xmlns:a="http://schemas.openxmlformats.org/drawingml/2006/main" xmlns:r="http://schemas.openxmlformats.org/officeDocument/2006/relationships" xmlns:p="http://schemas.openxmlformats.org/presentationml/2006/main">
  <p:tag name="SHAPETYPE" val="footer"/>
</p:tagLst>
</file>

<file path=ppt/tags/tag5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4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xml><?xml version="1.0" encoding="utf-8"?>
<p:tagLst xmlns:a="http://schemas.openxmlformats.org/drawingml/2006/main" xmlns:r="http://schemas.openxmlformats.org/officeDocument/2006/relationships" xmlns:p="http://schemas.openxmlformats.org/presentationml/2006/main">
  <p:tag name="SHAPETYPE" val="footer"/>
</p:tagLst>
</file>

<file path=ppt/tags/tag5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4.xml><?xml version="1.0" encoding="utf-8"?>
<p:tagLst xmlns:a="http://schemas.openxmlformats.org/drawingml/2006/main" xmlns:r="http://schemas.openxmlformats.org/officeDocument/2006/relationships" xmlns:p="http://schemas.openxmlformats.org/presentationml/2006/main">
  <p:tag name="SHAPETYPE" val="footer"/>
</p:tagLst>
</file>

<file path=ppt/tags/tag5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58.xml><?xml version="1.0" encoding="utf-8"?>
<p:tagLst xmlns:a="http://schemas.openxmlformats.org/drawingml/2006/main" xmlns:r="http://schemas.openxmlformats.org/officeDocument/2006/relationships" xmlns:p="http://schemas.openxmlformats.org/presentationml/2006/main">
  <p:tag name="SHAPETYPE" val="footer"/>
</p:tagLst>
</file>

<file path=ppt/tags/tag5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69.xml><?xml version="1.0" encoding="utf-8"?>
<p:tagLst xmlns:a="http://schemas.openxmlformats.org/drawingml/2006/main" xmlns:r="http://schemas.openxmlformats.org/officeDocument/2006/relationships" xmlns:p="http://schemas.openxmlformats.org/presentationml/2006/main">
  <p:tag name="SHAPETYPE" val="footer"/>
</p:tagLst>
</file>

<file path=ppt/tags/tag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5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QIdJ6AH1.8H7tV3YxdXv0w"/>
</p:tagLst>
</file>

<file path=ppt/tags/tag57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5.xml><?xml version="1.0" encoding="utf-8"?>
<p:tagLst xmlns:a="http://schemas.openxmlformats.org/drawingml/2006/main" xmlns:r="http://schemas.openxmlformats.org/officeDocument/2006/relationships" xmlns:p="http://schemas.openxmlformats.org/presentationml/2006/main">
  <p:tag name="SHAPETYPE" val="footer"/>
</p:tagLst>
</file>

<file path=ppt/tags/tag5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77.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7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7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1.xml><?xml version="1.0" encoding="utf-8"?>
<p:tagLst xmlns:a="http://schemas.openxmlformats.org/drawingml/2006/main" xmlns:r="http://schemas.openxmlformats.org/officeDocument/2006/relationships" xmlns:p="http://schemas.openxmlformats.org/presentationml/2006/main">
  <p:tag name="SHAPETYPE" val="Background"/>
</p:tagLst>
</file>

<file path=ppt/tags/tag5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84.xml><?xml version="1.0" encoding="utf-8"?>
<p:tagLst xmlns:a="http://schemas.openxmlformats.org/drawingml/2006/main" xmlns:r="http://schemas.openxmlformats.org/officeDocument/2006/relationships" xmlns:p="http://schemas.openxmlformats.org/presentationml/2006/main">
  <p:tag name="SHAPETYPE" val="footer"/>
</p:tagLst>
</file>

<file path=ppt/tags/tag58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89.xml><?xml version="1.0" encoding="utf-8"?>
<p:tagLst xmlns:a="http://schemas.openxmlformats.org/drawingml/2006/main" xmlns:r="http://schemas.openxmlformats.org/officeDocument/2006/relationships" xmlns:p="http://schemas.openxmlformats.org/presentationml/2006/main">
  <p:tag name="SHAPETYPE" val="footer"/>
</p:tagLst>
</file>

<file path=ppt/tags/tag5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95.xml><?xml version="1.0" encoding="utf-8"?>
<p:tagLst xmlns:a="http://schemas.openxmlformats.org/drawingml/2006/main" xmlns:r="http://schemas.openxmlformats.org/officeDocument/2006/relationships" xmlns:p="http://schemas.openxmlformats.org/presentationml/2006/main">
  <p:tag name="SHAPETYPE" val="footer"/>
</p:tagLst>
</file>

<file path=ppt/tags/tag59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5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xml><?xml version="1.0" encoding="utf-8"?>
<p:tagLst xmlns:a="http://schemas.openxmlformats.org/drawingml/2006/main" xmlns:r="http://schemas.openxmlformats.org/officeDocument/2006/relationships" xmlns:p="http://schemas.openxmlformats.org/presentationml/2006/main">
  <p:tag name="SHAPETYPE" val="Background"/>
</p:tagLst>
</file>

<file path=ppt/tags/tag6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2.xml><?xml version="1.0" encoding="utf-8"?>
<p:tagLst xmlns:a="http://schemas.openxmlformats.org/drawingml/2006/main" xmlns:r="http://schemas.openxmlformats.org/officeDocument/2006/relationships" xmlns:p="http://schemas.openxmlformats.org/presentationml/2006/main">
  <p:tag name="SHAPETYPE" val="footer"/>
</p:tagLst>
</file>

<file path=ppt/tags/tag603.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5.xml><?xml version="1.0" encoding="utf-8"?>
<p:tagLst xmlns:a="http://schemas.openxmlformats.org/drawingml/2006/main" xmlns:r="http://schemas.openxmlformats.org/officeDocument/2006/relationships" xmlns:p="http://schemas.openxmlformats.org/presentationml/2006/main">
  <p:tag name="SHAPETYPE" val="footer"/>
</p:tagLst>
</file>

<file path=ppt/tags/tag606.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08.xml><?xml version="1.0" encoding="utf-8"?>
<p:tagLst xmlns:a="http://schemas.openxmlformats.org/drawingml/2006/main" xmlns:r="http://schemas.openxmlformats.org/officeDocument/2006/relationships" xmlns:p="http://schemas.openxmlformats.org/presentationml/2006/main">
  <p:tag name="SHAPETYPE" val="Background"/>
</p:tagLst>
</file>

<file path=ppt/tags/tag60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11.xml><?xml version="1.0" encoding="utf-8"?>
<p:tagLst xmlns:a="http://schemas.openxmlformats.org/drawingml/2006/main" xmlns:r="http://schemas.openxmlformats.org/officeDocument/2006/relationships" xmlns:p="http://schemas.openxmlformats.org/presentationml/2006/main">
  <p:tag name="SHAPETYPE" val="footer"/>
</p:tagLst>
</file>

<file path=ppt/tags/tag61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15.xml><?xml version="1.0" encoding="utf-8"?>
<p:tagLst xmlns:a="http://schemas.openxmlformats.org/drawingml/2006/main" xmlns:r="http://schemas.openxmlformats.org/officeDocument/2006/relationships" xmlns:p="http://schemas.openxmlformats.org/presentationml/2006/main">
  <p:tag name="SHAPETYPE" val="footer"/>
</p:tagLst>
</file>

<file path=ppt/tags/tag6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1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19.xml><?xml version="1.0" encoding="utf-8"?>
<p:tagLst xmlns:a="http://schemas.openxmlformats.org/drawingml/2006/main" xmlns:r="http://schemas.openxmlformats.org/officeDocument/2006/relationships" xmlns:p="http://schemas.openxmlformats.org/presentationml/2006/main">
  <p:tag name="SHAPETYPE" val="footer"/>
</p:tagLst>
</file>

<file path=ppt/tags/tag6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23.xml><?xml version="1.0" encoding="utf-8"?>
<p:tagLst xmlns:a="http://schemas.openxmlformats.org/drawingml/2006/main" xmlns:r="http://schemas.openxmlformats.org/officeDocument/2006/relationships" xmlns:p="http://schemas.openxmlformats.org/presentationml/2006/main">
  <p:tag name="SHAPETYPE" val="footer"/>
</p:tagLst>
</file>

<file path=ppt/tags/tag6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WdUR2bjEjPV3IH6KnDZwb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EpSRhif7O9vHAmn3bKh9aA"/>
</p:tagLst>
</file>

<file path=ppt/tags/tag6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xml><?xml version="1.0" encoding="utf-8"?>
<p:tagLst xmlns:a="http://schemas.openxmlformats.org/drawingml/2006/main" xmlns:r="http://schemas.openxmlformats.org/officeDocument/2006/relationships" xmlns:p="http://schemas.openxmlformats.org/presentationml/2006/main">
  <p:tag name="SHAPETYPE" val="footer"/>
</p:tagLst>
</file>

<file path=ppt/tags/tag6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3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3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4.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43.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4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6.xml><?xml version="1.0" encoding="utf-8"?>
<p:tagLst xmlns:a="http://schemas.openxmlformats.org/drawingml/2006/main" xmlns:r="http://schemas.openxmlformats.org/officeDocument/2006/relationships" xmlns:p="http://schemas.openxmlformats.org/presentationml/2006/main">
  <p:tag name="SHAPETYPE" val="Gradient"/>
</p:tagLst>
</file>

<file path=ppt/tags/tag64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4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49.xml><?xml version="1.0" encoding="utf-8"?>
<p:tagLst xmlns:a="http://schemas.openxmlformats.org/drawingml/2006/main" xmlns:r="http://schemas.openxmlformats.org/officeDocument/2006/relationships" xmlns:p="http://schemas.openxmlformats.org/presentationml/2006/main">
  <p:tag name="SHAPETYPE" val="Gradient"/>
</p:tagLst>
</file>

<file path=ppt/tags/tag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5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5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5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5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0.xml><?xml version="1.0" encoding="utf-8"?>
<p:tagLst xmlns:a="http://schemas.openxmlformats.org/drawingml/2006/main" xmlns:r="http://schemas.openxmlformats.org/officeDocument/2006/relationships" xmlns:p="http://schemas.openxmlformats.org/presentationml/2006/main">
  <p:tag name="SHAPETYPE" val="footer"/>
</p:tagLst>
</file>

<file path=ppt/tags/tag66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4.xml><?xml version="1.0" encoding="utf-8"?>
<p:tagLst xmlns:a="http://schemas.openxmlformats.org/drawingml/2006/main" xmlns:r="http://schemas.openxmlformats.org/officeDocument/2006/relationships" xmlns:p="http://schemas.openxmlformats.org/presentationml/2006/main">
  <p:tag name="SHAPETYPE" val="footer"/>
</p:tagLst>
</file>

<file path=ppt/tags/tag66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66.xml><?xml version="1.0" encoding="utf-8"?>
<p:tagLst xmlns:a="http://schemas.openxmlformats.org/drawingml/2006/main" xmlns:r="http://schemas.openxmlformats.org/officeDocument/2006/relationships" xmlns:p="http://schemas.openxmlformats.org/presentationml/2006/main">
  <p:tag name="SHAPETYPE" val="Gradient"/>
</p:tagLst>
</file>

<file path=ppt/tags/tag6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6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69.xml><?xml version="1.0" encoding="utf-8"?>
<p:tagLst xmlns:a="http://schemas.openxmlformats.org/drawingml/2006/main" xmlns:r="http://schemas.openxmlformats.org/officeDocument/2006/relationships" xmlns:p="http://schemas.openxmlformats.org/presentationml/2006/main">
  <p:tag name="SHAPETYPE" val="footer"/>
</p:tagLst>
</file>

<file path=ppt/tags/tag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73.xml><?xml version="1.0" encoding="utf-8"?>
<p:tagLst xmlns:a="http://schemas.openxmlformats.org/drawingml/2006/main" xmlns:r="http://schemas.openxmlformats.org/officeDocument/2006/relationships" xmlns:p="http://schemas.openxmlformats.org/presentationml/2006/main">
  <p:tag name="SHAPETYPE" val="footer"/>
</p:tagLst>
</file>

<file path=ppt/tags/tag67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xml><?xml version="1.0" encoding="utf-8"?>
<p:tagLst xmlns:a="http://schemas.openxmlformats.org/drawingml/2006/main" xmlns:r="http://schemas.openxmlformats.org/officeDocument/2006/relationships" xmlns:p="http://schemas.openxmlformats.org/presentationml/2006/main">
  <p:tag name="SHAPETYPE" val="footer"/>
</p:tagLst>
</file>

<file path=ppt/tags/tag6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5.xml><?xml version="1.0" encoding="utf-8"?>
<p:tagLst xmlns:a="http://schemas.openxmlformats.org/drawingml/2006/main" xmlns:r="http://schemas.openxmlformats.org/officeDocument/2006/relationships" xmlns:p="http://schemas.openxmlformats.org/presentationml/2006/main">
  <p:tag name="SHAPETYPE" val="footer"/>
</p:tagLst>
</file>

<file path=ppt/tags/tag68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88.xml><?xml version="1.0" encoding="utf-8"?>
<p:tagLst xmlns:a="http://schemas.openxmlformats.org/drawingml/2006/main" xmlns:r="http://schemas.openxmlformats.org/officeDocument/2006/relationships" xmlns:p="http://schemas.openxmlformats.org/presentationml/2006/main">
  <p:tag name="SHAPETYPE" val="footer"/>
</p:tagLst>
</file>

<file path=ppt/tags/tag68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6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94.xml><?xml version="1.0" encoding="utf-8"?>
<p:tagLst xmlns:a="http://schemas.openxmlformats.org/drawingml/2006/main" xmlns:r="http://schemas.openxmlformats.org/officeDocument/2006/relationships" xmlns:p="http://schemas.openxmlformats.org/presentationml/2006/main">
  <p:tag name="SHAPETYPE" val="footer"/>
</p:tagLst>
</file>

<file path=ppt/tags/tag6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6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6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5.xml><?xml version="1.0" encoding="utf-8"?>
<p:tagLst xmlns:a="http://schemas.openxmlformats.org/drawingml/2006/main" xmlns:r="http://schemas.openxmlformats.org/officeDocument/2006/relationships" xmlns:p="http://schemas.openxmlformats.org/presentationml/2006/main">
  <p:tag name="SHAPETYPE" val="footer"/>
</p:tagLst>
</file>

<file path=ppt/tags/tag70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0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08.xml><?xml version="1.0" encoding="utf-8"?>
<p:tagLst xmlns:a="http://schemas.openxmlformats.org/drawingml/2006/main" xmlns:r="http://schemas.openxmlformats.org/officeDocument/2006/relationships" xmlns:p="http://schemas.openxmlformats.org/presentationml/2006/main">
  <p:tag name="SHAPETYPE" val="footer"/>
</p:tagLst>
</file>

<file path=ppt/tags/tag70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1.xml><?xml version="1.0" encoding="utf-8"?>
<p:tagLst xmlns:a="http://schemas.openxmlformats.org/drawingml/2006/main" xmlns:r="http://schemas.openxmlformats.org/officeDocument/2006/relationships" xmlns:p="http://schemas.openxmlformats.org/presentationml/2006/main">
  <p:tag name="SHAPETYPE" val="footer"/>
</p:tagLst>
</file>

<file path=ppt/tags/tag71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4.xml><?xml version="1.0" encoding="utf-8"?>
<p:tagLst xmlns:a="http://schemas.openxmlformats.org/drawingml/2006/main" xmlns:r="http://schemas.openxmlformats.org/officeDocument/2006/relationships" xmlns:p="http://schemas.openxmlformats.org/presentationml/2006/main">
  <p:tag name="SHAPETYPE" val="footer"/>
</p:tagLst>
</file>

<file path=ppt/tags/tag71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1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2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2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23.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7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27.xml><?xml version="1.0" encoding="utf-8"?>
<p:tagLst xmlns:a="http://schemas.openxmlformats.org/drawingml/2006/main" xmlns:r="http://schemas.openxmlformats.org/officeDocument/2006/relationships" xmlns:p="http://schemas.openxmlformats.org/presentationml/2006/main">
  <p:tag name="SHAPETYPE" val="footer"/>
</p:tagLst>
</file>

<file path=ppt/tags/tag72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29.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7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32.xml><?xml version="1.0" encoding="utf-8"?>
<p:tagLst xmlns:a="http://schemas.openxmlformats.org/drawingml/2006/main" xmlns:r="http://schemas.openxmlformats.org/officeDocument/2006/relationships" xmlns:p="http://schemas.openxmlformats.org/presentationml/2006/main">
  <p:tag name="SHAPETYPE" val="Gradient"/>
</p:tagLst>
</file>

<file path=ppt/tags/tag73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35.xml><?xml version="1.0" encoding="utf-8"?>
<p:tagLst xmlns:a="http://schemas.openxmlformats.org/drawingml/2006/main" xmlns:r="http://schemas.openxmlformats.org/officeDocument/2006/relationships" xmlns:p="http://schemas.openxmlformats.org/presentationml/2006/main">
  <p:tag name="SHAPETYPE" val="Gradient"/>
</p:tagLst>
</file>

<file path=ppt/tags/tag73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3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3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xml><?xml version="1.0" encoding="utf-8"?>
<p:tagLst xmlns:a="http://schemas.openxmlformats.org/drawingml/2006/main" xmlns:r="http://schemas.openxmlformats.org/officeDocument/2006/relationships" xmlns:p="http://schemas.openxmlformats.org/presentationml/2006/main">
  <p:tag name="SHAPETYPE" val="footer"/>
</p:tagLst>
</file>

<file path=ppt/tags/tag74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4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49.xml><?xml version="1.0" encoding="utf-8"?>
<p:tagLst xmlns:a="http://schemas.openxmlformats.org/drawingml/2006/main" xmlns:r="http://schemas.openxmlformats.org/officeDocument/2006/relationships" xmlns:p="http://schemas.openxmlformats.org/presentationml/2006/main">
  <p:tag name="SHAPETYPE" val="footer"/>
</p:tagLst>
</file>

<file path=ppt/tags/tag7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7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51.xml><?xml version="1.0" encoding="utf-8"?>
<p:tagLst xmlns:a="http://schemas.openxmlformats.org/drawingml/2006/main" xmlns:r="http://schemas.openxmlformats.org/officeDocument/2006/relationships" xmlns:p="http://schemas.openxmlformats.org/presentationml/2006/main">
  <p:tag name="SHAPETYPE" val="Gradient"/>
</p:tagLst>
</file>

<file path=ppt/tags/tag7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54.xml><?xml version="1.0" encoding="utf-8"?>
<p:tagLst xmlns:a="http://schemas.openxmlformats.org/drawingml/2006/main" xmlns:r="http://schemas.openxmlformats.org/officeDocument/2006/relationships" xmlns:p="http://schemas.openxmlformats.org/presentationml/2006/main">
  <p:tag name="SHAPETYPE" val="footer"/>
</p:tagLst>
</file>

<file path=ppt/tags/tag7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58.xml><?xml version="1.0" encoding="utf-8"?>
<p:tagLst xmlns:a="http://schemas.openxmlformats.org/drawingml/2006/main" xmlns:r="http://schemas.openxmlformats.org/officeDocument/2006/relationships" xmlns:p="http://schemas.openxmlformats.org/presentationml/2006/main">
  <p:tag name="SHAPETYPE" val="footer"/>
</p:tagLst>
</file>

<file path=ppt/tags/tag7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68.xml><?xml version="1.0" encoding="utf-8"?>
<p:tagLst xmlns:a="http://schemas.openxmlformats.org/drawingml/2006/main" xmlns:r="http://schemas.openxmlformats.org/officeDocument/2006/relationships" xmlns:p="http://schemas.openxmlformats.org/presentationml/2006/main">
  <p:tag name="SHAPETYPE" val="footer"/>
</p:tagLst>
</file>

<file path=ppt/tags/tag76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1.xml><?xml version="1.0" encoding="utf-8"?>
<p:tagLst xmlns:a="http://schemas.openxmlformats.org/drawingml/2006/main" xmlns:r="http://schemas.openxmlformats.org/officeDocument/2006/relationships" xmlns:p="http://schemas.openxmlformats.org/presentationml/2006/main">
  <p:tag name="SHAPETYPE" val="footer"/>
</p:tagLst>
</file>

<file path=ppt/tags/tag77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4.xml><?xml version="1.0" encoding="utf-8"?>
<p:tagLst xmlns:a="http://schemas.openxmlformats.org/drawingml/2006/main" xmlns:r="http://schemas.openxmlformats.org/officeDocument/2006/relationships" xmlns:p="http://schemas.openxmlformats.org/presentationml/2006/main">
  <p:tag name="SHAPETYPE" val="footer"/>
</p:tagLst>
</file>

<file path=ppt/tags/tag77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7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0.xml><?xml version="1.0" encoding="utf-8"?>
<p:tagLst xmlns:a="http://schemas.openxmlformats.org/drawingml/2006/main" xmlns:r="http://schemas.openxmlformats.org/officeDocument/2006/relationships" xmlns:p="http://schemas.openxmlformats.org/presentationml/2006/main">
  <p:tag name="SHAPETYPE" val="footer"/>
</p:tagLst>
</file>

<file path=ppt/tags/tag7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1.xml><?xml version="1.0" encoding="utf-8"?>
<p:tagLst xmlns:a="http://schemas.openxmlformats.org/drawingml/2006/main" xmlns:r="http://schemas.openxmlformats.org/officeDocument/2006/relationships" xmlns:p="http://schemas.openxmlformats.org/presentationml/2006/main">
  <p:tag name="SHAPETYPE" val="footer"/>
</p:tagLst>
</file>

<file path=ppt/tags/tag7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4.xml><?xml version="1.0" encoding="utf-8"?>
<p:tagLst xmlns:a="http://schemas.openxmlformats.org/drawingml/2006/main" xmlns:r="http://schemas.openxmlformats.org/officeDocument/2006/relationships" xmlns:p="http://schemas.openxmlformats.org/presentationml/2006/main">
  <p:tag name="SHAPETYPE" val="footer"/>
</p:tagLst>
</file>

<file path=ppt/tags/tag7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797.xml><?xml version="1.0" encoding="utf-8"?>
<p:tagLst xmlns:a="http://schemas.openxmlformats.org/drawingml/2006/main" xmlns:r="http://schemas.openxmlformats.org/officeDocument/2006/relationships" xmlns:p="http://schemas.openxmlformats.org/presentationml/2006/main">
  <p:tag name="SHAPETYPE" val="footer"/>
</p:tagLst>
</file>

<file path=ppt/tags/tag79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7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0.xml><?xml version="1.0" encoding="utf-8"?>
<p:tagLst xmlns:a="http://schemas.openxmlformats.org/drawingml/2006/main" xmlns:r="http://schemas.openxmlformats.org/officeDocument/2006/relationships" xmlns:p="http://schemas.openxmlformats.org/presentationml/2006/main">
  <p:tag name="SHAPETYPE" val="footer"/>
</p:tagLst>
</file>

<file path=ppt/tags/tag80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0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09.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81.xml><?xml version="1.0" encoding="utf-8"?>
<p:tagLst xmlns:a="http://schemas.openxmlformats.org/drawingml/2006/main" xmlns:r="http://schemas.openxmlformats.org/officeDocument/2006/relationships" xmlns:p="http://schemas.openxmlformats.org/presentationml/2006/main">
  <p:tag name="SHAPETYPE" val="footer"/>
</p:tagLst>
</file>

<file path=ppt/tags/tag81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14.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81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1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17.xml><?xml version="1.0" encoding="utf-8"?>
<p:tagLst xmlns:a="http://schemas.openxmlformats.org/drawingml/2006/main" xmlns:r="http://schemas.openxmlformats.org/officeDocument/2006/relationships" xmlns:p="http://schemas.openxmlformats.org/presentationml/2006/main">
  <p:tag name="SHAPETYPE" val="Gradient"/>
</p:tagLst>
</file>

<file path=ppt/tags/tag8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20.xml><?xml version="1.0" encoding="utf-8"?>
<p:tagLst xmlns:a="http://schemas.openxmlformats.org/drawingml/2006/main" xmlns:r="http://schemas.openxmlformats.org/officeDocument/2006/relationships" xmlns:p="http://schemas.openxmlformats.org/presentationml/2006/main">
  <p:tag name="SHAPETYPE" val="Gradient"/>
</p:tagLst>
</file>

<file path=ppt/tags/tag8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2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1.xml><?xml version="1.0" encoding="utf-8"?>
<p:tagLst xmlns:a="http://schemas.openxmlformats.org/drawingml/2006/main" xmlns:r="http://schemas.openxmlformats.org/officeDocument/2006/relationships" xmlns:p="http://schemas.openxmlformats.org/presentationml/2006/main">
  <p:tag name="SHAPETYPE" val="footer"/>
</p:tagLst>
</file>

<file path=ppt/tags/tag8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35.xml><?xml version="1.0" encoding="utf-8"?>
<p:tagLst xmlns:a="http://schemas.openxmlformats.org/drawingml/2006/main" xmlns:r="http://schemas.openxmlformats.org/officeDocument/2006/relationships" xmlns:p="http://schemas.openxmlformats.org/presentationml/2006/main">
  <p:tag name="SHAPETYPE" val="footer"/>
</p:tagLst>
</file>

<file path=ppt/tags/tag8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37.xml><?xml version="1.0" encoding="utf-8"?>
<p:tagLst xmlns:a="http://schemas.openxmlformats.org/drawingml/2006/main" xmlns:r="http://schemas.openxmlformats.org/officeDocument/2006/relationships" xmlns:p="http://schemas.openxmlformats.org/presentationml/2006/main">
  <p:tag name="SHAPETYPE" val="Gradient"/>
</p:tagLst>
</file>

<file path=ppt/tags/tag8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3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xml><?xml version="1.0" encoding="utf-8"?>
<p:tagLst xmlns:a="http://schemas.openxmlformats.org/drawingml/2006/main" xmlns:r="http://schemas.openxmlformats.org/officeDocument/2006/relationships" xmlns:p="http://schemas.openxmlformats.org/presentationml/2006/main">
  <p:tag name="SHAPETYPE" val="footer"/>
</p:tagLst>
</file>

<file path=ppt/tags/tag840.xml><?xml version="1.0" encoding="utf-8"?>
<p:tagLst xmlns:a="http://schemas.openxmlformats.org/drawingml/2006/main" xmlns:r="http://schemas.openxmlformats.org/officeDocument/2006/relationships" xmlns:p="http://schemas.openxmlformats.org/presentationml/2006/main">
  <p:tag name="SHAPETYPE" val="footer"/>
</p:tagLst>
</file>

<file path=ppt/tags/tag84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4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44.xml><?xml version="1.0" encoding="utf-8"?>
<p:tagLst xmlns:a="http://schemas.openxmlformats.org/drawingml/2006/main" xmlns:r="http://schemas.openxmlformats.org/officeDocument/2006/relationships" xmlns:p="http://schemas.openxmlformats.org/presentationml/2006/main">
  <p:tag name="SHAPETYPE" val="footer"/>
</p:tagLst>
</file>

<file path=ppt/tags/tag84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4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5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5.xml><?xml version="1.0" encoding="utf-8"?>
<p:tagLst xmlns:a="http://schemas.openxmlformats.org/drawingml/2006/main" xmlns:r="http://schemas.openxmlformats.org/officeDocument/2006/relationships" xmlns:p="http://schemas.openxmlformats.org/presentationml/2006/main">
  <p:tag name="SHAPETYPE" val="footer"/>
</p:tagLst>
</file>

<file path=ppt/tags/tag85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5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58.xml><?xml version="1.0" encoding="utf-8"?>
<p:tagLst xmlns:a="http://schemas.openxmlformats.org/drawingml/2006/main" xmlns:r="http://schemas.openxmlformats.org/officeDocument/2006/relationships" xmlns:p="http://schemas.openxmlformats.org/presentationml/2006/main">
  <p:tag name="SHAPETYPE" val="footer"/>
</p:tagLst>
</file>

<file path=ppt/tags/tag8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1.xml><?xml version="1.0" encoding="utf-8"?>
<p:tagLst xmlns:a="http://schemas.openxmlformats.org/drawingml/2006/main" xmlns:r="http://schemas.openxmlformats.org/officeDocument/2006/relationships" xmlns:p="http://schemas.openxmlformats.org/presentationml/2006/main">
  <p:tag name="SHAPETYPE" val="footer"/>
</p:tagLst>
</file>

<file path=ppt/tags/tag86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6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67.xml><?xml version="1.0" encoding="utf-8"?>
<p:tagLst xmlns:a="http://schemas.openxmlformats.org/drawingml/2006/main" xmlns:r="http://schemas.openxmlformats.org/officeDocument/2006/relationships" xmlns:p="http://schemas.openxmlformats.org/presentationml/2006/main">
  <p:tag name="SHAPETYPE" val="footer"/>
</p:tagLst>
</file>

<file path=ppt/tags/tag86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6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xml><?xml version="1.0" encoding="utf-8"?>
<p:tagLst xmlns:a="http://schemas.openxmlformats.org/drawingml/2006/main" xmlns:r="http://schemas.openxmlformats.org/officeDocument/2006/relationships" xmlns:p="http://schemas.openxmlformats.org/presentationml/2006/main">
  <p:tag name="SHAPETYPE" val="Background"/>
</p:tagLst>
</file>

<file path=ppt/tags/tag87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78.xml><?xml version="1.0" encoding="utf-8"?>
<p:tagLst xmlns:a="http://schemas.openxmlformats.org/drawingml/2006/main" xmlns:r="http://schemas.openxmlformats.org/officeDocument/2006/relationships" xmlns:p="http://schemas.openxmlformats.org/presentationml/2006/main">
  <p:tag name="SHAPETYPE" val="footer"/>
</p:tagLst>
</file>

<file path=ppt/tags/tag8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1.xml><?xml version="1.0" encoding="utf-8"?>
<p:tagLst xmlns:a="http://schemas.openxmlformats.org/drawingml/2006/main" xmlns:r="http://schemas.openxmlformats.org/officeDocument/2006/relationships" xmlns:p="http://schemas.openxmlformats.org/presentationml/2006/main">
  <p:tag name="SHAPETYPE" val="footer"/>
</p:tagLst>
</file>

<file path=ppt/tags/tag88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4.xml><?xml version="1.0" encoding="utf-8"?>
<p:tagLst xmlns:a="http://schemas.openxmlformats.org/drawingml/2006/main" xmlns:r="http://schemas.openxmlformats.org/officeDocument/2006/relationships" xmlns:p="http://schemas.openxmlformats.org/presentationml/2006/main">
  <p:tag name="SHAPETYPE" val="footer"/>
</p:tagLst>
</file>

<file path=ppt/tags/tag8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87.xml><?xml version="1.0" encoding="utf-8"?>
<p:tagLst xmlns:a="http://schemas.openxmlformats.org/drawingml/2006/main" xmlns:r="http://schemas.openxmlformats.org/officeDocument/2006/relationships" xmlns:p="http://schemas.openxmlformats.org/presentationml/2006/main">
  <p:tag name="SHAPETYPE" val="footer"/>
</p:tagLst>
</file>

<file path=ppt/tags/tag888.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8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89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896.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8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898.xml><?xml version="1.0" encoding="utf-8"?>
<p:tagLst xmlns:a="http://schemas.openxmlformats.org/drawingml/2006/main" xmlns:r="http://schemas.openxmlformats.org/officeDocument/2006/relationships" xmlns:p="http://schemas.openxmlformats.org/presentationml/2006/main">
  <p:tag name="SHAPETYPE" val="Background"/>
</p:tagLst>
</file>

<file path=ppt/tags/tag89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xml><?xml version="1.0" encoding="utf-8"?>
<p:tagLst xmlns:a="http://schemas.openxmlformats.org/drawingml/2006/main" xmlns:r="http://schemas.openxmlformats.org/officeDocument/2006/relationships" xmlns:p="http://schemas.openxmlformats.org/presentationml/2006/main">
  <p:tag name="SHAPETYPE" val="footer"/>
</p:tagLst>
</file>

<file path=ppt/tags/tag900.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03.xml><?xml version="1.0" encoding="utf-8"?>
<p:tagLst xmlns:a="http://schemas.openxmlformats.org/drawingml/2006/main" xmlns:r="http://schemas.openxmlformats.org/officeDocument/2006/relationships" xmlns:p="http://schemas.openxmlformats.org/presentationml/2006/main">
  <p:tag name="SHAPETYPE" val="footer"/>
</p:tagLst>
</file>

<file path=ppt/tags/tag90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0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0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0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08.xml><?xml version="1.0" encoding="utf-8"?>
<p:tagLst xmlns:a="http://schemas.openxmlformats.org/drawingml/2006/main" xmlns:r="http://schemas.openxmlformats.org/officeDocument/2006/relationships" xmlns:p="http://schemas.openxmlformats.org/presentationml/2006/main">
  <p:tag name="SHAPETYPE" val="Gradient"/>
</p:tagLst>
</file>

<file path=ppt/tags/tag909.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91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1.xml><?xml version="1.0" encoding="utf-8"?>
<p:tagLst xmlns:a="http://schemas.openxmlformats.org/drawingml/2006/main" xmlns:r="http://schemas.openxmlformats.org/officeDocument/2006/relationships" xmlns:p="http://schemas.openxmlformats.org/presentationml/2006/main">
  <p:tag name="SHAPETYPE" val="Gradient"/>
</p:tagLst>
</file>

<file path=ppt/tags/tag9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1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1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22.xml><?xml version="1.0" encoding="utf-8"?>
<p:tagLst xmlns:a="http://schemas.openxmlformats.org/drawingml/2006/main" xmlns:r="http://schemas.openxmlformats.org/officeDocument/2006/relationships" xmlns:p="http://schemas.openxmlformats.org/presentationml/2006/main">
  <p:tag name="SHAPETYPE" val="footer"/>
</p:tagLst>
</file>

<file path=ppt/tags/tag92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2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26.xml><?xml version="1.0" encoding="utf-8"?>
<p:tagLst xmlns:a="http://schemas.openxmlformats.org/drawingml/2006/main" xmlns:r="http://schemas.openxmlformats.org/officeDocument/2006/relationships" xmlns:p="http://schemas.openxmlformats.org/presentationml/2006/main">
  <p:tag name="SHAPETYPE" val="footer"/>
</p:tagLst>
</file>

<file path=ppt/tags/tag92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28.xml><?xml version="1.0" encoding="utf-8"?>
<p:tagLst xmlns:a="http://schemas.openxmlformats.org/drawingml/2006/main" xmlns:r="http://schemas.openxmlformats.org/officeDocument/2006/relationships" xmlns:p="http://schemas.openxmlformats.org/presentationml/2006/main">
  <p:tag name="SHAPETYPE" val="Gradient"/>
</p:tagLst>
</file>

<file path=ppt/tags/tag92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3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31.xml><?xml version="1.0" encoding="utf-8"?>
<p:tagLst xmlns:a="http://schemas.openxmlformats.org/drawingml/2006/main" xmlns:r="http://schemas.openxmlformats.org/officeDocument/2006/relationships" xmlns:p="http://schemas.openxmlformats.org/presentationml/2006/main">
  <p:tag name="SHAPETYPE" val="footer"/>
</p:tagLst>
</file>

<file path=ppt/tags/tag932.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35.xml><?xml version="1.0" encoding="utf-8"?>
<p:tagLst xmlns:a="http://schemas.openxmlformats.org/drawingml/2006/main" xmlns:r="http://schemas.openxmlformats.org/officeDocument/2006/relationships" xmlns:p="http://schemas.openxmlformats.org/presentationml/2006/main">
  <p:tag name="SHAPETYPE" val="footer"/>
</p:tagLst>
</file>

<file path=ppt/tags/tag93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3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3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xml><?xml version="1.0" encoding="utf-8"?>
<p:tagLst xmlns:a="http://schemas.openxmlformats.org/drawingml/2006/main" xmlns:r="http://schemas.openxmlformats.org/officeDocument/2006/relationships" xmlns:p="http://schemas.openxmlformats.org/presentationml/2006/main">
  <p:tag name="SHAPETYPE" val="footer"/>
</p:tagLst>
</file>

<file path=ppt/tags/tag94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6.xml><?xml version="1.0" encoding="utf-8"?>
<p:tagLst xmlns:a="http://schemas.openxmlformats.org/drawingml/2006/main" xmlns:r="http://schemas.openxmlformats.org/officeDocument/2006/relationships" xmlns:p="http://schemas.openxmlformats.org/presentationml/2006/main">
  <p:tag name="SHAPETYPE" val="footer"/>
</p:tagLst>
</file>

<file path=ppt/tags/tag947.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4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49.xml><?xml version="1.0" encoding="utf-8"?>
<p:tagLst xmlns:a="http://schemas.openxmlformats.org/drawingml/2006/main" xmlns:r="http://schemas.openxmlformats.org/officeDocument/2006/relationships" xmlns:p="http://schemas.openxmlformats.org/presentationml/2006/main">
  <p:tag name="SHAPETYPE" val="footer"/>
</p:tagLst>
</file>

<file path=ppt/tags/tag9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2.xml><?xml version="1.0" encoding="utf-8"?>
<p:tagLst xmlns:a="http://schemas.openxmlformats.org/drawingml/2006/main" xmlns:r="http://schemas.openxmlformats.org/officeDocument/2006/relationships" xmlns:p="http://schemas.openxmlformats.org/presentationml/2006/main">
  <p:tag name="SHAPETYPE" val="footer"/>
</p:tagLst>
</file>

<file path=ppt/tags/tag95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5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5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58.xml><?xml version="1.0" encoding="utf-8"?>
<p:tagLst xmlns:a="http://schemas.openxmlformats.org/drawingml/2006/main" xmlns:r="http://schemas.openxmlformats.org/officeDocument/2006/relationships" xmlns:p="http://schemas.openxmlformats.org/presentationml/2006/main">
  <p:tag name="SHAPETYPE" val="footer"/>
</p:tagLst>
</file>

<file path=ppt/tags/tag95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69.xml><?xml version="1.0" encoding="utf-8"?>
<p:tagLst xmlns:a="http://schemas.openxmlformats.org/drawingml/2006/main" xmlns:r="http://schemas.openxmlformats.org/officeDocument/2006/relationships" xmlns:p="http://schemas.openxmlformats.org/presentationml/2006/main">
  <p:tag name="SHAPETYPE" val="footer"/>
</p:tagLst>
</file>

<file path=ppt/tags/tag9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0.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7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2.xml><?xml version="1.0" encoding="utf-8"?>
<p:tagLst xmlns:a="http://schemas.openxmlformats.org/drawingml/2006/main" xmlns:r="http://schemas.openxmlformats.org/officeDocument/2006/relationships" xmlns:p="http://schemas.openxmlformats.org/presentationml/2006/main">
  <p:tag name="SHAPETYPE" val="footer"/>
</p:tagLst>
</file>

<file path=ppt/tags/tag97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7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5.xml><?xml version="1.0" encoding="utf-8"?>
<p:tagLst xmlns:a="http://schemas.openxmlformats.org/drawingml/2006/main" xmlns:r="http://schemas.openxmlformats.org/officeDocument/2006/relationships" xmlns:p="http://schemas.openxmlformats.org/presentationml/2006/main">
  <p:tag name="SHAPETYPE" val="footer"/>
</p:tagLst>
</file>

<file path=ppt/tags/tag97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77.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78.xml><?xml version="1.0" encoding="utf-8"?>
<p:tagLst xmlns:a="http://schemas.openxmlformats.org/drawingml/2006/main" xmlns:r="http://schemas.openxmlformats.org/officeDocument/2006/relationships" xmlns:p="http://schemas.openxmlformats.org/presentationml/2006/main">
  <p:tag name="SHAPETYPE" val="footer"/>
</p:tagLst>
</file>

<file path=ppt/tags/tag979.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8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81.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83.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4.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5.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6.xml><?xml version="1.0" encoding="utf-8"?>
<p:tagLst xmlns:a="http://schemas.openxmlformats.org/drawingml/2006/main" xmlns:r="http://schemas.openxmlformats.org/officeDocument/2006/relationships" xmlns:p="http://schemas.openxmlformats.org/presentationml/2006/main">
  <p:tag name="COLORTAG" val="W"/>
  <p:tag name="SHAPETYPE" val="Logo"/>
  <p:tag name="LOGOID" val="0"/>
</p:tagLst>
</file>

<file path=ppt/tags/tag987.xml><?xml version="1.0" encoding="utf-8"?>
<p:tagLst xmlns:a="http://schemas.openxmlformats.org/drawingml/2006/main" xmlns:r="http://schemas.openxmlformats.org/officeDocument/2006/relationships" xmlns:p="http://schemas.openxmlformats.org/presentationml/2006/main">
  <p:tag name="COLORTAG" val="L"/>
  <p:tag name="SHAPETYPE" val="Logo"/>
  <p:tag name="LOGOID" val="0"/>
</p:tagLst>
</file>

<file path=ppt/tags/tag98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89.xml><?xml version="1.0" encoding="utf-8"?>
<p:tagLst xmlns:a="http://schemas.openxmlformats.org/drawingml/2006/main" xmlns:r="http://schemas.openxmlformats.org/officeDocument/2006/relationships" xmlns:p="http://schemas.openxmlformats.org/presentationml/2006/main">
  <p:tag name="SHAPETYPE" val="Background"/>
  <p:tag name="NAME" val="SR_Agri_Nature_GettyImages-908178812"/>
  <p:tag name="CATEGORY" val="Agriculture &amp; Nature"/>
  <p:tag name="FILENAME" val="C:\Program Files\Brandic\PowerPoint\Images\169\Title1\Agriculture &amp; Nature\SR_Agri_Nature_GettyImages-908178812.jp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1.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994.xml><?xml version="1.0" encoding="utf-8"?>
<p:tagLst xmlns:a="http://schemas.openxmlformats.org/drawingml/2006/main" xmlns:r="http://schemas.openxmlformats.org/officeDocument/2006/relationships" xmlns:p="http://schemas.openxmlformats.org/presentationml/2006/main">
  <p:tag name="SHAPETYPE" val="Background"/>
  <p:tag name="NAME" val="SR_risk_catastrophes_GettyImages-172303173"/>
  <p:tag name="CATEGORY" val="Risks &amp; Catastrophes"/>
  <p:tag name="FILENAME" val="C:\Program Files\Brandic\PowerPoint\Images\169\Title1\Risks &amp; Catastrophes\SR_risk_catastrophes_GettyImages-172303173.jpg"/>
</p:tagLst>
</file>

<file path=ppt/tags/tag99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96.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HCZRaO4sIVZRtd_ARVVLmw"/>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potx" id="{EACA0742-9CA7-43CA-897E-2AB92A91E3CA}" vid="{6E4F9217-2107-441A-995A-3F1C6D263C8E}"/>
    </a:ext>
  </a:extLst>
</a:theme>
</file>

<file path=ppt/theme/theme10.xml><?xml version="1.0" encoding="utf-8"?>
<a:theme xmlns:a="http://schemas.openxmlformats.org/drawingml/2006/main" name="4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potx" id="{EACA0742-9CA7-43CA-897E-2AB92A91E3CA}" vid="{6E4F9217-2107-441A-995A-3F1C6D263C8E}"/>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13.xml><?xml version="1.0" encoding="utf-8"?>
<a:theme xmlns:a="http://schemas.openxmlformats.org/drawingml/2006/main" name="11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14.xml><?xml version="1.0" encoding="utf-8"?>
<a:theme xmlns:a="http://schemas.openxmlformats.org/drawingml/2006/main" name="12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15.xml><?xml version="1.0" encoding="utf-8"?>
<a:theme xmlns:a="http://schemas.openxmlformats.org/drawingml/2006/main" name="13_SwissRe">
  <a:themeElements>
    <a:clrScheme name="Swiss Re - Blu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200401(1).potx" id="{E6EEC90F-4FEC-4579-9BB6-DE266B1EB420}" vid="{32168660-9BDD-4614-9B05-CFDD44424AED}"/>
    </a:ext>
  </a:extLst>
</a:theme>
</file>

<file path=ppt/theme/theme16.xml><?xml version="1.0" encoding="utf-8"?>
<a:theme xmlns:a="http://schemas.openxmlformats.org/drawingml/2006/main" name="LifeConvBirm02">
  <a:themeElements>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fontScheme name="LifeConvBirm02.ppt">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LifeConvBirm02.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feConvBirm02.ppt 2">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feConvBirm02.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feConvBirm02.ppt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feConvBirm02.ppt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_LifeConvBirm02">
  <a:themeElements>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fontScheme name="LifeConvBirm02.ppt">
      <a:majorFont>
        <a:latin typeface="Arial"/>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LifeConvBirm02.ppt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LifeConvBirm02.ppt 2">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LifeConvBirm02.ppt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LifeConvBirm02.ppt 4">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LifeConvBirm02.ppt 5">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LifeConvBirm02.ppt 6">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potx" id="{EACA0742-9CA7-43CA-897E-2AB92A91E3CA}" vid="{6E4F9217-2107-441A-995A-3F1C6D263C8E}"/>
    </a:ext>
  </a:extLst>
</a:theme>
</file>

<file path=ppt/theme/theme3.xml><?xml version="1.0" encoding="utf-8"?>
<a:theme xmlns:a="http://schemas.openxmlformats.org/drawingml/2006/main" name="2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potx" id="{EACA0742-9CA7-43CA-897E-2AB92A91E3CA}" vid="{6E4F9217-2107-441A-995A-3F1C6D263C8E}"/>
    </a:ext>
  </a:extLst>
</a:theme>
</file>

<file path=ppt/theme/theme4.xml><?xml version="1.0" encoding="utf-8"?>
<a:theme xmlns:a="http://schemas.openxmlformats.org/drawingml/2006/main" name="5_SwissRe">
  <a:themeElements>
    <a:clrScheme name="Swiss Re - Blu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_20200401(1).potx" id="{0BCA56E4-1FA7-4D00-AA54-6D3D700C7048}" vid="{1CABFEFF-ADED-4AEC-BA11-8837C940B0FF}"/>
    </a:ext>
  </a:extLst>
</a:theme>
</file>

<file path=ppt/theme/theme5.xml><?xml version="1.0" encoding="utf-8"?>
<a:theme xmlns:a="http://schemas.openxmlformats.org/drawingml/2006/main" name="3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43.potx" id="{EACA0742-9CA7-43CA-897E-2AB92A91E3CA}" vid="{6E4F9217-2107-441A-995A-3F1C6D263C8E}"/>
    </a:ext>
  </a:extLst>
</a:theme>
</file>

<file path=ppt/theme/theme6.xml><?xml version="1.0" encoding="utf-8"?>
<a:theme xmlns:a="http://schemas.openxmlformats.org/drawingml/2006/main" name="6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7.xml><?xml version="1.0" encoding="utf-8"?>
<a:theme xmlns:a="http://schemas.openxmlformats.org/drawingml/2006/main" name="7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8.xml><?xml version="1.0" encoding="utf-8"?>
<a:theme xmlns:a="http://schemas.openxmlformats.org/drawingml/2006/main" name="8_Swiss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9.xml><?xml version="1.0" encoding="utf-8"?>
<a:theme xmlns:a="http://schemas.openxmlformats.org/drawingml/2006/main" name="9_SwissRe">
  <a:themeElements>
    <a:clrScheme name="Swiss Re - Blu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90723(1).potx" id="{2D4B744B-4CE9-4823-9A5C-CA3CB9541250}" vid="{12FA6E09-71F7-44A7-A98C-066CE5FA9BD0}"/>
    </a:ext>
  </a:ext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0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6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7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8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19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0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7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8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8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9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0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1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2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2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2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7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7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0.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99.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7731C9343BAC439D9363483EE61F92" ma:contentTypeVersion="14" ma:contentTypeDescription="Create a new document." ma:contentTypeScope="" ma:versionID="169aa7a747a4c4d01a07c8b774de91b8">
  <xsd:schema xmlns:xsd="http://www.w3.org/2001/XMLSchema" xmlns:xs="http://www.w3.org/2001/XMLSchema" xmlns:p="http://schemas.microsoft.com/office/2006/metadata/properties" xmlns:ns1="http://schemas.microsoft.com/sharepoint/v3" xmlns:ns2="42dae6f3-ced0-4e94-bf5d-52b84b39b576" xmlns:ns3="118be526-9ad1-4ba3-b583-3c11fc3c0786" targetNamespace="http://schemas.microsoft.com/office/2006/metadata/properties" ma:root="true" ma:fieldsID="e187ddb4759d0d410603bc470b2cbc57" ns1:_="" ns2:_="" ns3:_="">
    <xsd:import namespace="http://schemas.microsoft.com/sharepoint/v3"/>
    <xsd:import namespace="42dae6f3-ced0-4e94-bf5d-52b84b39b576"/>
    <xsd:import namespace="118be526-9ad1-4ba3-b583-3c11fc3c0786"/>
    <xsd:element name="properties">
      <xsd:complexType>
        <xsd:sequence>
          <xsd:element name="documentManagement">
            <xsd:complexType>
              <xsd:all>
                <xsd:element ref="ns2:MediaServiceMetadata" minOccurs="0"/>
                <xsd:element ref="ns2:MediaServiceFastMetadata" minOccurs="0"/>
                <xsd:element ref="ns1:_ip_UnifiedCompliancePolicyProperties" minOccurs="0"/>
                <xsd:element ref="ns1:_ip_UnifiedCompliancePolicyUIActio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Level" minOccurs="0"/>
                <xsd:element ref="ns2:MediaServiceDateTaken"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0" nillable="true" ma:displayName="Unified Compliance Policy Properties" ma:hidden="true" ma:internalName="_ip_UnifiedCompliancePolicyProperties">
      <xsd:simpleType>
        <xsd:restriction base="dms:Note"/>
      </xsd:simpleType>
    </xsd:element>
    <xsd:element name="_ip_UnifiedCompliancePolicyUIAction" ma:index="1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2dae6f3-ced0-4e94-bf5d-52b84b39b57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evel" ma:index="17" nillable="true" ma:displayName="Level" ma:format="Dropdown" ma:internalName="Level">
      <xsd:simpleType>
        <xsd:restriction base="dms:Text">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18be526-9ad1-4ba3-b583-3c11fc3c0786"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Application xmlns="http://www.sap.com/cof/powerpoint/application">
  <Version>2</Version>
  <Revision>2.8.301.94265</Revision>
</Applic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evel xmlns="42dae6f3-ced0-4e94-bf5d-52b84b39b576" xsi:nil="true"/>
    <SharedWithUsers xmlns="118be526-9ad1-4ba3-b583-3c11fc3c0786">
      <UserInfo>
        <DisplayName/>
        <AccountId xsi:nil="true"/>
        <AccountType/>
      </UserInfo>
    </SharedWithUsers>
    <MediaLengthInSeconds xmlns="42dae6f3-ced0-4e94-bf5d-52b84b39b576" xsi:nil="true"/>
  </documentManagement>
</p:properties>
</file>

<file path=customXml/itemProps1.xml><?xml version="1.0" encoding="utf-8"?>
<ds:datastoreItem xmlns:ds="http://schemas.openxmlformats.org/officeDocument/2006/customXml" ds:itemID="{8DB631FC-B5B7-4F74-83DB-4B93EC1819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dae6f3-ced0-4e94-bf5d-52b84b39b576"/>
    <ds:schemaRef ds:uri="118be526-9ad1-4ba3-b583-3c11fc3c07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0618AA-8DCF-464C-B929-E41AE66E19FC}">
  <ds:schemaRefs>
    <ds:schemaRef ds:uri="http://www.sap.com/cof/powerpoint/application"/>
  </ds:schemaRefs>
</ds:datastoreItem>
</file>

<file path=customXml/itemProps3.xml><?xml version="1.0" encoding="utf-8"?>
<ds:datastoreItem xmlns:ds="http://schemas.openxmlformats.org/officeDocument/2006/customXml" ds:itemID="{045A7090-9FEB-4A64-BAF0-54C88D88C87F}">
  <ds:schemaRefs>
    <ds:schemaRef ds:uri="http://schemas.microsoft.com/sharepoint/v3/contenttype/forms"/>
  </ds:schemaRefs>
</ds:datastoreItem>
</file>

<file path=customXml/itemProps4.xml><?xml version="1.0" encoding="utf-8"?>
<ds:datastoreItem xmlns:ds="http://schemas.openxmlformats.org/officeDocument/2006/customXml" ds:itemID="{914B7CF1-0150-4CD7-BEFE-04D35193E071}">
  <ds:schemaRefs>
    <ds:schemaRef ds:uri="http://purl.org/dc/elements/1.1/"/>
    <ds:schemaRef ds:uri="http://www.w3.org/XML/1998/namespace"/>
    <ds:schemaRef ds:uri="http://schemas.microsoft.com/office/2006/documentManagement/types"/>
    <ds:schemaRef ds:uri="http://purl.org/dc/dcmitype/"/>
    <ds:schemaRef ds:uri="http://schemas.microsoft.com/office/infopath/2007/PartnerControls"/>
    <ds:schemaRef ds:uri="42dae6f3-ced0-4e94-bf5d-52b84b39b576"/>
    <ds:schemaRef ds:uri="118be526-9ad1-4ba3-b583-3c11fc3c0786"/>
    <ds:schemaRef ds:uri="http://schemas.openxmlformats.org/package/2006/metadata/core-properties"/>
    <ds:schemaRef ds:uri="http://schemas.microsoft.com/sharepoint/v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2449</TotalTime>
  <Words>6076</Words>
  <Application>Microsoft Office PowerPoint</Application>
  <PresentationFormat>Widescreen</PresentationFormat>
  <Paragraphs>1001</Paragraphs>
  <Slides>59</Slides>
  <Notes>32</Notes>
  <HiddenSlides>0</HiddenSlides>
  <MMClips>0</MMClips>
  <ScaleCrop>false</ScaleCrop>
  <HeadingPairs>
    <vt:vector size="8" baseType="variant">
      <vt:variant>
        <vt:lpstr>Fonts Used</vt:lpstr>
      </vt:variant>
      <vt:variant>
        <vt:i4>13</vt:i4>
      </vt:variant>
      <vt:variant>
        <vt:lpstr>Theme</vt:lpstr>
      </vt:variant>
      <vt:variant>
        <vt:i4>18</vt:i4>
      </vt:variant>
      <vt:variant>
        <vt:lpstr>Embedded OLE Servers</vt:lpstr>
      </vt:variant>
      <vt:variant>
        <vt:i4>1</vt:i4>
      </vt:variant>
      <vt:variant>
        <vt:lpstr>Slide Titles</vt:lpstr>
      </vt:variant>
      <vt:variant>
        <vt:i4>59</vt:i4>
      </vt:variant>
    </vt:vector>
  </HeadingPairs>
  <TitlesOfParts>
    <vt:vector size="91" baseType="lpstr">
      <vt:lpstr>Arial</vt:lpstr>
      <vt:lpstr>Bahamas</vt:lpstr>
      <vt:lpstr>Calibri</vt:lpstr>
      <vt:lpstr>Calibri Light</vt:lpstr>
      <vt:lpstr>DengXian</vt:lpstr>
      <vt:lpstr>Garamond</vt:lpstr>
      <vt:lpstr>黑体</vt:lpstr>
      <vt:lpstr>SwissReSans</vt:lpstr>
      <vt:lpstr>SwissReSans Light</vt:lpstr>
      <vt:lpstr>Times New Roman</vt:lpstr>
      <vt:lpstr>Trebuchet MS</vt:lpstr>
      <vt:lpstr>Verdana</vt:lpstr>
      <vt:lpstr>Wingdings</vt:lpstr>
      <vt:lpstr>SwissRe</vt:lpstr>
      <vt:lpstr>1_SwissRe</vt:lpstr>
      <vt:lpstr>2_SwissRe</vt:lpstr>
      <vt:lpstr>5_SwissRe</vt:lpstr>
      <vt:lpstr>3_SwissRe</vt:lpstr>
      <vt:lpstr>6_SwissRe</vt:lpstr>
      <vt:lpstr>7_SwissRe</vt:lpstr>
      <vt:lpstr>8_SwissRe</vt:lpstr>
      <vt:lpstr>9_SwissRe</vt:lpstr>
      <vt:lpstr>4_SwissRe</vt:lpstr>
      <vt:lpstr>2_Office Theme</vt:lpstr>
      <vt:lpstr>10_SwissRe</vt:lpstr>
      <vt:lpstr>11_SwissRe</vt:lpstr>
      <vt:lpstr>12_SwissRe</vt:lpstr>
      <vt:lpstr>13_SwissRe</vt:lpstr>
      <vt:lpstr>LifeConvBirm02</vt:lpstr>
      <vt:lpstr>Office Theme</vt:lpstr>
      <vt:lpstr>2_LifeConvBirm02</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genda</vt:lpstr>
      <vt:lpstr>Poll Question 1: True or False?</vt:lpstr>
      <vt:lpstr>IFRS17 is an accounting standard</vt:lpstr>
      <vt:lpstr>Why is IFRS 17 important  </vt:lpstr>
      <vt:lpstr>Why IFRS? High relevance and ambitious goals drive the significant magnitude of change</vt:lpstr>
      <vt:lpstr>PowerPoint Presentation</vt:lpstr>
      <vt:lpstr>Key elements of IFRS for insurers </vt:lpstr>
      <vt:lpstr>IFRS 17 – Introduction</vt:lpstr>
      <vt:lpstr>Balance sheet linkage to building blocks (insurance contract liability)</vt:lpstr>
      <vt:lpstr>Balance sheet: Assets</vt:lpstr>
      <vt:lpstr>Balance sheet: Liabilities and Equity</vt:lpstr>
      <vt:lpstr>Income statement</vt:lpstr>
      <vt:lpstr>Roll-forward: Movements in measurement components – insurance contracts issued</vt:lpstr>
      <vt:lpstr>Roll-forward: Movements in type of liabilities – insurance contracts issued</vt:lpstr>
      <vt:lpstr>New business: Effect of IFRS 17 contracts initially recognized in the year</vt:lpstr>
      <vt:lpstr>Contractual service margin (CSM) emergence</vt:lpstr>
      <vt:lpstr>IFRS 17 - Key features</vt:lpstr>
      <vt:lpstr>Impact on financial accounting and KPIs </vt:lpstr>
      <vt:lpstr>Financial accounting impact overview IFRS will impact various business aspects</vt:lpstr>
      <vt:lpstr>PowerPoint Presentation</vt:lpstr>
      <vt:lpstr>Policy development – and Challenges </vt:lpstr>
      <vt:lpstr>PowerPoint Presentation</vt:lpstr>
      <vt:lpstr>Level of Aggregation and Reinsurance held</vt:lpstr>
      <vt:lpstr>Level of aggregation</vt:lpstr>
      <vt:lpstr>PowerPoint Presentation</vt:lpstr>
      <vt:lpstr>PowerPoint Presentation</vt:lpstr>
      <vt:lpstr>Transition   </vt:lpstr>
      <vt:lpstr>Background and relevance</vt:lpstr>
      <vt:lpstr>PowerPoint Presentation</vt:lpstr>
      <vt:lpstr>Important Considerations  </vt:lpstr>
      <vt:lpstr>PowerPoint Presentation</vt:lpstr>
      <vt:lpstr>PowerPoint Presentation</vt:lpstr>
      <vt:lpstr>Reinsurance impact under IFRS17</vt:lpstr>
      <vt:lpstr>Poll Question 2: True or False?</vt:lpstr>
      <vt:lpstr>PowerPoint Presentation</vt:lpstr>
      <vt:lpstr>Losses generated by Onerous insurance contracts have to be recognized upfront under IFRS17</vt:lpstr>
      <vt:lpstr>Reinsurance is represented independently from the insurance performance What are the implications? </vt:lpstr>
      <vt:lpstr>Proportional reinsurance: mind the commission</vt:lpstr>
      <vt:lpstr>Non-Proportional reinsurance: limited changes</vt:lpstr>
      <vt:lpstr>MY XoL </vt:lpstr>
      <vt:lpstr>Fire 3 Years XoL… what happens really to the PC? Premium 1000, Gross LR @40%, XoL: 200xs100 at 50% RoL for 4 year return period</vt:lpstr>
      <vt:lpstr>MYML with PC and adverse claims Initial</vt:lpstr>
      <vt:lpstr>MYML with PC and adverse claims At the end of Y1</vt:lpstr>
      <vt:lpstr>MYML with PC and adverse claims  At the end of Y2</vt:lpstr>
      <vt:lpstr>Illustration 6 – MYML with PC and adverse claims At the end of Y3</vt:lpstr>
      <vt:lpstr>Structured Reinsurance may prevent the automatic PAA eligibility, thus more work for your accounting and actuarial teams to account for such treaties</vt:lpstr>
      <vt:lpstr>Conclusion</vt:lpstr>
      <vt:lpstr>Increase of volatility in the accounts because of IFRS 17</vt:lpstr>
      <vt:lpstr>Overall Recap</vt:lpstr>
      <vt:lpstr>Q&amp;A</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ssible time allocation (assumption: 90min)</dc:title>
  <dc:creator>Doina Emilian (external)</dc:creator>
  <cp:lastModifiedBy>Binita Rautela</cp:lastModifiedBy>
  <cp:revision>50</cp:revision>
  <cp:lastPrinted>2021-05-10T04:56:43Z</cp:lastPrinted>
  <dcterms:created xsi:type="dcterms:W3CDTF">2021-01-26T14:59:31Z</dcterms:created>
  <dcterms:modified xsi:type="dcterms:W3CDTF">2021-08-26T11: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7731C9343BAC439D9363483EE61F92</vt:lpwstr>
  </property>
  <property fmtid="{D5CDD505-2E9C-101B-9397-08002B2CF9AE}" pid="3" name="_dlc_DocIdItemGuid">
    <vt:lpwstr>27675969-98d2-4172-8ee2-354cb00fa708</vt:lpwstr>
  </property>
  <property fmtid="{D5CDD505-2E9C-101B-9397-08002B2CF9AE}" pid="4" name="SRGlobalInformationClassification">
    <vt:lpwstr>3;#Confidential|7807a50b-0a22-46d2-870e-934dc4cb1339</vt:lpwstr>
  </property>
  <property fmtid="{D5CDD505-2E9C-101B-9397-08002B2CF9AE}" pid="5" name="Order">
    <vt:r8>105400</vt:r8>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MSIP_Label_90c2fedb-0da6-4717-8531-d16a1b9930f4_Enabled">
    <vt:lpwstr>true</vt:lpwstr>
  </property>
  <property fmtid="{D5CDD505-2E9C-101B-9397-08002B2CF9AE}" pid="12" name="MSIP_Label_90c2fedb-0da6-4717-8531-d16a1b9930f4_SetDate">
    <vt:lpwstr>2021-08-25T15:18:28Z</vt:lpwstr>
  </property>
  <property fmtid="{D5CDD505-2E9C-101B-9397-08002B2CF9AE}" pid="13" name="MSIP_Label_90c2fedb-0da6-4717-8531-d16a1b9930f4_Method">
    <vt:lpwstr>Standard</vt:lpwstr>
  </property>
  <property fmtid="{D5CDD505-2E9C-101B-9397-08002B2CF9AE}" pid="14" name="MSIP_Label_90c2fedb-0da6-4717-8531-d16a1b9930f4_Name">
    <vt:lpwstr>90c2fedb-0da6-4717-8531-d16a1b9930f4</vt:lpwstr>
  </property>
  <property fmtid="{D5CDD505-2E9C-101B-9397-08002B2CF9AE}" pid="15" name="MSIP_Label_90c2fedb-0da6-4717-8531-d16a1b9930f4_SiteId">
    <vt:lpwstr>45597f60-6e37-4be7-acfb-4c9e23b261ea</vt:lpwstr>
  </property>
  <property fmtid="{D5CDD505-2E9C-101B-9397-08002B2CF9AE}" pid="16" name="MSIP_Label_90c2fedb-0da6-4717-8531-d16a1b9930f4_ActionId">
    <vt:lpwstr>25d183f7-2d8e-4e07-ac21-27fe12f28d8e</vt:lpwstr>
  </property>
  <property fmtid="{D5CDD505-2E9C-101B-9397-08002B2CF9AE}" pid="17" name="MSIP_Label_90c2fedb-0da6-4717-8531-d16a1b9930f4_ContentBits">
    <vt:lpwstr>0</vt:lpwstr>
  </property>
  <property fmtid="{D5CDD505-2E9C-101B-9397-08002B2CF9AE}" pid="18" name="Sensitivity">
    <vt:lpwstr>Internal</vt:lpwstr>
  </property>
</Properties>
</file>